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Override1.xml" ContentType="application/vnd.openxmlformats-officedocument.themeOverr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Override2.xml" ContentType="application/vnd.openxmlformats-officedocument.themeOverride+xml"/>
  <Override PartName="/ppt/theme/themeOverride3.xml" ContentType="application/vnd.openxmlformats-officedocument.themeOverride+xml"/>
  <Override PartName="/ppt/tags/tag5.xml" ContentType="application/vnd.openxmlformats-officedocument.presentationml.tags+xml"/>
  <Override PartName="/ppt/theme/themeOverride4.xml" ContentType="application/vnd.openxmlformats-officedocument.themeOverr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Override5.xml" ContentType="application/vnd.openxmlformats-officedocument.themeOverride+xml"/>
  <Override PartName="/ppt/tags/tag8.xml" ContentType="application/vnd.openxmlformats-officedocument.presentationml.tags+xml"/>
  <Override PartName="/ppt/theme/themeOverride6.xml" ContentType="application/vnd.openxmlformats-officedocument.themeOverr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heme/themeOverride7.xml" ContentType="application/vnd.openxmlformats-officedocument.themeOverr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heme/themeOverride8.xml" ContentType="application/vnd.openxmlformats-officedocument.themeOverrid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52"/>
  </p:notesMasterIdLst>
  <p:sldIdLst>
    <p:sldId id="256" r:id="rId2"/>
    <p:sldId id="258" r:id="rId3"/>
    <p:sldId id="269" r:id="rId4"/>
    <p:sldId id="278" r:id="rId5"/>
    <p:sldId id="281" r:id="rId6"/>
    <p:sldId id="280" r:id="rId7"/>
    <p:sldId id="279" r:id="rId8"/>
    <p:sldId id="282" r:id="rId9"/>
    <p:sldId id="286" r:id="rId10"/>
    <p:sldId id="285" r:id="rId11"/>
    <p:sldId id="284" r:id="rId12"/>
    <p:sldId id="283" r:id="rId13"/>
    <p:sldId id="276" r:id="rId14"/>
    <p:sldId id="287" r:id="rId15"/>
    <p:sldId id="291" r:id="rId16"/>
    <p:sldId id="295" r:id="rId17"/>
    <p:sldId id="294" r:id="rId18"/>
    <p:sldId id="293" r:id="rId19"/>
    <p:sldId id="292" r:id="rId20"/>
    <p:sldId id="290" r:id="rId21"/>
    <p:sldId id="275" r:id="rId22"/>
    <p:sldId id="289" r:id="rId23"/>
    <p:sldId id="288" r:id="rId24"/>
    <p:sldId id="296" r:id="rId25"/>
    <p:sldId id="304" r:id="rId26"/>
    <p:sldId id="303" r:id="rId27"/>
    <p:sldId id="302" r:id="rId28"/>
    <p:sldId id="301" r:id="rId29"/>
    <p:sldId id="277" r:id="rId30"/>
    <p:sldId id="300" r:id="rId31"/>
    <p:sldId id="297" r:id="rId32"/>
    <p:sldId id="299" r:id="rId33"/>
    <p:sldId id="309" r:id="rId34"/>
    <p:sldId id="308" r:id="rId35"/>
    <p:sldId id="298" r:id="rId36"/>
    <p:sldId id="307" r:id="rId37"/>
    <p:sldId id="274" r:id="rId38"/>
    <p:sldId id="306" r:id="rId39"/>
    <p:sldId id="305" r:id="rId40"/>
    <p:sldId id="311" r:id="rId41"/>
    <p:sldId id="315" r:id="rId42"/>
    <p:sldId id="310" r:id="rId43"/>
    <p:sldId id="314" r:id="rId44"/>
    <p:sldId id="313" r:id="rId45"/>
    <p:sldId id="312" r:id="rId46"/>
    <p:sldId id="318" r:id="rId47"/>
    <p:sldId id="317" r:id="rId48"/>
    <p:sldId id="316" r:id="rId49"/>
    <p:sldId id="319" r:id="rId50"/>
    <p:sldId id="261" r:id="rId51"/>
  </p:sldIdLst>
  <p:sldSz cx="12192000" cy="6858000"/>
  <p:notesSz cx="6858000" cy="9144000"/>
  <p:custDataLst>
    <p:tags r:id="rId53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AFAFA"/>
    <a:srgbClr val="B3EFFF"/>
    <a:srgbClr val="AFF0FF"/>
    <a:srgbClr val="CC0000"/>
    <a:srgbClr val="00BEF9"/>
    <a:srgbClr val="B8D7DE"/>
    <a:srgbClr val="00679A"/>
    <a:srgbClr val="002A68"/>
    <a:srgbClr val="28BCB8"/>
    <a:srgbClr val="0070A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9979" autoAdjust="0"/>
    <p:restoredTop sz="96182" autoAdjust="0"/>
  </p:normalViewPr>
  <p:slideViewPr>
    <p:cSldViewPr snapToGrid="0">
      <p:cViewPr varScale="1">
        <p:scale>
          <a:sx n="83" d="100"/>
          <a:sy n="83" d="100"/>
        </p:scale>
        <p:origin x="384" y="62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slide" Target="slides/slide40.xml"/><Relationship Id="rId54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theme" Target="theme/theme1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3" Type="http://schemas.openxmlformats.org/officeDocument/2006/relationships/slide" Target="slides/slide2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  <a:t>2019/9/1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849815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12" name="矩形 9911">
            <a:extLst>
              <a:ext uri="{FF2B5EF4-FFF2-40B4-BE49-F238E27FC236}">
                <a16:creationId xmlns:a16="http://schemas.microsoft.com/office/drawing/2014/main" id="{AE81A8B8-0343-46CC-A7FB-79E9B107F0AA}"/>
              </a:ext>
            </a:extLst>
          </p:cNvPr>
          <p:cNvSpPr/>
          <p:nvPr userDrawn="1"/>
        </p:nvSpPr>
        <p:spPr>
          <a:xfrm>
            <a:off x="0" y="-33049"/>
            <a:ext cx="12192000" cy="6403273"/>
          </a:xfrm>
          <a:prstGeom prst="rect">
            <a:avLst/>
          </a:prstGeom>
          <a:gradFill flip="none" rotWithShape="1">
            <a:gsLst>
              <a:gs pos="0">
                <a:schemeClr val="accent6"/>
              </a:gs>
              <a:gs pos="100000">
                <a:schemeClr val="accent6">
                  <a:lumMod val="5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801" name="副标题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699993" y="2623308"/>
            <a:ext cx="10818906" cy="558799"/>
          </a:xfrm>
        </p:spPr>
        <p:txBody>
          <a:bodyPr anchor="t" anchorCtr="0"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9802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673099" y="1045934"/>
            <a:ext cx="10845800" cy="1493836"/>
          </a:xfrm>
        </p:spPr>
        <p:txBody>
          <a:bodyPr anchor="b" anchorCtr="0">
            <a:norm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12" name="文本占位符 1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73099" y="3510435"/>
            <a:ext cx="10845800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bg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3" name="文本占位符 13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673099" y="3806706"/>
            <a:ext cx="10845800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bg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  <p:grpSp>
        <p:nvGrpSpPr>
          <p:cNvPr id="163" name="组合 162">
            <a:extLst>
              <a:ext uri="{FF2B5EF4-FFF2-40B4-BE49-F238E27FC236}">
                <a16:creationId xmlns:a16="http://schemas.microsoft.com/office/drawing/2014/main" id="{6418C26B-D876-4695-A771-EC1CD91922B9}"/>
              </a:ext>
            </a:extLst>
          </p:cNvPr>
          <p:cNvGrpSpPr/>
          <p:nvPr userDrawn="1"/>
        </p:nvGrpSpPr>
        <p:grpSpPr>
          <a:xfrm>
            <a:off x="6737289" y="-59944"/>
            <a:ext cx="5461513" cy="6947837"/>
            <a:chOff x="6737289" y="-59944"/>
            <a:chExt cx="5461513" cy="6947837"/>
          </a:xfrm>
        </p:grpSpPr>
        <p:sp>
          <p:nvSpPr>
            <p:cNvPr id="196" name="任意多边形: 形状 195">
              <a:extLst>
                <a:ext uri="{FF2B5EF4-FFF2-40B4-BE49-F238E27FC236}">
                  <a16:creationId xmlns:a16="http://schemas.microsoft.com/office/drawing/2014/main" id="{677ACC8C-BFEF-422C-882D-BDE736CE55DA}"/>
                </a:ext>
              </a:extLst>
            </p:cNvPr>
            <p:cNvSpPr/>
            <p:nvPr userDrawn="1"/>
          </p:nvSpPr>
          <p:spPr>
            <a:xfrm flipH="1">
              <a:off x="8883392" y="1083320"/>
              <a:ext cx="3315410" cy="5804573"/>
            </a:xfrm>
            <a:custGeom>
              <a:avLst/>
              <a:gdLst>
                <a:gd name="connsiteX0" fmla="*/ 2442324 w 3315410"/>
                <a:gd name="connsiteY0" fmla="*/ 0 h 5804573"/>
                <a:gd name="connsiteX1" fmla="*/ 0 w 3315410"/>
                <a:gd name="connsiteY1" fmla="*/ 1347901 h 5804573"/>
                <a:gd name="connsiteX2" fmla="*/ 0 w 3315410"/>
                <a:gd name="connsiteY2" fmla="*/ 5804573 h 5804573"/>
                <a:gd name="connsiteX3" fmla="*/ 3315410 w 3315410"/>
                <a:gd name="connsiteY3" fmla="*/ 4001055 h 5804573"/>
                <a:gd name="connsiteX4" fmla="*/ 3315410 w 3315410"/>
                <a:gd name="connsiteY4" fmla="*/ 1092471 h 58045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15410" h="5804573">
                  <a:moveTo>
                    <a:pt x="2442324" y="0"/>
                  </a:moveTo>
                  <a:lnTo>
                    <a:pt x="0" y="1347901"/>
                  </a:lnTo>
                  <a:lnTo>
                    <a:pt x="0" y="5804573"/>
                  </a:lnTo>
                  <a:lnTo>
                    <a:pt x="3315410" y="4001055"/>
                  </a:lnTo>
                  <a:lnTo>
                    <a:pt x="3315410" y="1092471"/>
                  </a:lnTo>
                  <a:close/>
                </a:path>
              </a:pathLst>
            </a:custGeom>
            <a:gradFill flip="none" rotWithShape="1">
              <a:gsLst>
                <a:gs pos="100000">
                  <a:srgbClr val="0070A8"/>
                </a:gs>
                <a:gs pos="10000">
                  <a:srgbClr val="00BEF9">
                    <a:alpha val="0"/>
                  </a:srgbClr>
                </a:gs>
              </a:gsLst>
              <a:lin ang="18900000" scaled="1"/>
              <a:tileRect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8" name="任意多边形: 形状 197">
              <a:extLst>
                <a:ext uri="{FF2B5EF4-FFF2-40B4-BE49-F238E27FC236}">
                  <a16:creationId xmlns:a16="http://schemas.microsoft.com/office/drawing/2014/main" id="{968A1E0B-B9E5-4902-8CD3-D4B0D4BBD46D}"/>
                </a:ext>
              </a:extLst>
            </p:cNvPr>
            <p:cNvSpPr/>
            <p:nvPr/>
          </p:nvSpPr>
          <p:spPr>
            <a:xfrm flipH="1">
              <a:off x="6878441" y="1277312"/>
              <a:ext cx="2684045" cy="5580689"/>
            </a:xfrm>
            <a:custGeom>
              <a:avLst/>
              <a:gdLst>
                <a:gd name="connsiteX0" fmla="*/ 1993951 w 2684045"/>
                <a:gd name="connsiteY0" fmla="*/ 0 h 5580689"/>
                <a:gd name="connsiteX1" fmla="*/ 0 w 2684045"/>
                <a:gd name="connsiteY1" fmla="*/ 1103510 h 5580689"/>
                <a:gd name="connsiteX2" fmla="*/ 201321 w 2684045"/>
                <a:gd name="connsiteY2" fmla="*/ 5580689 h 5580689"/>
                <a:gd name="connsiteX3" fmla="*/ 709368 w 2684045"/>
                <a:gd name="connsiteY3" fmla="*/ 5580689 h 5580689"/>
                <a:gd name="connsiteX4" fmla="*/ 2684045 w 2684045"/>
                <a:gd name="connsiteY4" fmla="*/ 4541253 h 5580689"/>
                <a:gd name="connsiteX5" fmla="*/ 2490054 w 2684045"/>
                <a:gd name="connsiteY5" fmla="*/ 562885 h 55806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684045" h="5580689">
                  <a:moveTo>
                    <a:pt x="1993951" y="0"/>
                  </a:moveTo>
                  <a:lnTo>
                    <a:pt x="0" y="1103510"/>
                  </a:lnTo>
                  <a:lnTo>
                    <a:pt x="201321" y="5580689"/>
                  </a:lnTo>
                  <a:lnTo>
                    <a:pt x="709368" y="5580689"/>
                  </a:lnTo>
                  <a:lnTo>
                    <a:pt x="2684045" y="4541253"/>
                  </a:lnTo>
                  <a:lnTo>
                    <a:pt x="2490054" y="562885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00BEF9">
                    <a:alpha val="0"/>
                  </a:srgbClr>
                </a:gs>
                <a:gs pos="100000">
                  <a:srgbClr val="00679A"/>
                </a:gs>
              </a:gsLst>
              <a:lin ang="18900000" scaled="1"/>
              <a:tileRect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" name="任意多边形: 形状 10">
              <a:extLst>
                <a:ext uri="{FF2B5EF4-FFF2-40B4-BE49-F238E27FC236}">
                  <a16:creationId xmlns:a16="http://schemas.microsoft.com/office/drawing/2014/main" id="{9F95199B-8988-48E5-8D0F-BB68DB154C1F}"/>
                </a:ext>
              </a:extLst>
            </p:cNvPr>
            <p:cNvSpPr/>
            <p:nvPr/>
          </p:nvSpPr>
          <p:spPr>
            <a:xfrm flipH="1">
              <a:off x="7770819" y="547119"/>
              <a:ext cx="254413" cy="159007"/>
            </a:xfrm>
            <a:custGeom>
              <a:avLst/>
              <a:gdLst>
                <a:gd name="connsiteX0" fmla="*/ 74875 w 76200"/>
                <a:gd name="connsiteY0" fmla="*/ 20582 h 47625"/>
                <a:gd name="connsiteX1" fmla="*/ 61540 w 76200"/>
                <a:gd name="connsiteY1" fmla="*/ 37727 h 47625"/>
                <a:gd name="connsiteX2" fmla="*/ 24392 w 76200"/>
                <a:gd name="connsiteY2" fmla="*/ 42490 h 47625"/>
                <a:gd name="connsiteX3" fmla="*/ 7247 w 76200"/>
                <a:gd name="connsiteY3" fmla="*/ 29155 h 47625"/>
                <a:gd name="connsiteX4" fmla="*/ 7247 w 76200"/>
                <a:gd name="connsiteY4" fmla="*/ 29155 h 47625"/>
                <a:gd name="connsiteX5" fmla="*/ 20582 w 76200"/>
                <a:gd name="connsiteY5" fmla="*/ 12010 h 47625"/>
                <a:gd name="connsiteX6" fmla="*/ 56777 w 76200"/>
                <a:gd name="connsiteY6" fmla="*/ 7247 h 47625"/>
                <a:gd name="connsiteX7" fmla="*/ 74875 w 76200"/>
                <a:gd name="connsiteY7" fmla="*/ 20582 h 47625"/>
                <a:gd name="connsiteX8" fmla="*/ 74875 w 76200"/>
                <a:gd name="connsiteY8" fmla="*/ 20582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6200" h="47625">
                  <a:moveTo>
                    <a:pt x="74875" y="20582"/>
                  </a:moveTo>
                  <a:cubicBezTo>
                    <a:pt x="75827" y="29155"/>
                    <a:pt x="70112" y="36775"/>
                    <a:pt x="61540" y="37727"/>
                  </a:cubicBezTo>
                  <a:lnTo>
                    <a:pt x="24392" y="42490"/>
                  </a:lnTo>
                  <a:cubicBezTo>
                    <a:pt x="15820" y="43442"/>
                    <a:pt x="8200" y="37727"/>
                    <a:pt x="7247" y="29155"/>
                  </a:cubicBezTo>
                  <a:lnTo>
                    <a:pt x="7247" y="29155"/>
                  </a:lnTo>
                  <a:cubicBezTo>
                    <a:pt x="6295" y="20582"/>
                    <a:pt x="12010" y="12962"/>
                    <a:pt x="20582" y="12010"/>
                  </a:cubicBezTo>
                  <a:lnTo>
                    <a:pt x="56777" y="7247"/>
                  </a:lnTo>
                  <a:cubicBezTo>
                    <a:pt x="66302" y="6295"/>
                    <a:pt x="73922" y="12010"/>
                    <a:pt x="74875" y="20582"/>
                  </a:cubicBezTo>
                  <a:lnTo>
                    <a:pt x="74875" y="20582"/>
                  </a:lnTo>
                  <a:close/>
                </a:path>
              </a:pathLst>
            </a:custGeom>
            <a:solidFill>
              <a:srgbClr val="CDE3E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" name="任意多边形: 形状 13">
              <a:extLst>
                <a:ext uri="{FF2B5EF4-FFF2-40B4-BE49-F238E27FC236}">
                  <a16:creationId xmlns:a16="http://schemas.microsoft.com/office/drawing/2014/main" id="{5BDE1321-97F1-4DE5-8D5A-D720659F399B}"/>
                </a:ext>
              </a:extLst>
            </p:cNvPr>
            <p:cNvSpPr/>
            <p:nvPr/>
          </p:nvSpPr>
          <p:spPr>
            <a:xfrm flipH="1">
              <a:off x="7963176" y="244669"/>
              <a:ext cx="1208457" cy="985847"/>
            </a:xfrm>
            <a:custGeom>
              <a:avLst/>
              <a:gdLst>
                <a:gd name="connsiteX0" fmla="*/ 353468 w 361950"/>
                <a:gd name="connsiteY0" fmla="*/ 191180 h 295275"/>
                <a:gd name="connsiteX1" fmla="*/ 153444 w 361950"/>
                <a:gd name="connsiteY1" fmla="*/ 291193 h 295275"/>
                <a:gd name="connsiteX2" fmla="*/ 14379 w 361950"/>
                <a:gd name="connsiteY2" fmla="*/ 100693 h 295275"/>
                <a:gd name="connsiteX3" fmla="*/ 216309 w 361950"/>
                <a:gd name="connsiteY3" fmla="*/ 16873 h 295275"/>
                <a:gd name="connsiteX4" fmla="*/ 353468 w 361950"/>
                <a:gd name="connsiteY4" fmla="*/ 191180 h 295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61950" h="295275">
                  <a:moveTo>
                    <a:pt x="353468" y="191180"/>
                  </a:moveTo>
                  <a:cubicBezTo>
                    <a:pt x="334418" y="276905"/>
                    <a:pt x="253456" y="308338"/>
                    <a:pt x="153444" y="291193"/>
                  </a:cubicBezTo>
                  <a:cubicBezTo>
                    <a:pt x="53431" y="274048"/>
                    <a:pt x="-16101" y="182608"/>
                    <a:pt x="14379" y="100693"/>
                  </a:cubicBezTo>
                  <a:cubicBezTo>
                    <a:pt x="40096" y="31160"/>
                    <a:pt x="119154" y="-13607"/>
                    <a:pt x="216309" y="16873"/>
                  </a:cubicBezTo>
                  <a:cubicBezTo>
                    <a:pt x="319179" y="48305"/>
                    <a:pt x="371566" y="111170"/>
                    <a:pt x="353468" y="191180"/>
                  </a:cubicBez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" name="任意多边形: 形状 14">
              <a:extLst>
                <a:ext uri="{FF2B5EF4-FFF2-40B4-BE49-F238E27FC236}">
                  <a16:creationId xmlns:a16="http://schemas.microsoft.com/office/drawing/2014/main" id="{21991CCD-5EFC-4265-81E6-70D52B276FEB}"/>
                </a:ext>
              </a:extLst>
            </p:cNvPr>
            <p:cNvSpPr/>
            <p:nvPr/>
          </p:nvSpPr>
          <p:spPr>
            <a:xfrm flipH="1">
              <a:off x="8066191" y="392131"/>
              <a:ext cx="1081251" cy="826839"/>
            </a:xfrm>
            <a:custGeom>
              <a:avLst/>
              <a:gdLst>
                <a:gd name="connsiteX0" fmla="*/ 324316 w 323850"/>
                <a:gd name="connsiteY0" fmla="*/ 156538 h 247650"/>
                <a:gd name="connsiteX1" fmla="*/ 149056 w 323850"/>
                <a:gd name="connsiteY1" fmla="*/ 243216 h 247650"/>
                <a:gd name="connsiteX2" fmla="*/ 8086 w 323850"/>
                <a:gd name="connsiteY2" fmla="*/ 97483 h 247650"/>
                <a:gd name="connsiteX3" fmla="*/ 183346 w 323850"/>
                <a:gd name="connsiteY3" fmla="*/ 10806 h 247650"/>
                <a:gd name="connsiteX4" fmla="*/ 324316 w 323850"/>
                <a:gd name="connsiteY4" fmla="*/ 156538 h 2476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3850" h="247650">
                  <a:moveTo>
                    <a:pt x="324316" y="156538"/>
                  </a:moveTo>
                  <a:cubicBezTo>
                    <a:pt x="314791" y="220356"/>
                    <a:pt x="236686" y="259408"/>
                    <a:pt x="149056" y="243216"/>
                  </a:cubicBezTo>
                  <a:cubicBezTo>
                    <a:pt x="62378" y="227023"/>
                    <a:pt x="-1439" y="161301"/>
                    <a:pt x="8086" y="97483"/>
                  </a:cubicBezTo>
                  <a:cubicBezTo>
                    <a:pt x="17611" y="33666"/>
                    <a:pt x="95716" y="-5387"/>
                    <a:pt x="183346" y="10806"/>
                  </a:cubicBezTo>
                  <a:cubicBezTo>
                    <a:pt x="270976" y="26998"/>
                    <a:pt x="333841" y="91768"/>
                    <a:pt x="324316" y="156538"/>
                  </a:cubicBezTo>
                  <a:close/>
                </a:path>
              </a:pathLst>
            </a:custGeom>
            <a:solidFill>
              <a:schemeClr val="tx2">
                <a:lumMod val="20000"/>
                <a:lumOff val="8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2" name="任意多边形: 形状 191">
              <a:extLst>
                <a:ext uri="{FF2B5EF4-FFF2-40B4-BE49-F238E27FC236}">
                  <a16:creationId xmlns:a16="http://schemas.microsoft.com/office/drawing/2014/main" id="{3008F152-E3E8-4B30-BC08-C5997770543F}"/>
                </a:ext>
              </a:extLst>
            </p:cNvPr>
            <p:cNvSpPr/>
            <p:nvPr/>
          </p:nvSpPr>
          <p:spPr>
            <a:xfrm flipH="1">
              <a:off x="8200096" y="519240"/>
              <a:ext cx="834694" cy="651854"/>
            </a:xfrm>
            <a:custGeom>
              <a:avLst/>
              <a:gdLst>
                <a:gd name="connsiteX0" fmla="*/ 386471 w 810163"/>
                <a:gd name="connsiteY0" fmla="*/ 459339 h 632697"/>
                <a:gd name="connsiteX1" fmla="*/ 302697 w 810163"/>
                <a:gd name="connsiteY1" fmla="*/ 516636 h 632697"/>
                <a:gd name="connsiteX2" fmla="*/ 389125 w 810163"/>
                <a:gd name="connsiteY2" fmla="*/ 627758 h 632697"/>
                <a:gd name="connsiteX3" fmla="*/ 515678 w 810163"/>
                <a:gd name="connsiteY3" fmla="*/ 575282 h 632697"/>
                <a:gd name="connsiteX4" fmla="*/ 429250 w 810163"/>
                <a:gd name="connsiteY4" fmla="*/ 464161 h 632697"/>
                <a:gd name="connsiteX5" fmla="*/ 386471 w 810163"/>
                <a:gd name="connsiteY5" fmla="*/ 459339 h 632697"/>
                <a:gd name="connsiteX6" fmla="*/ 729480 w 810163"/>
                <a:gd name="connsiteY6" fmla="*/ 387527 h 632697"/>
                <a:gd name="connsiteX7" fmla="*/ 685446 w 810163"/>
                <a:gd name="connsiteY7" fmla="*/ 390083 h 632697"/>
                <a:gd name="connsiteX8" fmla="*/ 589757 w 810163"/>
                <a:gd name="connsiteY8" fmla="*/ 495031 h 632697"/>
                <a:gd name="connsiteX9" fmla="*/ 713225 w 810163"/>
                <a:gd name="connsiteY9" fmla="*/ 553676 h 632697"/>
                <a:gd name="connsiteX10" fmla="*/ 808914 w 810163"/>
                <a:gd name="connsiteY10" fmla="*/ 448729 h 632697"/>
                <a:gd name="connsiteX11" fmla="*/ 729480 w 810163"/>
                <a:gd name="connsiteY11" fmla="*/ 387527 h 632697"/>
                <a:gd name="connsiteX12" fmla="*/ 73897 w 810163"/>
                <a:gd name="connsiteY12" fmla="*/ 246165 h 632697"/>
                <a:gd name="connsiteX13" fmla="*/ 9463 w 810163"/>
                <a:gd name="connsiteY13" fmla="*/ 285136 h 632697"/>
                <a:gd name="connsiteX14" fmla="*/ 71197 w 810163"/>
                <a:gd name="connsiteY14" fmla="*/ 433297 h 632697"/>
                <a:gd name="connsiteX15" fmla="*/ 225532 w 810163"/>
                <a:gd name="connsiteY15" fmla="*/ 417862 h 632697"/>
                <a:gd name="connsiteX16" fmla="*/ 163798 w 810163"/>
                <a:gd name="connsiteY16" fmla="*/ 269701 h 632697"/>
                <a:gd name="connsiteX17" fmla="*/ 73897 w 810163"/>
                <a:gd name="connsiteY17" fmla="*/ 246165 h 632697"/>
                <a:gd name="connsiteX18" fmla="*/ 423609 w 810163"/>
                <a:gd name="connsiteY18" fmla="*/ 182693 h 632697"/>
                <a:gd name="connsiteX19" fmla="*/ 318131 w 810163"/>
                <a:gd name="connsiteY19" fmla="*/ 257353 h 632697"/>
                <a:gd name="connsiteX20" fmla="*/ 401471 w 810163"/>
                <a:gd name="connsiteY20" fmla="*/ 405515 h 632697"/>
                <a:gd name="connsiteX21" fmla="*/ 555806 w 810163"/>
                <a:gd name="connsiteY21" fmla="*/ 337607 h 632697"/>
                <a:gd name="connsiteX22" fmla="*/ 472466 w 810163"/>
                <a:gd name="connsiteY22" fmla="*/ 189446 h 632697"/>
                <a:gd name="connsiteX23" fmla="*/ 423609 w 810163"/>
                <a:gd name="connsiteY23" fmla="*/ 182693 h 632697"/>
                <a:gd name="connsiteX24" fmla="*/ 609821 w 810163"/>
                <a:gd name="connsiteY24" fmla="*/ 65593 h 632697"/>
                <a:gd name="connsiteX25" fmla="*/ 546543 w 810163"/>
                <a:gd name="connsiteY25" fmla="*/ 106106 h 632697"/>
                <a:gd name="connsiteX26" fmla="*/ 608278 w 810163"/>
                <a:gd name="connsiteY26" fmla="*/ 254268 h 632697"/>
                <a:gd name="connsiteX27" fmla="*/ 762613 w 810163"/>
                <a:gd name="connsiteY27" fmla="*/ 235748 h 632697"/>
                <a:gd name="connsiteX28" fmla="*/ 700879 w 810163"/>
                <a:gd name="connsiteY28" fmla="*/ 87586 h 632697"/>
                <a:gd name="connsiteX29" fmla="*/ 609821 w 810163"/>
                <a:gd name="connsiteY29" fmla="*/ 65593 h 632697"/>
                <a:gd name="connsiteX30" fmla="*/ 275060 w 810163"/>
                <a:gd name="connsiteY30" fmla="*/ 484 h 632697"/>
                <a:gd name="connsiteX31" fmla="*/ 225528 w 810163"/>
                <a:gd name="connsiteY31" fmla="*/ 4246 h 632697"/>
                <a:gd name="connsiteX32" fmla="*/ 120580 w 810163"/>
                <a:gd name="connsiteY32" fmla="*/ 124626 h 632697"/>
                <a:gd name="connsiteX33" fmla="*/ 262569 w 810163"/>
                <a:gd name="connsiteY33" fmla="*/ 189448 h 632697"/>
                <a:gd name="connsiteX34" fmla="*/ 367516 w 810163"/>
                <a:gd name="connsiteY34" fmla="*/ 69065 h 632697"/>
                <a:gd name="connsiteX35" fmla="*/ 275060 w 810163"/>
                <a:gd name="connsiteY35" fmla="*/ 484 h 6326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810163" h="632697">
                  <a:moveTo>
                    <a:pt x="386471" y="459339"/>
                  </a:moveTo>
                  <a:cubicBezTo>
                    <a:pt x="345525" y="461075"/>
                    <a:pt x="311957" y="481910"/>
                    <a:pt x="302697" y="516636"/>
                  </a:cubicBezTo>
                  <a:cubicBezTo>
                    <a:pt x="293435" y="562935"/>
                    <a:pt x="333564" y="612322"/>
                    <a:pt x="389125" y="627758"/>
                  </a:cubicBezTo>
                  <a:cubicBezTo>
                    <a:pt x="447770" y="643189"/>
                    <a:pt x="503331" y="621584"/>
                    <a:pt x="515678" y="575282"/>
                  </a:cubicBezTo>
                  <a:cubicBezTo>
                    <a:pt x="528024" y="528983"/>
                    <a:pt x="487899" y="479596"/>
                    <a:pt x="429250" y="464161"/>
                  </a:cubicBezTo>
                  <a:cubicBezTo>
                    <a:pt x="414588" y="460303"/>
                    <a:pt x="400120" y="458760"/>
                    <a:pt x="386471" y="459339"/>
                  </a:cubicBezTo>
                  <a:close/>
                  <a:moveTo>
                    <a:pt x="729480" y="387527"/>
                  </a:moveTo>
                  <a:cubicBezTo>
                    <a:pt x="715734" y="386225"/>
                    <a:pt x="700880" y="386996"/>
                    <a:pt x="685446" y="390083"/>
                  </a:cubicBezTo>
                  <a:cubicBezTo>
                    <a:pt x="626797" y="402430"/>
                    <a:pt x="583583" y="448729"/>
                    <a:pt x="589757" y="495031"/>
                  </a:cubicBezTo>
                  <a:cubicBezTo>
                    <a:pt x="599019" y="541330"/>
                    <a:pt x="651491" y="566023"/>
                    <a:pt x="713225" y="553676"/>
                  </a:cubicBezTo>
                  <a:cubicBezTo>
                    <a:pt x="774959" y="541330"/>
                    <a:pt x="818173" y="495031"/>
                    <a:pt x="808914" y="448729"/>
                  </a:cubicBezTo>
                  <a:cubicBezTo>
                    <a:pt x="801968" y="414004"/>
                    <a:pt x="770716" y="391433"/>
                    <a:pt x="729480" y="387527"/>
                  </a:cubicBezTo>
                  <a:close/>
                  <a:moveTo>
                    <a:pt x="73897" y="246165"/>
                  </a:moveTo>
                  <a:cubicBezTo>
                    <a:pt x="45731" y="248866"/>
                    <a:pt x="21810" y="261985"/>
                    <a:pt x="9463" y="285136"/>
                  </a:cubicBezTo>
                  <a:cubicBezTo>
                    <a:pt x="-15231" y="331435"/>
                    <a:pt x="9463" y="399342"/>
                    <a:pt x="71197" y="433297"/>
                  </a:cubicBezTo>
                  <a:cubicBezTo>
                    <a:pt x="129842" y="470338"/>
                    <a:pt x="200838" y="464164"/>
                    <a:pt x="225532" y="417862"/>
                  </a:cubicBezTo>
                  <a:cubicBezTo>
                    <a:pt x="250225" y="371563"/>
                    <a:pt x="222443" y="306741"/>
                    <a:pt x="163798" y="269701"/>
                  </a:cubicBezTo>
                  <a:cubicBezTo>
                    <a:pt x="134473" y="251180"/>
                    <a:pt x="102063" y="243464"/>
                    <a:pt x="73897" y="246165"/>
                  </a:cubicBezTo>
                  <a:close/>
                  <a:moveTo>
                    <a:pt x="423609" y="182693"/>
                  </a:moveTo>
                  <a:cubicBezTo>
                    <a:pt x="375427" y="185007"/>
                    <a:pt x="332021" y="213367"/>
                    <a:pt x="318131" y="257353"/>
                  </a:cubicBezTo>
                  <a:cubicBezTo>
                    <a:pt x="296523" y="319087"/>
                    <a:pt x="336651" y="383906"/>
                    <a:pt x="401471" y="405515"/>
                  </a:cubicBezTo>
                  <a:cubicBezTo>
                    <a:pt x="466293" y="427120"/>
                    <a:pt x="537285" y="396253"/>
                    <a:pt x="555806" y="337607"/>
                  </a:cubicBezTo>
                  <a:cubicBezTo>
                    <a:pt x="577414" y="278959"/>
                    <a:pt x="537285" y="211051"/>
                    <a:pt x="472466" y="189446"/>
                  </a:cubicBezTo>
                  <a:cubicBezTo>
                    <a:pt x="456260" y="184044"/>
                    <a:pt x="439669" y="181921"/>
                    <a:pt x="423609" y="182693"/>
                  </a:cubicBezTo>
                  <a:close/>
                  <a:moveTo>
                    <a:pt x="609821" y="65593"/>
                  </a:moveTo>
                  <a:cubicBezTo>
                    <a:pt x="582041" y="69065"/>
                    <a:pt x="558890" y="82955"/>
                    <a:pt x="546543" y="106106"/>
                  </a:cubicBezTo>
                  <a:cubicBezTo>
                    <a:pt x="518765" y="152405"/>
                    <a:pt x="549632" y="220313"/>
                    <a:pt x="608278" y="254268"/>
                  </a:cubicBezTo>
                  <a:cubicBezTo>
                    <a:pt x="670012" y="291308"/>
                    <a:pt x="737919" y="282047"/>
                    <a:pt x="762613" y="235748"/>
                  </a:cubicBezTo>
                  <a:cubicBezTo>
                    <a:pt x="787306" y="189446"/>
                    <a:pt x="756439" y="124627"/>
                    <a:pt x="700879" y="87586"/>
                  </a:cubicBezTo>
                  <a:cubicBezTo>
                    <a:pt x="670012" y="69066"/>
                    <a:pt x="637601" y="62121"/>
                    <a:pt x="609821" y="65593"/>
                  </a:cubicBezTo>
                  <a:close/>
                  <a:moveTo>
                    <a:pt x="275060" y="484"/>
                  </a:moveTo>
                  <a:cubicBezTo>
                    <a:pt x="259289" y="-770"/>
                    <a:pt x="242505" y="387"/>
                    <a:pt x="225528" y="4246"/>
                  </a:cubicBezTo>
                  <a:cubicBezTo>
                    <a:pt x="157621" y="19678"/>
                    <a:pt x="111322" y="72154"/>
                    <a:pt x="120580" y="124626"/>
                  </a:cubicBezTo>
                  <a:cubicBezTo>
                    <a:pt x="129842" y="177101"/>
                    <a:pt x="194661" y="204880"/>
                    <a:pt x="262569" y="189448"/>
                  </a:cubicBezTo>
                  <a:cubicBezTo>
                    <a:pt x="330476" y="174013"/>
                    <a:pt x="376778" y="118453"/>
                    <a:pt x="367516" y="69065"/>
                  </a:cubicBezTo>
                  <a:cubicBezTo>
                    <a:pt x="360572" y="29711"/>
                    <a:pt x="322374" y="4245"/>
                    <a:pt x="275060" y="484"/>
                  </a:cubicBezTo>
                  <a:close/>
                </a:path>
              </a:pathLst>
            </a:custGeom>
            <a:solidFill>
              <a:schemeClr val="tx2">
                <a:lumMod val="40000"/>
                <a:lumOff val="6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2" name="任意多边形: 形状 21">
              <a:extLst>
                <a:ext uri="{FF2B5EF4-FFF2-40B4-BE49-F238E27FC236}">
                  <a16:creationId xmlns:a16="http://schemas.microsoft.com/office/drawing/2014/main" id="{231CB9EA-C49B-4454-9828-D0E12190783D}"/>
                </a:ext>
              </a:extLst>
            </p:cNvPr>
            <p:cNvSpPr/>
            <p:nvPr/>
          </p:nvSpPr>
          <p:spPr>
            <a:xfrm flipH="1">
              <a:off x="7811815" y="-59944"/>
              <a:ext cx="1017648" cy="667831"/>
            </a:xfrm>
            <a:custGeom>
              <a:avLst/>
              <a:gdLst>
                <a:gd name="connsiteX0" fmla="*/ 270986 w 304800"/>
                <a:gd name="connsiteY0" fmla="*/ 201454 h 200025"/>
                <a:gd name="connsiteX1" fmla="*/ 248126 w 304800"/>
                <a:gd name="connsiteY1" fmla="*/ 113824 h 200025"/>
                <a:gd name="connsiteX2" fmla="*/ 32861 w 304800"/>
                <a:gd name="connsiteY2" fmla="*/ 64294 h 200025"/>
                <a:gd name="connsiteX3" fmla="*/ 7144 w 304800"/>
                <a:gd name="connsiteY3" fmla="*/ 7144 h 200025"/>
                <a:gd name="connsiteX4" fmla="*/ 61436 w 304800"/>
                <a:gd name="connsiteY4" fmla="*/ 8096 h 200025"/>
                <a:gd name="connsiteX5" fmla="*/ 68104 w 304800"/>
                <a:gd name="connsiteY5" fmla="*/ 29051 h 200025"/>
                <a:gd name="connsiteX6" fmla="*/ 274796 w 304800"/>
                <a:gd name="connsiteY6" fmla="*/ 103346 h 200025"/>
                <a:gd name="connsiteX7" fmla="*/ 298609 w 304800"/>
                <a:gd name="connsiteY7" fmla="*/ 199549 h 200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04800" h="200025">
                  <a:moveTo>
                    <a:pt x="270986" y="201454"/>
                  </a:moveTo>
                  <a:lnTo>
                    <a:pt x="248126" y="113824"/>
                  </a:lnTo>
                  <a:lnTo>
                    <a:pt x="32861" y="64294"/>
                  </a:lnTo>
                  <a:lnTo>
                    <a:pt x="7144" y="7144"/>
                  </a:lnTo>
                  <a:lnTo>
                    <a:pt x="61436" y="8096"/>
                  </a:lnTo>
                  <a:lnTo>
                    <a:pt x="68104" y="29051"/>
                  </a:lnTo>
                  <a:lnTo>
                    <a:pt x="274796" y="103346"/>
                  </a:lnTo>
                  <a:lnTo>
                    <a:pt x="298609" y="199549"/>
                  </a:lnTo>
                  <a:close/>
                </a:path>
              </a:pathLst>
            </a:custGeom>
            <a:solidFill>
              <a:schemeClr val="tx2">
                <a:lumMod val="20000"/>
                <a:lumOff val="8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4" name="任意多边形: 形状 23">
              <a:extLst>
                <a:ext uri="{FF2B5EF4-FFF2-40B4-BE49-F238E27FC236}">
                  <a16:creationId xmlns:a16="http://schemas.microsoft.com/office/drawing/2014/main" id="{C190A9A3-AB20-4D46-9F09-6875AC4A4450}"/>
                </a:ext>
              </a:extLst>
            </p:cNvPr>
            <p:cNvSpPr/>
            <p:nvPr/>
          </p:nvSpPr>
          <p:spPr>
            <a:xfrm flipH="1">
              <a:off x="9490933" y="1641437"/>
              <a:ext cx="699632" cy="636030"/>
            </a:xfrm>
            <a:custGeom>
              <a:avLst/>
              <a:gdLst>
                <a:gd name="connsiteX0" fmla="*/ 202406 w 209550"/>
                <a:gd name="connsiteY0" fmla="*/ 63341 h 190500"/>
                <a:gd name="connsiteX1" fmla="*/ 13811 w 209550"/>
                <a:gd name="connsiteY1" fmla="*/ 186214 h 190500"/>
                <a:gd name="connsiteX2" fmla="*/ 7144 w 209550"/>
                <a:gd name="connsiteY2" fmla="*/ 65246 h 190500"/>
                <a:gd name="connsiteX3" fmla="*/ 135731 w 209550"/>
                <a:gd name="connsiteY3" fmla="*/ 7144 h 190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9550" h="190500">
                  <a:moveTo>
                    <a:pt x="202406" y="63341"/>
                  </a:moveTo>
                  <a:lnTo>
                    <a:pt x="13811" y="186214"/>
                  </a:lnTo>
                  <a:lnTo>
                    <a:pt x="7144" y="65246"/>
                  </a:lnTo>
                  <a:lnTo>
                    <a:pt x="135731" y="7144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5" name="任意多边形: 形状 24">
              <a:extLst>
                <a:ext uri="{FF2B5EF4-FFF2-40B4-BE49-F238E27FC236}">
                  <a16:creationId xmlns:a16="http://schemas.microsoft.com/office/drawing/2014/main" id="{DCC8203D-90D3-4487-B875-983B63B10DA9}"/>
                </a:ext>
              </a:extLst>
            </p:cNvPr>
            <p:cNvSpPr/>
            <p:nvPr/>
          </p:nvSpPr>
          <p:spPr>
            <a:xfrm flipH="1">
              <a:off x="7586514" y="2321989"/>
              <a:ext cx="286214" cy="349817"/>
            </a:xfrm>
            <a:custGeom>
              <a:avLst/>
              <a:gdLst>
                <a:gd name="connsiteX0" fmla="*/ 13006 w 85725"/>
                <a:gd name="connsiteY0" fmla="*/ 25241 h 104775"/>
                <a:gd name="connsiteX1" fmla="*/ 36818 w 85725"/>
                <a:gd name="connsiteY1" fmla="*/ 14764 h 104775"/>
                <a:gd name="connsiteX2" fmla="*/ 80634 w 85725"/>
                <a:gd name="connsiteY2" fmla="*/ 7144 h 104775"/>
                <a:gd name="connsiteX3" fmla="*/ 78728 w 85725"/>
                <a:gd name="connsiteY3" fmla="*/ 94774 h 104775"/>
                <a:gd name="connsiteX4" fmla="*/ 11101 w 85725"/>
                <a:gd name="connsiteY4" fmla="*/ 90964 h 104775"/>
                <a:gd name="connsiteX5" fmla="*/ 9196 w 85725"/>
                <a:gd name="connsiteY5" fmla="*/ 58579 h 104775"/>
                <a:gd name="connsiteX6" fmla="*/ 13006 w 85725"/>
                <a:gd name="connsiteY6" fmla="*/ 25241 h 104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5725" h="104775">
                  <a:moveTo>
                    <a:pt x="13006" y="25241"/>
                  </a:moveTo>
                  <a:cubicBezTo>
                    <a:pt x="18721" y="23336"/>
                    <a:pt x="26341" y="12859"/>
                    <a:pt x="36818" y="14764"/>
                  </a:cubicBezTo>
                  <a:cubicBezTo>
                    <a:pt x="47296" y="16669"/>
                    <a:pt x="80634" y="7144"/>
                    <a:pt x="80634" y="7144"/>
                  </a:cubicBezTo>
                  <a:cubicBezTo>
                    <a:pt x="80634" y="7144"/>
                    <a:pt x="93016" y="85249"/>
                    <a:pt x="78728" y="94774"/>
                  </a:cubicBezTo>
                  <a:cubicBezTo>
                    <a:pt x="64441" y="104299"/>
                    <a:pt x="12053" y="93821"/>
                    <a:pt x="11101" y="90964"/>
                  </a:cubicBezTo>
                  <a:cubicBezTo>
                    <a:pt x="9196" y="88106"/>
                    <a:pt x="4433" y="65246"/>
                    <a:pt x="9196" y="58579"/>
                  </a:cubicBezTo>
                  <a:cubicBezTo>
                    <a:pt x="14911" y="50959"/>
                    <a:pt x="13006" y="25241"/>
                    <a:pt x="13006" y="25241"/>
                  </a:cubicBez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6" name="任意多边形: 形状 25">
              <a:extLst>
                <a:ext uri="{FF2B5EF4-FFF2-40B4-BE49-F238E27FC236}">
                  <a16:creationId xmlns:a16="http://schemas.microsoft.com/office/drawing/2014/main" id="{22CD68C0-497F-43D7-B503-ABE87CAE3AFF}"/>
                </a:ext>
              </a:extLst>
            </p:cNvPr>
            <p:cNvSpPr/>
            <p:nvPr/>
          </p:nvSpPr>
          <p:spPr>
            <a:xfrm flipH="1">
              <a:off x="7411117" y="1549212"/>
              <a:ext cx="31802" cy="31802"/>
            </a:xfrm>
            <a:custGeom>
              <a:avLst/>
              <a:gdLst>
                <a:gd name="connsiteX0" fmla="*/ 7144 w 9525"/>
                <a:gd name="connsiteY0" fmla="*/ 7144 h 9525"/>
                <a:gd name="connsiteX1" fmla="*/ 7144 w 9525"/>
                <a:gd name="connsiteY1" fmla="*/ 7144 h 9525"/>
                <a:gd name="connsiteX2" fmla="*/ 7144 w 9525"/>
                <a:gd name="connsiteY2" fmla="*/ 7144 h 9525"/>
                <a:gd name="connsiteX3" fmla="*/ 7144 w 9525"/>
                <a:gd name="connsiteY3" fmla="*/ 7144 h 9525"/>
                <a:gd name="connsiteX4" fmla="*/ 7144 w 9525"/>
                <a:gd name="connsiteY4" fmla="*/ 7144 h 9525"/>
                <a:gd name="connsiteX5" fmla="*/ 7144 w 9525"/>
                <a:gd name="connsiteY5" fmla="*/ 7144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525" h="9525">
                  <a:moveTo>
                    <a:pt x="7144" y="7144"/>
                  </a:moveTo>
                  <a:lnTo>
                    <a:pt x="7144" y="7144"/>
                  </a:lnTo>
                  <a:lnTo>
                    <a:pt x="7144" y="7144"/>
                  </a:lnTo>
                  <a:lnTo>
                    <a:pt x="7144" y="7144"/>
                  </a:lnTo>
                  <a:cubicBezTo>
                    <a:pt x="7144" y="7144"/>
                    <a:pt x="7144" y="7144"/>
                    <a:pt x="7144" y="7144"/>
                  </a:cubicBezTo>
                  <a:lnTo>
                    <a:pt x="7144" y="7144"/>
                  </a:lnTo>
                  <a:close/>
                </a:path>
              </a:pathLst>
            </a:custGeom>
            <a:solidFill>
              <a:schemeClr val="accent1">
                <a:lumMod val="5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7" name="任意多边形: 形状 26">
              <a:extLst>
                <a:ext uri="{FF2B5EF4-FFF2-40B4-BE49-F238E27FC236}">
                  <a16:creationId xmlns:a16="http://schemas.microsoft.com/office/drawing/2014/main" id="{DF33F2CE-94C9-46B8-A9C5-B389DD29557B}"/>
                </a:ext>
              </a:extLst>
            </p:cNvPr>
            <p:cNvSpPr/>
            <p:nvPr/>
          </p:nvSpPr>
          <p:spPr>
            <a:xfrm flipH="1">
              <a:off x="6993772" y="1205898"/>
              <a:ext cx="636030" cy="1144854"/>
            </a:xfrm>
            <a:custGeom>
              <a:avLst/>
              <a:gdLst>
                <a:gd name="connsiteX0" fmla="*/ 189800 w 190500"/>
                <a:gd name="connsiteY0" fmla="*/ 236654 h 342900"/>
                <a:gd name="connsiteX1" fmla="*/ 147890 w 190500"/>
                <a:gd name="connsiteY1" fmla="*/ 142356 h 342900"/>
                <a:gd name="connsiteX2" fmla="*/ 154558 w 190500"/>
                <a:gd name="connsiteY2" fmla="*/ 68061 h 342900"/>
                <a:gd name="connsiteX3" fmla="*/ 58355 w 190500"/>
                <a:gd name="connsiteY3" fmla="*/ 10911 h 342900"/>
                <a:gd name="connsiteX4" fmla="*/ 11683 w 190500"/>
                <a:gd name="connsiteY4" fmla="*/ 117591 h 342900"/>
                <a:gd name="connsiteX5" fmla="*/ 14540 w 190500"/>
                <a:gd name="connsiteY5" fmla="*/ 128069 h 342900"/>
                <a:gd name="connsiteX6" fmla="*/ 11683 w 190500"/>
                <a:gd name="connsiteY6" fmla="*/ 154739 h 342900"/>
                <a:gd name="connsiteX7" fmla="*/ 26923 w 190500"/>
                <a:gd name="connsiteY7" fmla="*/ 162359 h 342900"/>
                <a:gd name="connsiteX8" fmla="*/ 60260 w 190500"/>
                <a:gd name="connsiteY8" fmla="*/ 204269 h 342900"/>
                <a:gd name="connsiteX9" fmla="*/ 85978 w 190500"/>
                <a:gd name="connsiteY9" fmla="*/ 198554 h 342900"/>
                <a:gd name="connsiteX10" fmla="*/ 78358 w 190500"/>
                <a:gd name="connsiteY10" fmla="*/ 248084 h 342900"/>
                <a:gd name="connsiteX11" fmla="*/ 41210 w 190500"/>
                <a:gd name="connsiteY11" fmla="*/ 329999 h 342900"/>
                <a:gd name="connsiteX12" fmla="*/ 189800 w 190500"/>
                <a:gd name="connsiteY12" fmla="*/ 236654 h 342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90500" h="342900">
                  <a:moveTo>
                    <a:pt x="189800" y="236654"/>
                  </a:moveTo>
                  <a:cubicBezTo>
                    <a:pt x="185038" y="219509"/>
                    <a:pt x="161225" y="204269"/>
                    <a:pt x="147890" y="142356"/>
                  </a:cubicBezTo>
                  <a:cubicBezTo>
                    <a:pt x="157415" y="122354"/>
                    <a:pt x="161225" y="97589"/>
                    <a:pt x="154558" y="68061"/>
                  </a:cubicBezTo>
                  <a:cubicBezTo>
                    <a:pt x="141223" y="12816"/>
                    <a:pt x="102170" y="-519"/>
                    <a:pt x="58355" y="10911"/>
                  </a:cubicBezTo>
                  <a:cubicBezTo>
                    <a:pt x="14540" y="21389"/>
                    <a:pt x="-1652" y="62346"/>
                    <a:pt x="11683" y="117591"/>
                  </a:cubicBezTo>
                  <a:cubicBezTo>
                    <a:pt x="11683" y="119496"/>
                    <a:pt x="12635" y="123306"/>
                    <a:pt x="14540" y="128069"/>
                  </a:cubicBezTo>
                  <a:cubicBezTo>
                    <a:pt x="14540" y="148071"/>
                    <a:pt x="10730" y="150929"/>
                    <a:pt x="11683" y="154739"/>
                  </a:cubicBezTo>
                  <a:cubicBezTo>
                    <a:pt x="13588" y="162359"/>
                    <a:pt x="22160" y="162359"/>
                    <a:pt x="26923" y="162359"/>
                  </a:cubicBezTo>
                  <a:cubicBezTo>
                    <a:pt x="35495" y="181409"/>
                    <a:pt x="46925" y="199506"/>
                    <a:pt x="60260" y="204269"/>
                  </a:cubicBezTo>
                  <a:cubicBezTo>
                    <a:pt x="65023" y="206174"/>
                    <a:pt x="74548" y="202364"/>
                    <a:pt x="85978" y="198554"/>
                  </a:cubicBezTo>
                  <a:cubicBezTo>
                    <a:pt x="87883" y="214746"/>
                    <a:pt x="85978" y="231891"/>
                    <a:pt x="78358" y="248084"/>
                  </a:cubicBezTo>
                  <a:cubicBezTo>
                    <a:pt x="50735" y="305234"/>
                    <a:pt x="38353" y="331904"/>
                    <a:pt x="41210" y="329999"/>
                  </a:cubicBezTo>
                  <a:cubicBezTo>
                    <a:pt x="25970" y="364289"/>
                    <a:pt x="196468" y="243321"/>
                    <a:pt x="189800" y="236654"/>
                  </a:cubicBezTo>
                  <a:close/>
                </a:path>
              </a:pathLst>
            </a:custGeom>
            <a:solidFill>
              <a:srgbClr val="F4CDC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8" name="任意多边形: 形状 27">
              <a:extLst>
                <a:ext uri="{FF2B5EF4-FFF2-40B4-BE49-F238E27FC236}">
                  <a16:creationId xmlns:a16="http://schemas.microsoft.com/office/drawing/2014/main" id="{C5344723-A17F-4FB1-9634-A479BBF4ECC3}"/>
                </a:ext>
              </a:extLst>
            </p:cNvPr>
            <p:cNvSpPr/>
            <p:nvPr/>
          </p:nvSpPr>
          <p:spPr>
            <a:xfrm flipH="1">
              <a:off x="6896647" y="1153323"/>
              <a:ext cx="795037" cy="572427"/>
            </a:xfrm>
            <a:custGeom>
              <a:avLst/>
              <a:gdLst>
                <a:gd name="connsiteX0" fmla="*/ 20693 w 238125"/>
                <a:gd name="connsiteY0" fmla="*/ 113335 h 171450"/>
                <a:gd name="connsiteX1" fmla="*/ 113085 w 238125"/>
                <a:gd name="connsiteY1" fmla="*/ 115240 h 171450"/>
                <a:gd name="connsiteX2" fmla="*/ 136898 w 238125"/>
                <a:gd name="connsiteY2" fmla="*/ 143815 h 171450"/>
                <a:gd name="connsiteX3" fmla="*/ 164520 w 238125"/>
                <a:gd name="connsiteY3" fmla="*/ 166675 h 171450"/>
                <a:gd name="connsiteX4" fmla="*/ 209288 w 238125"/>
                <a:gd name="connsiteY4" fmla="*/ 169533 h 171450"/>
                <a:gd name="connsiteX5" fmla="*/ 143565 w 238125"/>
                <a:gd name="connsiteY5" fmla="*/ 11418 h 171450"/>
                <a:gd name="connsiteX6" fmla="*/ 7358 w 238125"/>
                <a:gd name="connsiteY6" fmla="*/ 60948 h 171450"/>
                <a:gd name="connsiteX7" fmla="*/ 16883 w 238125"/>
                <a:gd name="connsiteY7" fmla="*/ 106668 h 171450"/>
                <a:gd name="connsiteX8" fmla="*/ 20693 w 238125"/>
                <a:gd name="connsiteY8" fmla="*/ 113335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38125" h="171450">
                  <a:moveTo>
                    <a:pt x="20693" y="113335"/>
                  </a:moveTo>
                  <a:cubicBezTo>
                    <a:pt x="46410" y="124765"/>
                    <a:pt x="102608" y="121908"/>
                    <a:pt x="113085" y="115240"/>
                  </a:cubicBezTo>
                  <a:cubicBezTo>
                    <a:pt x="122610" y="108573"/>
                    <a:pt x="137850" y="117145"/>
                    <a:pt x="136898" y="143815"/>
                  </a:cubicBezTo>
                  <a:cubicBezTo>
                    <a:pt x="154995" y="163818"/>
                    <a:pt x="154995" y="163818"/>
                    <a:pt x="164520" y="166675"/>
                  </a:cubicBezTo>
                  <a:cubicBezTo>
                    <a:pt x="167378" y="167628"/>
                    <a:pt x="194048" y="178105"/>
                    <a:pt x="209288" y="169533"/>
                  </a:cubicBezTo>
                  <a:cubicBezTo>
                    <a:pt x="255008" y="144768"/>
                    <a:pt x="228338" y="41898"/>
                    <a:pt x="143565" y="11418"/>
                  </a:cubicBezTo>
                  <a:cubicBezTo>
                    <a:pt x="102608" y="-3822"/>
                    <a:pt x="10215" y="23800"/>
                    <a:pt x="7358" y="60948"/>
                  </a:cubicBezTo>
                  <a:cubicBezTo>
                    <a:pt x="5453" y="98095"/>
                    <a:pt x="16883" y="106668"/>
                    <a:pt x="16883" y="106668"/>
                  </a:cubicBezTo>
                  <a:lnTo>
                    <a:pt x="20693" y="113335"/>
                  </a:lnTo>
                  <a:close/>
                </a:path>
              </a:pathLst>
            </a:custGeom>
            <a:solidFill>
              <a:schemeClr val="accent6">
                <a:lumMod val="40000"/>
                <a:lumOff val="6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9" name="任意多边形: 形状 28">
              <a:extLst>
                <a:ext uri="{FF2B5EF4-FFF2-40B4-BE49-F238E27FC236}">
                  <a16:creationId xmlns:a16="http://schemas.microsoft.com/office/drawing/2014/main" id="{4BDFA8AF-B870-4FEF-AFC8-FD070ED7C0C3}"/>
                </a:ext>
              </a:extLst>
            </p:cNvPr>
            <p:cNvSpPr/>
            <p:nvPr/>
          </p:nvSpPr>
          <p:spPr>
            <a:xfrm flipH="1">
              <a:off x="6995231" y="1199395"/>
              <a:ext cx="699632" cy="540624"/>
            </a:xfrm>
            <a:custGeom>
              <a:avLst/>
              <a:gdLst>
                <a:gd name="connsiteX0" fmla="*/ 7358 w 209550"/>
                <a:gd name="connsiteY0" fmla="*/ 49054 h 161925"/>
                <a:gd name="connsiteX1" fmla="*/ 16883 w 209550"/>
                <a:gd name="connsiteY1" fmla="*/ 94774 h 161925"/>
                <a:gd name="connsiteX2" fmla="*/ 21645 w 209550"/>
                <a:gd name="connsiteY2" fmla="*/ 100489 h 161925"/>
                <a:gd name="connsiteX3" fmla="*/ 114038 w 209550"/>
                <a:gd name="connsiteY3" fmla="*/ 102394 h 161925"/>
                <a:gd name="connsiteX4" fmla="*/ 137850 w 209550"/>
                <a:gd name="connsiteY4" fmla="*/ 130969 h 161925"/>
                <a:gd name="connsiteX5" fmla="*/ 165473 w 209550"/>
                <a:gd name="connsiteY5" fmla="*/ 153829 h 161925"/>
                <a:gd name="connsiteX6" fmla="*/ 210240 w 209550"/>
                <a:gd name="connsiteY6" fmla="*/ 156686 h 161925"/>
                <a:gd name="connsiteX7" fmla="*/ 107370 w 209550"/>
                <a:gd name="connsiteY7" fmla="*/ 69056 h 161925"/>
                <a:gd name="connsiteX8" fmla="*/ 54983 w 209550"/>
                <a:gd name="connsiteY8" fmla="*/ 7144 h 161925"/>
                <a:gd name="connsiteX9" fmla="*/ 7358 w 209550"/>
                <a:gd name="connsiteY9" fmla="*/ 49054 h 161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09550" h="161925">
                  <a:moveTo>
                    <a:pt x="7358" y="49054"/>
                  </a:moveTo>
                  <a:cubicBezTo>
                    <a:pt x="5453" y="86201"/>
                    <a:pt x="16883" y="94774"/>
                    <a:pt x="16883" y="94774"/>
                  </a:cubicBezTo>
                  <a:lnTo>
                    <a:pt x="21645" y="100489"/>
                  </a:lnTo>
                  <a:cubicBezTo>
                    <a:pt x="47363" y="111919"/>
                    <a:pt x="103560" y="109061"/>
                    <a:pt x="114038" y="102394"/>
                  </a:cubicBezTo>
                  <a:cubicBezTo>
                    <a:pt x="123563" y="95726"/>
                    <a:pt x="138803" y="104299"/>
                    <a:pt x="137850" y="130969"/>
                  </a:cubicBezTo>
                  <a:cubicBezTo>
                    <a:pt x="155948" y="150971"/>
                    <a:pt x="155948" y="150971"/>
                    <a:pt x="165473" y="153829"/>
                  </a:cubicBezTo>
                  <a:cubicBezTo>
                    <a:pt x="168330" y="154781"/>
                    <a:pt x="195000" y="165259"/>
                    <a:pt x="210240" y="156686"/>
                  </a:cubicBezTo>
                  <a:cubicBezTo>
                    <a:pt x="200715" y="129064"/>
                    <a:pt x="137850" y="85249"/>
                    <a:pt x="107370" y="69056"/>
                  </a:cubicBezTo>
                  <a:cubicBezTo>
                    <a:pt x="82605" y="55721"/>
                    <a:pt x="58793" y="29051"/>
                    <a:pt x="54983" y="7144"/>
                  </a:cubicBezTo>
                  <a:cubicBezTo>
                    <a:pt x="28313" y="16669"/>
                    <a:pt x="8310" y="31909"/>
                    <a:pt x="7358" y="49054"/>
                  </a:cubicBezTo>
                  <a:close/>
                </a:path>
              </a:pathLst>
            </a:custGeom>
            <a:solidFill>
              <a:schemeClr val="accent6">
                <a:lumMod val="40000"/>
                <a:lumOff val="6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0" name="任意多边形: 形状 29">
              <a:extLst>
                <a:ext uri="{FF2B5EF4-FFF2-40B4-BE49-F238E27FC236}">
                  <a16:creationId xmlns:a16="http://schemas.microsoft.com/office/drawing/2014/main" id="{588369DF-654E-492B-BAF1-BA5BD3819D1E}"/>
                </a:ext>
              </a:extLst>
            </p:cNvPr>
            <p:cNvSpPr/>
            <p:nvPr/>
          </p:nvSpPr>
          <p:spPr>
            <a:xfrm flipH="1">
              <a:off x="7014782" y="5677046"/>
              <a:ext cx="508823" cy="127205"/>
            </a:xfrm>
            <a:custGeom>
              <a:avLst/>
              <a:gdLst>
                <a:gd name="connsiteX0" fmla="*/ 152278 w 152400"/>
                <a:gd name="connsiteY0" fmla="*/ 7144 h 38100"/>
                <a:gd name="connsiteX1" fmla="*/ 148468 w 152400"/>
                <a:gd name="connsiteY1" fmla="*/ 28099 h 38100"/>
                <a:gd name="connsiteX2" fmla="*/ 114178 w 152400"/>
                <a:gd name="connsiteY2" fmla="*/ 33814 h 38100"/>
                <a:gd name="connsiteX3" fmla="*/ 18928 w 152400"/>
                <a:gd name="connsiteY3" fmla="*/ 36671 h 38100"/>
                <a:gd name="connsiteX4" fmla="*/ 8451 w 152400"/>
                <a:gd name="connsiteY4" fmla="*/ 11906 h 38100"/>
                <a:gd name="connsiteX5" fmla="*/ 152278 w 152400"/>
                <a:gd name="connsiteY5" fmla="*/ 7144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2400" h="38100">
                  <a:moveTo>
                    <a:pt x="152278" y="7144"/>
                  </a:moveTo>
                  <a:cubicBezTo>
                    <a:pt x="151326" y="10954"/>
                    <a:pt x="148468" y="28099"/>
                    <a:pt x="148468" y="28099"/>
                  </a:cubicBezTo>
                  <a:cubicBezTo>
                    <a:pt x="148468" y="28099"/>
                    <a:pt x="144658" y="34766"/>
                    <a:pt x="114178" y="33814"/>
                  </a:cubicBezTo>
                  <a:cubicBezTo>
                    <a:pt x="97033" y="33814"/>
                    <a:pt x="35121" y="42386"/>
                    <a:pt x="18928" y="36671"/>
                  </a:cubicBezTo>
                  <a:cubicBezTo>
                    <a:pt x="4641" y="30956"/>
                    <a:pt x="6546" y="10954"/>
                    <a:pt x="8451" y="11906"/>
                  </a:cubicBezTo>
                  <a:cubicBezTo>
                    <a:pt x="11308" y="11906"/>
                    <a:pt x="152278" y="7144"/>
                    <a:pt x="152278" y="7144"/>
                  </a:cubicBezTo>
                  <a:close/>
                </a:path>
              </a:pathLst>
            </a:custGeom>
            <a:solidFill>
              <a:srgbClr val="E4E8E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1" name="任意多边形: 形状 30">
              <a:extLst>
                <a:ext uri="{FF2B5EF4-FFF2-40B4-BE49-F238E27FC236}">
                  <a16:creationId xmlns:a16="http://schemas.microsoft.com/office/drawing/2014/main" id="{3EE15313-8E4C-4A72-BF96-90132A80DF5B}"/>
                </a:ext>
              </a:extLst>
            </p:cNvPr>
            <p:cNvSpPr/>
            <p:nvPr/>
          </p:nvSpPr>
          <p:spPr>
            <a:xfrm flipH="1">
              <a:off x="7011559" y="5486236"/>
              <a:ext cx="508823" cy="286214"/>
            </a:xfrm>
            <a:custGeom>
              <a:avLst/>
              <a:gdLst>
                <a:gd name="connsiteX0" fmla="*/ 143693 w 152400"/>
                <a:gd name="connsiteY0" fmla="*/ 7144 h 85725"/>
                <a:gd name="connsiteX1" fmla="*/ 142740 w 152400"/>
                <a:gd name="connsiteY1" fmla="*/ 76676 h 85725"/>
                <a:gd name="connsiteX2" fmla="*/ 84638 w 152400"/>
                <a:gd name="connsiteY2" fmla="*/ 80486 h 85725"/>
                <a:gd name="connsiteX3" fmla="*/ 22726 w 152400"/>
                <a:gd name="connsiteY3" fmla="*/ 84296 h 85725"/>
                <a:gd name="connsiteX4" fmla="*/ 25583 w 152400"/>
                <a:gd name="connsiteY4" fmla="*/ 56674 h 85725"/>
                <a:gd name="connsiteX5" fmla="*/ 116070 w 152400"/>
                <a:gd name="connsiteY5" fmla="*/ 10001 h 85725"/>
                <a:gd name="connsiteX6" fmla="*/ 143693 w 152400"/>
                <a:gd name="connsiteY6" fmla="*/ 7144 h 85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2400" h="85725">
                  <a:moveTo>
                    <a:pt x="143693" y="7144"/>
                  </a:moveTo>
                  <a:cubicBezTo>
                    <a:pt x="143693" y="35719"/>
                    <a:pt x="163695" y="67151"/>
                    <a:pt x="142740" y="76676"/>
                  </a:cubicBezTo>
                  <a:cubicBezTo>
                    <a:pt x="123690" y="85249"/>
                    <a:pt x="119881" y="69056"/>
                    <a:pt x="84638" y="80486"/>
                  </a:cubicBezTo>
                  <a:cubicBezTo>
                    <a:pt x="64636" y="87154"/>
                    <a:pt x="37013" y="87154"/>
                    <a:pt x="22726" y="84296"/>
                  </a:cubicBezTo>
                  <a:cubicBezTo>
                    <a:pt x="12248" y="82391"/>
                    <a:pt x="-7755" y="66199"/>
                    <a:pt x="25583" y="56674"/>
                  </a:cubicBezTo>
                  <a:cubicBezTo>
                    <a:pt x="60826" y="46196"/>
                    <a:pt x="103688" y="10001"/>
                    <a:pt x="116070" y="10001"/>
                  </a:cubicBezTo>
                  <a:cubicBezTo>
                    <a:pt x="127501" y="10954"/>
                    <a:pt x="143693" y="7144"/>
                    <a:pt x="143693" y="7144"/>
                  </a:cubicBezTo>
                  <a:close/>
                </a:path>
              </a:pathLst>
            </a:custGeom>
            <a:solidFill>
              <a:srgbClr val="E4E8E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096" name="任意多边形: 形状 4095">
              <a:extLst>
                <a:ext uri="{FF2B5EF4-FFF2-40B4-BE49-F238E27FC236}">
                  <a16:creationId xmlns:a16="http://schemas.microsoft.com/office/drawing/2014/main" id="{5083F5C7-D4D0-45A8-9136-C5D9D266A7E4}"/>
                </a:ext>
              </a:extLst>
            </p:cNvPr>
            <p:cNvSpPr/>
            <p:nvPr/>
          </p:nvSpPr>
          <p:spPr>
            <a:xfrm flipH="1">
              <a:off x="7010525" y="3107485"/>
              <a:ext cx="540624" cy="2480516"/>
            </a:xfrm>
            <a:custGeom>
              <a:avLst/>
              <a:gdLst>
                <a:gd name="connsiteX0" fmla="*/ 121476 w 161925"/>
                <a:gd name="connsiteY0" fmla="*/ 7144 h 742950"/>
                <a:gd name="connsiteX1" fmla="*/ 133859 w 161925"/>
                <a:gd name="connsiteY1" fmla="*/ 201454 h 742950"/>
                <a:gd name="connsiteX2" fmla="*/ 142431 w 161925"/>
                <a:gd name="connsiteY2" fmla="*/ 391954 h 742950"/>
                <a:gd name="connsiteX3" fmla="*/ 158624 w 161925"/>
                <a:gd name="connsiteY3" fmla="*/ 739616 h 742950"/>
                <a:gd name="connsiteX4" fmla="*/ 72899 w 161925"/>
                <a:gd name="connsiteY4" fmla="*/ 744379 h 742950"/>
                <a:gd name="connsiteX5" fmla="*/ 52897 w 161925"/>
                <a:gd name="connsiteY5" fmla="*/ 469106 h 742950"/>
                <a:gd name="connsiteX6" fmla="*/ 13844 w 161925"/>
                <a:gd name="connsiteY6" fmla="*/ 221456 h 742950"/>
                <a:gd name="connsiteX7" fmla="*/ 10034 w 161925"/>
                <a:gd name="connsiteY7" fmla="*/ 27146 h 742950"/>
                <a:gd name="connsiteX8" fmla="*/ 121476 w 161925"/>
                <a:gd name="connsiteY8" fmla="*/ 7144 h 7429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1925" h="742950">
                  <a:moveTo>
                    <a:pt x="121476" y="7144"/>
                  </a:moveTo>
                  <a:cubicBezTo>
                    <a:pt x="125286" y="28099"/>
                    <a:pt x="142431" y="164306"/>
                    <a:pt x="133859" y="201454"/>
                  </a:cubicBezTo>
                  <a:cubicBezTo>
                    <a:pt x="125286" y="238601"/>
                    <a:pt x="133859" y="330041"/>
                    <a:pt x="142431" y="391954"/>
                  </a:cubicBezTo>
                  <a:cubicBezTo>
                    <a:pt x="151004" y="453866"/>
                    <a:pt x="167197" y="698659"/>
                    <a:pt x="158624" y="739616"/>
                  </a:cubicBezTo>
                  <a:cubicBezTo>
                    <a:pt x="96711" y="739616"/>
                    <a:pt x="72899" y="744379"/>
                    <a:pt x="72899" y="744379"/>
                  </a:cubicBezTo>
                  <a:cubicBezTo>
                    <a:pt x="72899" y="744379"/>
                    <a:pt x="61469" y="508159"/>
                    <a:pt x="52897" y="469106"/>
                  </a:cubicBezTo>
                  <a:cubicBezTo>
                    <a:pt x="39561" y="406241"/>
                    <a:pt x="26226" y="337661"/>
                    <a:pt x="13844" y="221456"/>
                  </a:cubicBezTo>
                  <a:cubicBezTo>
                    <a:pt x="1461" y="105251"/>
                    <a:pt x="10034" y="27146"/>
                    <a:pt x="10034" y="27146"/>
                  </a:cubicBezTo>
                  <a:lnTo>
                    <a:pt x="121476" y="7144"/>
                  </a:ln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097" name="任意多边形: 形状 4096">
              <a:extLst>
                <a:ext uri="{FF2B5EF4-FFF2-40B4-BE49-F238E27FC236}">
                  <a16:creationId xmlns:a16="http://schemas.microsoft.com/office/drawing/2014/main" id="{91CC0285-BF53-4B06-9921-2F9BB0872DE0}"/>
                </a:ext>
              </a:extLst>
            </p:cNvPr>
            <p:cNvSpPr/>
            <p:nvPr/>
          </p:nvSpPr>
          <p:spPr>
            <a:xfrm flipH="1">
              <a:off x="6865313" y="5724749"/>
              <a:ext cx="508823" cy="127205"/>
            </a:xfrm>
            <a:custGeom>
              <a:avLst/>
              <a:gdLst>
                <a:gd name="connsiteX0" fmla="*/ 152278 w 152400"/>
                <a:gd name="connsiteY0" fmla="*/ 7144 h 38100"/>
                <a:gd name="connsiteX1" fmla="*/ 148468 w 152400"/>
                <a:gd name="connsiteY1" fmla="*/ 28099 h 38100"/>
                <a:gd name="connsiteX2" fmla="*/ 114178 w 152400"/>
                <a:gd name="connsiteY2" fmla="*/ 33814 h 38100"/>
                <a:gd name="connsiteX3" fmla="*/ 18928 w 152400"/>
                <a:gd name="connsiteY3" fmla="*/ 36671 h 38100"/>
                <a:gd name="connsiteX4" fmla="*/ 8451 w 152400"/>
                <a:gd name="connsiteY4" fmla="*/ 11906 h 38100"/>
                <a:gd name="connsiteX5" fmla="*/ 152278 w 152400"/>
                <a:gd name="connsiteY5" fmla="*/ 7144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2400" h="38100">
                  <a:moveTo>
                    <a:pt x="152278" y="7144"/>
                  </a:moveTo>
                  <a:cubicBezTo>
                    <a:pt x="151326" y="10954"/>
                    <a:pt x="148468" y="28099"/>
                    <a:pt x="148468" y="28099"/>
                  </a:cubicBezTo>
                  <a:cubicBezTo>
                    <a:pt x="148468" y="28099"/>
                    <a:pt x="144658" y="34766"/>
                    <a:pt x="114178" y="33814"/>
                  </a:cubicBezTo>
                  <a:cubicBezTo>
                    <a:pt x="97033" y="33814"/>
                    <a:pt x="35121" y="42386"/>
                    <a:pt x="18928" y="36671"/>
                  </a:cubicBezTo>
                  <a:cubicBezTo>
                    <a:pt x="4641" y="30956"/>
                    <a:pt x="6546" y="10954"/>
                    <a:pt x="8451" y="11906"/>
                  </a:cubicBezTo>
                  <a:cubicBezTo>
                    <a:pt x="10356" y="12859"/>
                    <a:pt x="152278" y="7144"/>
                    <a:pt x="152278" y="7144"/>
                  </a:cubicBezTo>
                  <a:close/>
                </a:path>
              </a:pathLst>
            </a:custGeom>
            <a:solidFill>
              <a:srgbClr val="E4E8E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098" name="任意多边形: 形状 4097">
              <a:extLst>
                <a:ext uri="{FF2B5EF4-FFF2-40B4-BE49-F238E27FC236}">
                  <a16:creationId xmlns:a16="http://schemas.microsoft.com/office/drawing/2014/main" id="{68575C1A-9C1F-4F7C-8FFE-3C09D62D463F}"/>
                </a:ext>
              </a:extLst>
            </p:cNvPr>
            <p:cNvSpPr/>
            <p:nvPr/>
          </p:nvSpPr>
          <p:spPr>
            <a:xfrm flipH="1">
              <a:off x="6865924" y="5537117"/>
              <a:ext cx="508823" cy="286214"/>
            </a:xfrm>
            <a:custGeom>
              <a:avLst/>
              <a:gdLst>
                <a:gd name="connsiteX0" fmla="*/ 143889 w 152400"/>
                <a:gd name="connsiteY0" fmla="*/ 7144 h 85725"/>
                <a:gd name="connsiteX1" fmla="*/ 142936 w 152400"/>
                <a:gd name="connsiteY1" fmla="*/ 76676 h 85725"/>
                <a:gd name="connsiteX2" fmla="*/ 84834 w 152400"/>
                <a:gd name="connsiteY2" fmla="*/ 80486 h 85725"/>
                <a:gd name="connsiteX3" fmla="*/ 22921 w 152400"/>
                <a:gd name="connsiteY3" fmla="*/ 84296 h 85725"/>
                <a:gd name="connsiteX4" fmla="*/ 24826 w 152400"/>
                <a:gd name="connsiteY4" fmla="*/ 56674 h 85725"/>
                <a:gd name="connsiteX5" fmla="*/ 115314 w 152400"/>
                <a:gd name="connsiteY5" fmla="*/ 10001 h 85725"/>
                <a:gd name="connsiteX6" fmla="*/ 143889 w 152400"/>
                <a:gd name="connsiteY6" fmla="*/ 7144 h 85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2400" h="85725">
                  <a:moveTo>
                    <a:pt x="143889" y="7144"/>
                  </a:moveTo>
                  <a:cubicBezTo>
                    <a:pt x="143889" y="35719"/>
                    <a:pt x="163891" y="67151"/>
                    <a:pt x="142936" y="76676"/>
                  </a:cubicBezTo>
                  <a:cubicBezTo>
                    <a:pt x="123886" y="85249"/>
                    <a:pt x="120076" y="69056"/>
                    <a:pt x="84834" y="80486"/>
                  </a:cubicBezTo>
                  <a:cubicBezTo>
                    <a:pt x="64831" y="87154"/>
                    <a:pt x="37209" y="87154"/>
                    <a:pt x="22921" y="84296"/>
                  </a:cubicBezTo>
                  <a:cubicBezTo>
                    <a:pt x="12444" y="82391"/>
                    <a:pt x="-7559" y="66199"/>
                    <a:pt x="24826" y="56674"/>
                  </a:cubicBezTo>
                  <a:cubicBezTo>
                    <a:pt x="60069" y="46196"/>
                    <a:pt x="102931" y="10001"/>
                    <a:pt x="115314" y="10001"/>
                  </a:cubicBezTo>
                  <a:cubicBezTo>
                    <a:pt x="128649" y="10001"/>
                    <a:pt x="143889" y="7144"/>
                    <a:pt x="143889" y="7144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099" name="任意多边形: 形状 4098">
              <a:extLst>
                <a:ext uri="{FF2B5EF4-FFF2-40B4-BE49-F238E27FC236}">
                  <a16:creationId xmlns:a16="http://schemas.microsoft.com/office/drawing/2014/main" id="{ABEDEE82-781D-4F92-B7D9-4934D4474C3F}"/>
                </a:ext>
              </a:extLst>
            </p:cNvPr>
            <p:cNvSpPr/>
            <p:nvPr/>
          </p:nvSpPr>
          <p:spPr>
            <a:xfrm flipH="1">
              <a:off x="6822844" y="3279211"/>
              <a:ext cx="667831" cy="2385111"/>
            </a:xfrm>
            <a:custGeom>
              <a:avLst/>
              <a:gdLst>
                <a:gd name="connsiteX0" fmla="*/ 149083 w 200025"/>
                <a:gd name="connsiteY0" fmla="*/ 9049 h 714375"/>
                <a:gd name="connsiteX1" fmla="*/ 160513 w 200025"/>
                <a:gd name="connsiteY1" fmla="*/ 162401 h 714375"/>
                <a:gd name="connsiteX2" fmla="*/ 174801 w 200025"/>
                <a:gd name="connsiteY2" fmla="*/ 420529 h 714375"/>
                <a:gd name="connsiteX3" fmla="*/ 193851 w 200025"/>
                <a:gd name="connsiteY3" fmla="*/ 711994 h 714375"/>
                <a:gd name="connsiteX4" fmla="*/ 90028 w 200025"/>
                <a:gd name="connsiteY4" fmla="*/ 714851 h 714375"/>
                <a:gd name="connsiteX5" fmla="*/ 62406 w 200025"/>
                <a:gd name="connsiteY5" fmla="*/ 402431 h 714375"/>
                <a:gd name="connsiteX6" fmla="*/ 18591 w 200025"/>
                <a:gd name="connsiteY6" fmla="*/ 175736 h 714375"/>
                <a:gd name="connsiteX7" fmla="*/ 7161 w 200025"/>
                <a:gd name="connsiteY7" fmla="*/ 7144 h 714375"/>
                <a:gd name="connsiteX8" fmla="*/ 149083 w 200025"/>
                <a:gd name="connsiteY8" fmla="*/ 9049 h 7143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0025" h="714375">
                  <a:moveTo>
                    <a:pt x="149083" y="9049"/>
                  </a:moveTo>
                  <a:cubicBezTo>
                    <a:pt x="152893" y="30004"/>
                    <a:pt x="168133" y="125254"/>
                    <a:pt x="160513" y="162401"/>
                  </a:cubicBezTo>
                  <a:cubicBezTo>
                    <a:pt x="151941" y="199549"/>
                    <a:pt x="156703" y="360521"/>
                    <a:pt x="174801" y="420529"/>
                  </a:cubicBezTo>
                  <a:cubicBezTo>
                    <a:pt x="189088" y="469106"/>
                    <a:pt x="202423" y="670084"/>
                    <a:pt x="193851" y="711994"/>
                  </a:cubicBezTo>
                  <a:cubicBezTo>
                    <a:pt x="131938" y="711994"/>
                    <a:pt x="90028" y="714851"/>
                    <a:pt x="90028" y="714851"/>
                  </a:cubicBezTo>
                  <a:cubicBezTo>
                    <a:pt x="90028" y="714851"/>
                    <a:pt x="89076" y="460534"/>
                    <a:pt x="62406" y="402431"/>
                  </a:cubicBezTo>
                  <a:cubicBezTo>
                    <a:pt x="35736" y="344329"/>
                    <a:pt x="30973" y="291941"/>
                    <a:pt x="18591" y="175736"/>
                  </a:cubicBezTo>
                  <a:cubicBezTo>
                    <a:pt x="6208" y="59531"/>
                    <a:pt x="7161" y="7144"/>
                    <a:pt x="7161" y="7144"/>
                  </a:cubicBezTo>
                  <a:lnTo>
                    <a:pt x="149083" y="9049"/>
                  </a:lnTo>
                  <a:close/>
                </a:path>
              </a:pathLst>
            </a:custGeom>
            <a:solidFill>
              <a:schemeClr val="accent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100" name="任意多边形: 形状 4099">
              <a:extLst>
                <a:ext uri="{FF2B5EF4-FFF2-40B4-BE49-F238E27FC236}">
                  <a16:creationId xmlns:a16="http://schemas.microsoft.com/office/drawing/2014/main" id="{828B9391-63E5-4D9E-A9AE-5BC4FB112BAE}"/>
                </a:ext>
              </a:extLst>
            </p:cNvPr>
            <p:cNvSpPr/>
            <p:nvPr/>
          </p:nvSpPr>
          <p:spPr>
            <a:xfrm flipH="1">
              <a:off x="6737289" y="1771821"/>
              <a:ext cx="985847" cy="2544119"/>
            </a:xfrm>
            <a:custGeom>
              <a:avLst/>
              <a:gdLst>
                <a:gd name="connsiteX0" fmla="*/ 196800 w 295275"/>
                <a:gd name="connsiteY0" fmla="*/ 7144 h 762000"/>
                <a:gd name="connsiteX1" fmla="*/ 105360 w 295275"/>
                <a:gd name="connsiteY1" fmla="*/ 49054 h 762000"/>
                <a:gd name="connsiteX2" fmla="*/ 23445 w 295275"/>
                <a:gd name="connsiteY2" fmla="*/ 193834 h 762000"/>
                <a:gd name="connsiteX3" fmla="*/ 19635 w 295275"/>
                <a:gd name="connsiteY3" fmla="*/ 324326 h 762000"/>
                <a:gd name="connsiteX4" fmla="*/ 16778 w 295275"/>
                <a:gd name="connsiteY4" fmla="*/ 752951 h 762000"/>
                <a:gd name="connsiteX5" fmla="*/ 295860 w 295275"/>
                <a:gd name="connsiteY5" fmla="*/ 738664 h 762000"/>
                <a:gd name="connsiteX6" fmla="*/ 276810 w 295275"/>
                <a:gd name="connsiteY6" fmla="*/ 393859 h 762000"/>
                <a:gd name="connsiteX7" fmla="*/ 262523 w 295275"/>
                <a:gd name="connsiteY7" fmla="*/ 124301 h 762000"/>
                <a:gd name="connsiteX8" fmla="*/ 196800 w 295275"/>
                <a:gd name="connsiteY8" fmla="*/ 7144 h 762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95275" h="762000">
                  <a:moveTo>
                    <a:pt x="196800" y="7144"/>
                  </a:moveTo>
                  <a:cubicBezTo>
                    <a:pt x="171083" y="21431"/>
                    <a:pt x="114885" y="39529"/>
                    <a:pt x="105360" y="49054"/>
                  </a:cubicBezTo>
                  <a:cubicBezTo>
                    <a:pt x="95835" y="58579"/>
                    <a:pt x="39638" y="133826"/>
                    <a:pt x="23445" y="193834"/>
                  </a:cubicBezTo>
                  <a:cubicBezTo>
                    <a:pt x="23445" y="193834"/>
                    <a:pt x="22493" y="228124"/>
                    <a:pt x="19635" y="324326"/>
                  </a:cubicBezTo>
                  <a:cubicBezTo>
                    <a:pt x="16778" y="420529"/>
                    <a:pt x="-5130" y="734854"/>
                    <a:pt x="16778" y="752951"/>
                  </a:cubicBezTo>
                  <a:cubicBezTo>
                    <a:pt x="31065" y="764381"/>
                    <a:pt x="295860" y="738664"/>
                    <a:pt x="295860" y="738664"/>
                  </a:cubicBezTo>
                  <a:cubicBezTo>
                    <a:pt x="295860" y="738664"/>
                    <a:pt x="286335" y="452914"/>
                    <a:pt x="276810" y="393859"/>
                  </a:cubicBezTo>
                  <a:cubicBezTo>
                    <a:pt x="267285" y="335756"/>
                    <a:pt x="267285" y="204311"/>
                    <a:pt x="262523" y="124301"/>
                  </a:cubicBezTo>
                  <a:cubicBezTo>
                    <a:pt x="257760" y="47149"/>
                    <a:pt x="196800" y="7144"/>
                    <a:pt x="196800" y="7144"/>
                  </a:cubicBez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105" name="任意多边形: 形状 4104">
              <a:extLst>
                <a:ext uri="{FF2B5EF4-FFF2-40B4-BE49-F238E27FC236}">
                  <a16:creationId xmlns:a16="http://schemas.microsoft.com/office/drawing/2014/main" id="{081E9884-733B-4CCD-BC29-901835442A9F}"/>
                </a:ext>
              </a:extLst>
            </p:cNvPr>
            <p:cNvSpPr/>
            <p:nvPr/>
          </p:nvSpPr>
          <p:spPr>
            <a:xfrm flipH="1">
              <a:off x="7067219" y="1832246"/>
              <a:ext cx="667831" cy="2480516"/>
            </a:xfrm>
            <a:custGeom>
              <a:avLst/>
              <a:gdLst>
                <a:gd name="connsiteX0" fmla="*/ 26062 w 200025"/>
                <a:gd name="connsiteY0" fmla="*/ 176689 h 742950"/>
                <a:gd name="connsiteX1" fmla="*/ 15584 w 200025"/>
                <a:gd name="connsiteY1" fmla="*/ 310991 h 742950"/>
                <a:gd name="connsiteX2" fmla="*/ 18441 w 200025"/>
                <a:gd name="connsiteY2" fmla="*/ 736759 h 742950"/>
                <a:gd name="connsiteX3" fmla="*/ 200369 w 200025"/>
                <a:gd name="connsiteY3" fmla="*/ 731044 h 742950"/>
                <a:gd name="connsiteX4" fmla="*/ 147982 w 200025"/>
                <a:gd name="connsiteY4" fmla="*/ 341471 h 742950"/>
                <a:gd name="connsiteX5" fmla="*/ 186082 w 200025"/>
                <a:gd name="connsiteY5" fmla="*/ 54769 h 742950"/>
                <a:gd name="connsiteX6" fmla="*/ 158459 w 200025"/>
                <a:gd name="connsiteY6" fmla="*/ 7144 h 742950"/>
                <a:gd name="connsiteX7" fmla="*/ 108929 w 200025"/>
                <a:gd name="connsiteY7" fmla="*/ 30956 h 742950"/>
                <a:gd name="connsiteX8" fmla="*/ 26062 w 200025"/>
                <a:gd name="connsiteY8" fmla="*/ 176689 h 7429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0025" h="742950">
                  <a:moveTo>
                    <a:pt x="26062" y="176689"/>
                  </a:moveTo>
                  <a:cubicBezTo>
                    <a:pt x="26062" y="176689"/>
                    <a:pt x="18441" y="214789"/>
                    <a:pt x="15584" y="310991"/>
                  </a:cubicBezTo>
                  <a:cubicBezTo>
                    <a:pt x="12727" y="407194"/>
                    <a:pt x="-3466" y="718661"/>
                    <a:pt x="18441" y="736759"/>
                  </a:cubicBezTo>
                  <a:cubicBezTo>
                    <a:pt x="27014" y="743426"/>
                    <a:pt x="123216" y="737711"/>
                    <a:pt x="200369" y="731044"/>
                  </a:cubicBezTo>
                  <a:cubicBezTo>
                    <a:pt x="187987" y="656749"/>
                    <a:pt x="144172" y="405289"/>
                    <a:pt x="147982" y="341471"/>
                  </a:cubicBezTo>
                  <a:cubicBezTo>
                    <a:pt x="151792" y="268129"/>
                    <a:pt x="183224" y="86201"/>
                    <a:pt x="186082" y="54769"/>
                  </a:cubicBezTo>
                  <a:cubicBezTo>
                    <a:pt x="187987" y="33814"/>
                    <a:pt x="171794" y="19526"/>
                    <a:pt x="158459" y="7144"/>
                  </a:cubicBezTo>
                  <a:cubicBezTo>
                    <a:pt x="136552" y="16669"/>
                    <a:pt x="113691" y="25241"/>
                    <a:pt x="108929" y="30956"/>
                  </a:cubicBezTo>
                  <a:cubicBezTo>
                    <a:pt x="98452" y="40481"/>
                    <a:pt x="42254" y="115729"/>
                    <a:pt x="26062" y="176689"/>
                  </a:cubicBezTo>
                  <a:close/>
                </a:path>
              </a:pathLst>
            </a:custGeom>
            <a:solidFill>
              <a:schemeClr val="accent1">
                <a:lumMod val="5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106" name="任意多边形: 形状 4105">
              <a:extLst>
                <a:ext uri="{FF2B5EF4-FFF2-40B4-BE49-F238E27FC236}">
                  <a16:creationId xmlns:a16="http://schemas.microsoft.com/office/drawing/2014/main" id="{8483D90C-63F4-41E5-ADF0-EA1F3151291C}"/>
                </a:ext>
              </a:extLst>
            </p:cNvPr>
            <p:cNvSpPr/>
            <p:nvPr/>
          </p:nvSpPr>
          <p:spPr>
            <a:xfrm flipH="1">
              <a:off x="10033930" y="5216279"/>
              <a:ext cx="667831" cy="477021"/>
            </a:xfrm>
            <a:custGeom>
              <a:avLst/>
              <a:gdLst>
                <a:gd name="connsiteX0" fmla="*/ 12616 w 200025"/>
                <a:gd name="connsiteY0" fmla="*/ 11800 h 142875"/>
                <a:gd name="connsiteX1" fmla="*/ 10711 w 200025"/>
                <a:gd name="connsiteY1" fmla="*/ 81333 h 142875"/>
                <a:gd name="connsiteX2" fmla="*/ 27856 w 200025"/>
                <a:gd name="connsiteY2" fmla="*/ 135625 h 142875"/>
                <a:gd name="connsiteX3" fmla="*/ 189781 w 200025"/>
                <a:gd name="connsiteY3" fmla="*/ 142293 h 142875"/>
                <a:gd name="connsiteX4" fmla="*/ 153586 w 200025"/>
                <a:gd name="connsiteY4" fmla="*/ 101335 h 142875"/>
                <a:gd name="connsiteX5" fmla="*/ 84054 w 200025"/>
                <a:gd name="connsiteY5" fmla="*/ 11800 h 142875"/>
                <a:gd name="connsiteX6" fmla="*/ 12616 w 200025"/>
                <a:gd name="connsiteY6" fmla="*/ 11800 h 14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0025" h="142875">
                  <a:moveTo>
                    <a:pt x="12616" y="11800"/>
                  </a:moveTo>
                  <a:cubicBezTo>
                    <a:pt x="19284" y="31803"/>
                    <a:pt x="13569" y="53710"/>
                    <a:pt x="10711" y="81333"/>
                  </a:cubicBezTo>
                  <a:cubicBezTo>
                    <a:pt x="6901" y="108955"/>
                    <a:pt x="234" y="128958"/>
                    <a:pt x="27856" y="135625"/>
                  </a:cubicBezTo>
                  <a:cubicBezTo>
                    <a:pt x="54526" y="142293"/>
                    <a:pt x="189781" y="142293"/>
                    <a:pt x="189781" y="142293"/>
                  </a:cubicBezTo>
                  <a:cubicBezTo>
                    <a:pt x="189781" y="142293"/>
                    <a:pt x="214546" y="110860"/>
                    <a:pt x="153586" y="101335"/>
                  </a:cubicBezTo>
                  <a:cubicBezTo>
                    <a:pt x="105961" y="94668"/>
                    <a:pt x="82149" y="51805"/>
                    <a:pt x="84054" y="11800"/>
                  </a:cubicBezTo>
                  <a:cubicBezTo>
                    <a:pt x="85006" y="1323"/>
                    <a:pt x="12616" y="11800"/>
                    <a:pt x="12616" y="11800"/>
                  </a:cubicBezTo>
                  <a:close/>
                </a:path>
              </a:pathLst>
            </a:custGeom>
            <a:solidFill>
              <a:schemeClr val="tx2">
                <a:lumMod val="5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107" name="任意多边形: 形状 4106">
              <a:extLst>
                <a:ext uri="{FF2B5EF4-FFF2-40B4-BE49-F238E27FC236}">
                  <a16:creationId xmlns:a16="http://schemas.microsoft.com/office/drawing/2014/main" id="{888ABDF0-113A-4E94-8E50-DDD4FEA8E8C0}"/>
                </a:ext>
              </a:extLst>
            </p:cNvPr>
            <p:cNvSpPr/>
            <p:nvPr/>
          </p:nvSpPr>
          <p:spPr>
            <a:xfrm flipH="1">
              <a:off x="10139684" y="3428682"/>
              <a:ext cx="636030" cy="2035296"/>
            </a:xfrm>
            <a:custGeom>
              <a:avLst/>
              <a:gdLst>
                <a:gd name="connsiteX0" fmla="*/ 190024 w 190500"/>
                <a:gd name="connsiteY0" fmla="*/ 10954 h 609600"/>
                <a:gd name="connsiteX1" fmla="*/ 164306 w 190500"/>
                <a:gd name="connsiteY1" fmla="*/ 301466 h 609600"/>
                <a:gd name="connsiteX2" fmla="*/ 124301 w 190500"/>
                <a:gd name="connsiteY2" fmla="*/ 598646 h 609600"/>
                <a:gd name="connsiteX3" fmla="*/ 29051 w 190500"/>
                <a:gd name="connsiteY3" fmla="*/ 602456 h 609600"/>
                <a:gd name="connsiteX4" fmla="*/ 32861 w 190500"/>
                <a:gd name="connsiteY4" fmla="*/ 299561 h 609600"/>
                <a:gd name="connsiteX5" fmla="*/ 7144 w 190500"/>
                <a:gd name="connsiteY5" fmla="*/ 7144 h 609600"/>
                <a:gd name="connsiteX6" fmla="*/ 190024 w 190500"/>
                <a:gd name="connsiteY6" fmla="*/ 10954 h 609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90500" h="609600">
                  <a:moveTo>
                    <a:pt x="190024" y="10954"/>
                  </a:moveTo>
                  <a:cubicBezTo>
                    <a:pt x="186214" y="103346"/>
                    <a:pt x="170974" y="290036"/>
                    <a:pt x="164306" y="301466"/>
                  </a:cubicBezTo>
                  <a:cubicBezTo>
                    <a:pt x="134779" y="358616"/>
                    <a:pt x="124301" y="598646"/>
                    <a:pt x="124301" y="598646"/>
                  </a:cubicBezTo>
                  <a:lnTo>
                    <a:pt x="29051" y="602456"/>
                  </a:lnTo>
                  <a:cubicBezTo>
                    <a:pt x="29051" y="602456"/>
                    <a:pt x="3334" y="388144"/>
                    <a:pt x="32861" y="299561"/>
                  </a:cubicBezTo>
                  <a:cubicBezTo>
                    <a:pt x="41434" y="272891"/>
                    <a:pt x="7144" y="7144"/>
                    <a:pt x="7144" y="7144"/>
                  </a:cubicBezTo>
                  <a:lnTo>
                    <a:pt x="190024" y="10954"/>
                  </a:lnTo>
                  <a:close/>
                </a:path>
              </a:pathLst>
            </a:custGeom>
            <a:solidFill>
              <a:schemeClr val="tx2">
                <a:lumMod val="5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108" name="任意多边形: 形状 4107">
              <a:extLst>
                <a:ext uri="{FF2B5EF4-FFF2-40B4-BE49-F238E27FC236}">
                  <a16:creationId xmlns:a16="http://schemas.microsoft.com/office/drawing/2014/main" id="{0D515E23-DA3F-4394-85EB-B5D02CF7C8AF}"/>
                </a:ext>
              </a:extLst>
            </p:cNvPr>
            <p:cNvSpPr/>
            <p:nvPr/>
          </p:nvSpPr>
          <p:spPr>
            <a:xfrm flipH="1">
              <a:off x="10138872" y="5300375"/>
              <a:ext cx="667831" cy="477021"/>
            </a:xfrm>
            <a:custGeom>
              <a:avLst/>
              <a:gdLst>
                <a:gd name="connsiteX0" fmla="*/ 12616 w 200025"/>
                <a:gd name="connsiteY0" fmla="*/ 11377 h 142875"/>
                <a:gd name="connsiteX1" fmla="*/ 10711 w 200025"/>
                <a:gd name="connsiteY1" fmla="*/ 80910 h 142875"/>
                <a:gd name="connsiteX2" fmla="*/ 27856 w 200025"/>
                <a:gd name="connsiteY2" fmla="*/ 135202 h 142875"/>
                <a:gd name="connsiteX3" fmla="*/ 189781 w 200025"/>
                <a:gd name="connsiteY3" fmla="*/ 141870 h 142875"/>
                <a:gd name="connsiteX4" fmla="*/ 153586 w 200025"/>
                <a:gd name="connsiteY4" fmla="*/ 100912 h 142875"/>
                <a:gd name="connsiteX5" fmla="*/ 84054 w 200025"/>
                <a:gd name="connsiteY5" fmla="*/ 11377 h 142875"/>
                <a:gd name="connsiteX6" fmla="*/ 12616 w 200025"/>
                <a:gd name="connsiteY6" fmla="*/ 11377 h 14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0025" h="142875">
                  <a:moveTo>
                    <a:pt x="12616" y="11377"/>
                  </a:moveTo>
                  <a:cubicBezTo>
                    <a:pt x="19284" y="31380"/>
                    <a:pt x="13569" y="53287"/>
                    <a:pt x="10711" y="80910"/>
                  </a:cubicBezTo>
                  <a:cubicBezTo>
                    <a:pt x="6901" y="108532"/>
                    <a:pt x="234" y="128535"/>
                    <a:pt x="27856" y="135202"/>
                  </a:cubicBezTo>
                  <a:cubicBezTo>
                    <a:pt x="55479" y="141870"/>
                    <a:pt x="189781" y="141870"/>
                    <a:pt x="189781" y="141870"/>
                  </a:cubicBezTo>
                  <a:cubicBezTo>
                    <a:pt x="189781" y="141870"/>
                    <a:pt x="214546" y="110437"/>
                    <a:pt x="153586" y="100912"/>
                  </a:cubicBezTo>
                  <a:cubicBezTo>
                    <a:pt x="105961" y="94245"/>
                    <a:pt x="82149" y="51382"/>
                    <a:pt x="84054" y="11377"/>
                  </a:cubicBezTo>
                  <a:cubicBezTo>
                    <a:pt x="85006" y="1852"/>
                    <a:pt x="12616" y="11377"/>
                    <a:pt x="12616" y="11377"/>
                  </a:cubicBez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109" name="任意多边形: 形状 4108">
              <a:extLst>
                <a:ext uri="{FF2B5EF4-FFF2-40B4-BE49-F238E27FC236}">
                  <a16:creationId xmlns:a16="http://schemas.microsoft.com/office/drawing/2014/main" id="{4EB23FE5-0F45-4DB9-9C94-2C4ECE08359F}"/>
                </a:ext>
              </a:extLst>
            </p:cNvPr>
            <p:cNvSpPr/>
            <p:nvPr/>
          </p:nvSpPr>
          <p:spPr>
            <a:xfrm flipH="1">
              <a:off x="10244627" y="3492284"/>
              <a:ext cx="636030" cy="2035296"/>
            </a:xfrm>
            <a:custGeom>
              <a:avLst/>
              <a:gdLst>
                <a:gd name="connsiteX0" fmla="*/ 190024 w 190500"/>
                <a:gd name="connsiteY0" fmla="*/ 10954 h 609600"/>
                <a:gd name="connsiteX1" fmla="*/ 164306 w 190500"/>
                <a:gd name="connsiteY1" fmla="*/ 301466 h 609600"/>
                <a:gd name="connsiteX2" fmla="*/ 124301 w 190500"/>
                <a:gd name="connsiteY2" fmla="*/ 598646 h 609600"/>
                <a:gd name="connsiteX3" fmla="*/ 29051 w 190500"/>
                <a:gd name="connsiteY3" fmla="*/ 602456 h 609600"/>
                <a:gd name="connsiteX4" fmla="*/ 32861 w 190500"/>
                <a:gd name="connsiteY4" fmla="*/ 299561 h 609600"/>
                <a:gd name="connsiteX5" fmla="*/ 7144 w 190500"/>
                <a:gd name="connsiteY5" fmla="*/ 7144 h 609600"/>
                <a:gd name="connsiteX6" fmla="*/ 190024 w 190500"/>
                <a:gd name="connsiteY6" fmla="*/ 10954 h 609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90500" h="609600">
                  <a:moveTo>
                    <a:pt x="190024" y="10954"/>
                  </a:moveTo>
                  <a:cubicBezTo>
                    <a:pt x="186214" y="103346"/>
                    <a:pt x="170974" y="290036"/>
                    <a:pt x="164306" y="301466"/>
                  </a:cubicBezTo>
                  <a:cubicBezTo>
                    <a:pt x="134779" y="358616"/>
                    <a:pt x="124301" y="598646"/>
                    <a:pt x="124301" y="598646"/>
                  </a:cubicBezTo>
                  <a:lnTo>
                    <a:pt x="29051" y="602456"/>
                  </a:lnTo>
                  <a:cubicBezTo>
                    <a:pt x="29051" y="602456"/>
                    <a:pt x="3334" y="387191"/>
                    <a:pt x="32861" y="299561"/>
                  </a:cubicBezTo>
                  <a:cubicBezTo>
                    <a:pt x="41434" y="272891"/>
                    <a:pt x="7144" y="7144"/>
                    <a:pt x="7144" y="7144"/>
                  </a:cubicBezTo>
                  <a:lnTo>
                    <a:pt x="190024" y="10954"/>
                  </a:ln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110" name="任意多边形: 形状 4109">
              <a:extLst>
                <a:ext uri="{FF2B5EF4-FFF2-40B4-BE49-F238E27FC236}">
                  <a16:creationId xmlns:a16="http://schemas.microsoft.com/office/drawing/2014/main" id="{53729A5E-122C-4C6D-A786-362A11788CCA}"/>
                </a:ext>
              </a:extLst>
            </p:cNvPr>
            <p:cNvSpPr/>
            <p:nvPr/>
          </p:nvSpPr>
          <p:spPr>
            <a:xfrm flipH="1">
              <a:off x="7074021" y="2000792"/>
              <a:ext cx="699632" cy="1653677"/>
            </a:xfrm>
            <a:custGeom>
              <a:avLst/>
              <a:gdLst>
                <a:gd name="connsiteX0" fmla="*/ 208121 w 209550"/>
                <a:gd name="connsiteY0" fmla="*/ 259556 h 495300"/>
                <a:gd name="connsiteX1" fmla="*/ 7144 w 209550"/>
                <a:gd name="connsiteY1" fmla="*/ 493871 h 495300"/>
                <a:gd name="connsiteX2" fmla="*/ 15716 w 209550"/>
                <a:gd name="connsiteY2" fmla="*/ 306229 h 495300"/>
                <a:gd name="connsiteX3" fmla="*/ 28099 w 209550"/>
                <a:gd name="connsiteY3" fmla="*/ 163354 h 495300"/>
                <a:gd name="connsiteX4" fmla="*/ 165259 w 209550"/>
                <a:gd name="connsiteY4" fmla="*/ 7144 h 495300"/>
                <a:gd name="connsiteX5" fmla="*/ 208121 w 209550"/>
                <a:gd name="connsiteY5" fmla="*/ 259556 h 495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50" h="495300">
                  <a:moveTo>
                    <a:pt x="208121" y="259556"/>
                  </a:moveTo>
                  <a:lnTo>
                    <a:pt x="7144" y="493871"/>
                  </a:lnTo>
                  <a:cubicBezTo>
                    <a:pt x="7144" y="493871"/>
                    <a:pt x="13811" y="329089"/>
                    <a:pt x="15716" y="306229"/>
                  </a:cubicBezTo>
                  <a:cubicBezTo>
                    <a:pt x="17621" y="282416"/>
                    <a:pt x="28099" y="163354"/>
                    <a:pt x="28099" y="163354"/>
                  </a:cubicBezTo>
                  <a:lnTo>
                    <a:pt x="165259" y="7144"/>
                  </a:lnTo>
                  <a:lnTo>
                    <a:pt x="208121" y="259556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111" name="任意多边形: 形状 4110">
              <a:extLst>
                <a:ext uri="{FF2B5EF4-FFF2-40B4-BE49-F238E27FC236}">
                  <a16:creationId xmlns:a16="http://schemas.microsoft.com/office/drawing/2014/main" id="{B69AF40E-67D7-4BF8-9456-5AFFA5E23B22}"/>
                </a:ext>
              </a:extLst>
            </p:cNvPr>
            <p:cNvSpPr/>
            <p:nvPr/>
          </p:nvSpPr>
          <p:spPr>
            <a:xfrm flipH="1">
              <a:off x="9462471" y="2105740"/>
              <a:ext cx="604228" cy="477021"/>
            </a:xfrm>
            <a:custGeom>
              <a:avLst/>
              <a:gdLst>
                <a:gd name="connsiteX0" fmla="*/ 171974 w 180975"/>
                <a:gd name="connsiteY0" fmla="*/ 43339 h 142875"/>
                <a:gd name="connsiteX1" fmla="*/ 140541 w 180975"/>
                <a:gd name="connsiteY1" fmla="*/ 34766 h 142875"/>
                <a:gd name="connsiteX2" fmla="*/ 36719 w 180975"/>
                <a:gd name="connsiteY2" fmla="*/ 7144 h 142875"/>
                <a:gd name="connsiteX3" fmla="*/ 25289 w 180975"/>
                <a:gd name="connsiteY3" fmla="*/ 139541 h 142875"/>
                <a:gd name="connsiteX4" fmla="*/ 177689 w 180975"/>
                <a:gd name="connsiteY4" fmla="*/ 110014 h 142875"/>
                <a:gd name="connsiteX5" fmla="*/ 173879 w 180975"/>
                <a:gd name="connsiteY5" fmla="*/ 77629 h 142875"/>
                <a:gd name="connsiteX6" fmla="*/ 171974 w 180975"/>
                <a:gd name="connsiteY6" fmla="*/ 43339 h 14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80975" h="142875">
                  <a:moveTo>
                    <a:pt x="171974" y="43339"/>
                  </a:moveTo>
                  <a:cubicBezTo>
                    <a:pt x="167211" y="34766"/>
                    <a:pt x="167211" y="34766"/>
                    <a:pt x="140541" y="34766"/>
                  </a:cubicBezTo>
                  <a:cubicBezTo>
                    <a:pt x="113871" y="34766"/>
                    <a:pt x="36719" y="7144"/>
                    <a:pt x="36719" y="7144"/>
                  </a:cubicBezTo>
                  <a:cubicBezTo>
                    <a:pt x="36719" y="7144"/>
                    <a:pt x="-21384" y="132874"/>
                    <a:pt x="25289" y="139541"/>
                  </a:cubicBezTo>
                  <a:cubicBezTo>
                    <a:pt x="71961" y="146209"/>
                    <a:pt x="174831" y="120491"/>
                    <a:pt x="177689" y="110014"/>
                  </a:cubicBezTo>
                  <a:cubicBezTo>
                    <a:pt x="180546" y="99536"/>
                    <a:pt x="171974" y="87154"/>
                    <a:pt x="173879" y="77629"/>
                  </a:cubicBezTo>
                  <a:cubicBezTo>
                    <a:pt x="174831" y="69056"/>
                    <a:pt x="171974" y="43339"/>
                    <a:pt x="171974" y="43339"/>
                  </a:cubicBezTo>
                  <a:close/>
                </a:path>
              </a:pathLst>
            </a:custGeom>
            <a:solidFill>
              <a:schemeClr val="accent1">
                <a:lumMod val="5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112" name="任意多边形: 形状 4111">
              <a:extLst>
                <a:ext uri="{FF2B5EF4-FFF2-40B4-BE49-F238E27FC236}">
                  <a16:creationId xmlns:a16="http://schemas.microsoft.com/office/drawing/2014/main" id="{5282EA02-4C65-42B5-8F2C-4A2A996760BA}"/>
                </a:ext>
              </a:extLst>
            </p:cNvPr>
            <p:cNvSpPr/>
            <p:nvPr/>
          </p:nvSpPr>
          <p:spPr>
            <a:xfrm flipH="1">
              <a:off x="9786685" y="1593733"/>
              <a:ext cx="1176655" cy="2639523"/>
            </a:xfrm>
            <a:custGeom>
              <a:avLst/>
              <a:gdLst>
                <a:gd name="connsiteX0" fmla="*/ 247174 w 352425"/>
                <a:gd name="connsiteY0" fmla="*/ 7144 h 790575"/>
                <a:gd name="connsiteX1" fmla="*/ 120491 w 352425"/>
                <a:gd name="connsiteY1" fmla="*/ 143351 h 790575"/>
                <a:gd name="connsiteX2" fmla="*/ 24289 w 352425"/>
                <a:gd name="connsiteY2" fmla="*/ 510064 h 790575"/>
                <a:gd name="connsiteX3" fmla="*/ 7144 w 352425"/>
                <a:gd name="connsiteY3" fmla="*/ 792004 h 790575"/>
                <a:gd name="connsiteX4" fmla="*/ 267176 w 352425"/>
                <a:gd name="connsiteY4" fmla="*/ 788194 h 790575"/>
                <a:gd name="connsiteX5" fmla="*/ 350996 w 352425"/>
                <a:gd name="connsiteY5" fmla="*/ 83344 h 790575"/>
                <a:gd name="connsiteX6" fmla="*/ 279559 w 352425"/>
                <a:gd name="connsiteY6" fmla="*/ 33814 h 790575"/>
                <a:gd name="connsiteX7" fmla="*/ 247174 w 352425"/>
                <a:gd name="connsiteY7" fmla="*/ 7144 h 790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52425" h="790575">
                  <a:moveTo>
                    <a:pt x="247174" y="7144"/>
                  </a:moveTo>
                  <a:cubicBezTo>
                    <a:pt x="205264" y="31909"/>
                    <a:pt x="167164" y="49054"/>
                    <a:pt x="120491" y="143351"/>
                  </a:cubicBezTo>
                  <a:cubicBezTo>
                    <a:pt x="77629" y="230029"/>
                    <a:pt x="30004" y="390049"/>
                    <a:pt x="24289" y="510064"/>
                  </a:cubicBezTo>
                  <a:cubicBezTo>
                    <a:pt x="19526" y="615791"/>
                    <a:pt x="7144" y="792004"/>
                    <a:pt x="7144" y="792004"/>
                  </a:cubicBezTo>
                  <a:lnTo>
                    <a:pt x="267176" y="788194"/>
                  </a:lnTo>
                  <a:cubicBezTo>
                    <a:pt x="267176" y="788194"/>
                    <a:pt x="367189" y="104299"/>
                    <a:pt x="350996" y="83344"/>
                  </a:cubicBezTo>
                  <a:cubicBezTo>
                    <a:pt x="345281" y="75724"/>
                    <a:pt x="286226" y="38576"/>
                    <a:pt x="279559" y="33814"/>
                  </a:cubicBezTo>
                  <a:cubicBezTo>
                    <a:pt x="250984" y="11906"/>
                    <a:pt x="247174" y="7144"/>
                    <a:pt x="247174" y="7144"/>
                  </a:cubicBez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113" name="任意多边形: 形状 4112">
              <a:extLst>
                <a:ext uri="{FF2B5EF4-FFF2-40B4-BE49-F238E27FC236}">
                  <a16:creationId xmlns:a16="http://schemas.microsoft.com/office/drawing/2014/main" id="{22DEB7A2-4F3B-4C30-8A0D-8B6D04DAE4B1}"/>
                </a:ext>
              </a:extLst>
            </p:cNvPr>
            <p:cNvSpPr/>
            <p:nvPr/>
          </p:nvSpPr>
          <p:spPr>
            <a:xfrm flipH="1">
              <a:off x="7960629" y="5158682"/>
              <a:ext cx="1590074" cy="254413"/>
            </a:xfrm>
            <a:custGeom>
              <a:avLst/>
              <a:gdLst>
                <a:gd name="connsiteX0" fmla="*/ 470816 w 476250"/>
                <a:gd name="connsiteY0" fmla="*/ 36671 h 76200"/>
                <a:gd name="connsiteX1" fmla="*/ 465101 w 476250"/>
                <a:gd name="connsiteY1" fmla="*/ 71914 h 76200"/>
                <a:gd name="connsiteX2" fmla="*/ 19331 w 476250"/>
                <a:gd name="connsiteY2" fmla="*/ 71914 h 76200"/>
                <a:gd name="connsiteX3" fmla="*/ 14568 w 476250"/>
                <a:gd name="connsiteY3" fmla="*/ 36671 h 76200"/>
                <a:gd name="connsiteX4" fmla="*/ 14568 w 476250"/>
                <a:gd name="connsiteY4" fmla="*/ 36671 h 76200"/>
                <a:gd name="connsiteX5" fmla="*/ 54573 w 476250"/>
                <a:gd name="connsiteY5" fmla="*/ 7144 h 76200"/>
                <a:gd name="connsiteX6" fmla="*/ 430811 w 476250"/>
                <a:gd name="connsiteY6" fmla="*/ 7144 h 76200"/>
                <a:gd name="connsiteX7" fmla="*/ 470816 w 476250"/>
                <a:gd name="connsiteY7" fmla="*/ 36671 h 76200"/>
                <a:gd name="connsiteX8" fmla="*/ 470816 w 476250"/>
                <a:gd name="connsiteY8" fmla="*/ 36671 h 76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76250" h="76200">
                  <a:moveTo>
                    <a:pt x="470816" y="36671"/>
                  </a:moveTo>
                  <a:cubicBezTo>
                    <a:pt x="482246" y="55721"/>
                    <a:pt x="480341" y="71914"/>
                    <a:pt x="465101" y="71914"/>
                  </a:cubicBezTo>
                  <a:lnTo>
                    <a:pt x="19331" y="71914"/>
                  </a:lnTo>
                  <a:cubicBezTo>
                    <a:pt x="5043" y="71914"/>
                    <a:pt x="3138" y="54769"/>
                    <a:pt x="14568" y="36671"/>
                  </a:cubicBezTo>
                  <a:lnTo>
                    <a:pt x="14568" y="36671"/>
                  </a:lnTo>
                  <a:cubicBezTo>
                    <a:pt x="25046" y="19526"/>
                    <a:pt x="42191" y="7144"/>
                    <a:pt x="54573" y="7144"/>
                  </a:cubicBezTo>
                  <a:lnTo>
                    <a:pt x="430811" y="7144"/>
                  </a:lnTo>
                  <a:cubicBezTo>
                    <a:pt x="443193" y="7144"/>
                    <a:pt x="460338" y="19526"/>
                    <a:pt x="470816" y="36671"/>
                  </a:cubicBezTo>
                  <a:lnTo>
                    <a:pt x="470816" y="36671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114" name="任意多边形: 形状 4113">
              <a:extLst>
                <a:ext uri="{FF2B5EF4-FFF2-40B4-BE49-F238E27FC236}">
                  <a16:creationId xmlns:a16="http://schemas.microsoft.com/office/drawing/2014/main" id="{39916A9F-BBDD-4B2A-9B76-368AF2F0EC5F}"/>
                </a:ext>
              </a:extLst>
            </p:cNvPr>
            <p:cNvSpPr/>
            <p:nvPr/>
          </p:nvSpPr>
          <p:spPr>
            <a:xfrm flipH="1">
              <a:off x="9347825" y="5683405"/>
              <a:ext cx="159007" cy="222611"/>
            </a:xfrm>
            <a:custGeom>
              <a:avLst/>
              <a:gdLst>
                <a:gd name="connsiteX0" fmla="*/ 47149 w 47625"/>
                <a:gd name="connsiteY0" fmla="*/ 39529 h 66675"/>
                <a:gd name="connsiteX1" fmla="*/ 27146 w 47625"/>
                <a:gd name="connsiteY1" fmla="*/ 59531 h 66675"/>
                <a:gd name="connsiteX2" fmla="*/ 27146 w 47625"/>
                <a:gd name="connsiteY2" fmla="*/ 59531 h 66675"/>
                <a:gd name="connsiteX3" fmla="*/ 7144 w 47625"/>
                <a:gd name="connsiteY3" fmla="*/ 39529 h 66675"/>
                <a:gd name="connsiteX4" fmla="*/ 7144 w 47625"/>
                <a:gd name="connsiteY4" fmla="*/ 27146 h 66675"/>
                <a:gd name="connsiteX5" fmla="*/ 27146 w 47625"/>
                <a:gd name="connsiteY5" fmla="*/ 7144 h 66675"/>
                <a:gd name="connsiteX6" fmla="*/ 27146 w 47625"/>
                <a:gd name="connsiteY6" fmla="*/ 7144 h 66675"/>
                <a:gd name="connsiteX7" fmla="*/ 47149 w 47625"/>
                <a:gd name="connsiteY7" fmla="*/ 27146 h 66675"/>
                <a:gd name="connsiteX8" fmla="*/ 47149 w 47625"/>
                <a:gd name="connsiteY8" fmla="*/ 39529 h 66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7625" h="66675">
                  <a:moveTo>
                    <a:pt x="47149" y="39529"/>
                  </a:moveTo>
                  <a:cubicBezTo>
                    <a:pt x="47149" y="50959"/>
                    <a:pt x="37624" y="59531"/>
                    <a:pt x="27146" y="59531"/>
                  </a:cubicBezTo>
                  <a:lnTo>
                    <a:pt x="27146" y="59531"/>
                  </a:lnTo>
                  <a:cubicBezTo>
                    <a:pt x="15716" y="59531"/>
                    <a:pt x="7144" y="50006"/>
                    <a:pt x="7144" y="39529"/>
                  </a:cubicBezTo>
                  <a:lnTo>
                    <a:pt x="7144" y="27146"/>
                  </a:lnTo>
                  <a:cubicBezTo>
                    <a:pt x="7144" y="15716"/>
                    <a:pt x="16669" y="7144"/>
                    <a:pt x="27146" y="7144"/>
                  </a:cubicBezTo>
                  <a:lnTo>
                    <a:pt x="27146" y="7144"/>
                  </a:lnTo>
                  <a:cubicBezTo>
                    <a:pt x="38576" y="7144"/>
                    <a:pt x="47149" y="16669"/>
                    <a:pt x="47149" y="27146"/>
                  </a:cubicBezTo>
                  <a:lnTo>
                    <a:pt x="47149" y="39529"/>
                  </a:lnTo>
                  <a:close/>
                </a:path>
              </a:pathLst>
            </a:custGeom>
            <a:solidFill>
              <a:schemeClr val="accent1">
                <a:lumMod val="5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115" name="任意多边形: 形状 4114">
              <a:extLst>
                <a:ext uri="{FF2B5EF4-FFF2-40B4-BE49-F238E27FC236}">
                  <a16:creationId xmlns:a16="http://schemas.microsoft.com/office/drawing/2014/main" id="{3257AADD-6B6C-45D3-A6FF-80AFE66104C0}"/>
                </a:ext>
              </a:extLst>
            </p:cNvPr>
            <p:cNvSpPr/>
            <p:nvPr/>
          </p:nvSpPr>
          <p:spPr>
            <a:xfrm flipH="1">
              <a:off x="7996264" y="5683405"/>
              <a:ext cx="159007" cy="222611"/>
            </a:xfrm>
            <a:custGeom>
              <a:avLst/>
              <a:gdLst>
                <a:gd name="connsiteX0" fmla="*/ 47149 w 47625"/>
                <a:gd name="connsiteY0" fmla="*/ 39529 h 66675"/>
                <a:gd name="connsiteX1" fmla="*/ 27146 w 47625"/>
                <a:gd name="connsiteY1" fmla="*/ 59531 h 66675"/>
                <a:gd name="connsiteX2" fmla="*/ 27146 w 47625"/>
                <a:gd name="connsiteY2" fmla="*/ 59531 h 66675"/>
                <a:gd name="connsiteX3" fmla="*/ 7144 w 47625"/>
                <a:gd name="connsiteY3" fmla="*/ 39529 h 66675"/>
                <a:gd name="connsiteX4" fmla="*/ 7144 w 47625"/>
                <a:gd name="connsiteY4" fmla="*/ 27146 h 66675"/>
                <a:gd name="connsiteX5" fmla="*/ 27146 w 47625"/>
                <a:gd name="connsiteY5" fmla="*/ 7144 h 66675"/>
                <a:gd name="connsiteX6" fmla="*/ 27146 w 47625"/>
                <a:gd name="connsiteY6" fmla="*/ 7144 h 66675"/>
                <a:gd name="connsiteX7" fmla="*/ 47149 w 47625"/>
                <a:gd name="connsiteY7" fmla="*/ 27146 h 66675"/>
                <a:gd name="connsiteX8" fmla="*/ 47149 w 47625"/>
                <a:gd name="connsiteY8" fmla="*/ 39529 h 66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7625" h="66675">
                  <a:moveTo>
                    <a:pt x="47149" y="39529"/>
                  </a:moveTo>
                  <a:cubicBezTo>
                    <a:pt x="47149" y="50959"/>
                    <a:pt x="37624" y="59531"/>
                    <a:pt x="27146" y="59531"/>
                  </a:cubicBezTo>
                  <a:lnTo>
                    <a:pt x="27146" y="59531"/>
                  </a:lnTo>
                  <a:cubicBezTo>
                    <a:pt x="15716" y="59531"/>
                    <a:pt x="7144" y="50006"/>
                    <a:pt x="7144" y="39529"/>
                  </a:cubicBezTo>
                  <a:lnTo>
                    <a:pt x="7144" y="27146"/>
                  </a:lnTo>
                  <a:cubicBezTo>
                    <a:pt x="7144" y="15716"/>
                    <a:pt x="16669" y="7144"/>
                    <a:pt x="27146" y="7144"/>
                  </a:cubicBezTo>
                  <a:lnTo>
                    <a:pt x="27146" y="7144"/>
                  </a:lnTo>
                  <a:cubicBezTo>
                    <a:pt x="38576" y="7144"/>
                    <a:pt x="47149" y="16669"/>
                    <a:pt x="47149" y="27146"/>
                  </a:cubicBezTo>
                  <a:lnTo>
                    <a:pt x="47149" y="39529"/>
                  </a:lnTo>
                  <a:close/>
                </a:path>
              </a:pathLst>
            </a:custGeom>
            <a:solidFill>
              <a:schemeClr val="accent1">
                <a:lumMod val="5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116" name="任意多边形: 形状 4115">
              <a:extLst>
                <a:ext uri="{FF2B5EF4-FFF2-40B4-BE49-F238E27FC236}">
                  <a16:creationId xmlns:a16="http://schemas.microsoft.com/office/drawing/2014/main" id="{3D2F177F-2A37-401B-8C5A-EB2F0D0684FD}"/>
                </a:ext>
              </a:extLst>
            </p:cNvPr>
            <p:cNvSpPr/>
            <p:nvPr/>
          </p:nvSpPr>
          <p:spPr>
            <a:xfrm flipH="1">
              <a:off x="7986722" y="5575281"/>
              <a:ext cx="1526471" cy="127205"/>
            </a:xfrm>
            <a:custGeom>
              <a:avLst/>
              <a:gdLst>
                <a:gd name="connsiteX0" fmla="*/ 454819 w 457200"/>
                <a:gd name="connsiteY0" fmla="*/ 22384 h 38100"/>
                <a:gd name="connsiteX1" fmla="*/ 439579 w 457200"/>
                <a:gd name="connsiteY1" fmla="*/ 37624 h 38100"/>
                <a:gd name="connsiteX2" fmla="*/ 22384 w 457200"/>
                <a:gd name="connsiteY2" fmla="*/ 37624 h 38100"/>
                <a:gd name="connsiteX3" fmla="*/ 7144 w 457200"/>
                <a:gd name="connsiteY3" fmla="*/ 22384 h 38100"/>
                <a:gd name="connsiteX4" fmla="*/ 7144 w 457200"/>
                <a:gd name="connsiteY4" fmla="*/ 22384 h 38100"/>
                <a:gd name="connsiteX5" fmla="*/ 22384 w 457200"/>
                <a:gd name="connsiteY5" fmla="*/ 7144 h 38100"/>
                <a:gd name="connsiteX6" fmla="*/ 439579 w 457200"/>
                <a:gd name="connsiteY6" fmla="*/ 7144 h 38100"/>
                <a:gd name="connsiteX7" fmla="*/ 454819 w 457200"/>
                <a:gd name="connsiteY7" fmla="*/ 22384 h 38100"/>
                <a:gd name="connsiteX8" fmla="*/ 454819 w 457200"/>
                <a:gd name="connsiteY8" fmla="*/ 22384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57200" h="38100">
                  <a:moveTo>
                    <a:pt x="454819" y="22384"/>
                  </a:moveTo>
                  <a:cubicBezTo>
                    <a:pt x="454819" y="30956"/>
                    <a:pt x="448151" y="37624"/>
                    <a:pt x="439579" y="37624"/>
                  </a:cubicBezTo>
                  <a:lnTo>
                    <a:pt x="22384" y="37624"/>
                  </a:lnTo>
                  <a:cubicBezTo>
                    <a:pt x="13811" y="37624"/>
                    <a:pt x="7144" y="30956"/>
                    <a:pt x="7144" y="22384"/>
                  </a:cubicBezTo>
                  <a:lnTo>
                    <a:pt x="7144" y="22384"/>
                  </a:lnTo>
                  <a:cubicBezTo>
                    <a:pt x="7144" y="13811"/>
                    <a:pt x="13811" y="7144"/>
                    <a:pt x="22384" y="7144"/>
                  </a:cubicBezTo>
                  <a:lnTo>
                    <a:pt x="439579" y="7144"/>
                  </a:lnTo>
                  <a:cubicBezTo>
                    <a:pt x="448151" y="7144"/>
                    <a:pt x="454819" y="13811"/>
                    <a:pt x="454819" y="22384"/>
                  </a:cubicBezTo>
                  <a:lnTo>
                    <a:pt x="454819" y="22384"/>
                  </a:lnTo>
                  <a:close/>
                </a:path>
              </a:pathLst>
            </a:custGeom>
            <a:solidFill>
              <a:schemeClr val="accent1">
                <a:lumMod val="5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117" name="任意多边形: 形状 4116">
              <a:extLst>
                <a:ext uri="{FF2B5EF4-FFF2-40B4-BE49-F238E27FC236}">
                  <a16:creationId xmlns:a16="http://schemas.microsoft.com/office/drawing/2014/main" id="{2B8D24A1-062A-43C0-B1EB-528A08B51015}"/>
                </a:ext>
              </a:extLst>
            </p:cNvPr>
            <p:cNvSpPr/>
            <p:nvPr/>
          </p:nvSpPr>
          <p:spPr>
            <a:xfrm flipH="1">
              <a:off x="7916760" y="5247727"/>
              <a:ext cx="1653676" cy="381618"/>
            </a:xfrm>
            <a:custGeom>
              <a:avLst/>
              <a:gdLst>
                <a:gd name="connsiteX0" fmla="*/ 490061 w 495300"/>
                <a:gd name="connsiteY0" fmla="*/ 72866 h 114300"/>
                <a:gd name="connsiteX1" fmla="*/ 447199 w 495300"/>
                <a:gd name="connsiteY1" fmla="*/ 111919 h 114300"/>
                <a:gd name="connsiteX2" fmla="*/ 50006 w 495300"/>
                <a:gd name="connsiteY2" fmla="*/ 111919 h 114300"/>
                <a:gd name="connsiteX3" fmla="*/ 7144 w 495300"/>
                <a:gd name="connsiteY3" fmla="*/ 72866 h 114300"/>
                <a:gd name="connsiteX4" fmla="*/ 7144 w 495300"/>
                <a:gd name="connsiteY4" fmla="*/ 46196 h 114300"/>
                <a:gd name="connsiteX5" fmla="*/ 50006 w 495300"/>
                <a:gd name="connsiteY5" fmla="*/ 7144 h 114300"/>
                <a:gd name="connsiteX6" fmla="*/ 447199 w 495300"/>
                <a:gd name="connsiteY6" fmla="*/ 7144 h 114300"/>
                <a:gd name="connsiteX7" fmla="*/ 490061 w 495300"/>
                <a:gd name="connsiteY7" fmla="*/ 46196 h 114300"/>
                <a:gd name="connsiteX8" fmla="*/ 490061 w 495300"/>
                <a:gd name="connsiteY8" fmla="*/ 72866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95300" h="114300">
                  <a:moveTo>
                    <a:pt x="490061" y="72866"/>
                  </a:moveTo>
                  <a:cubicBezTo>
                    <a:pt x="490061" y="94774"/>
                    <a:pt x="471011" y="111919"/>
                    <a:pt x="447199" y="111919"/>
                  </a:cubicBezTo>
                  <a:lnTo>
                    <a:pt x="50006" y="111919"/>
                  </a:lnTo>
                  <a:cubicBezTo>
                    <a:pt x="26194" y="111919"/>
                    <a:pt x="7144" y="94774"/>
                    <a:pt x="7144" y="72866"/>
                  </a:cubicBezTo>
                  <a:lnTo>
                    <a:pt x="7144" y="46196"/>
                  </a:lnTo>
                  <a:cubicBezTo>
                    <a:pt x="7144" y="24289"/>
                    <a:pt x="26194" y="7144"/>
                    <a:pt x="50006" y="7144"/>
                  </a:cubicBezTo>
                  <a:lnTo>
                    <a:pt x="447199" y="7144"/>
                  </a:lnTo>
                  <a:cubicBezTo>
                    <a:pt x="471011" y="7144"/>
                    <a:pt x="490061" y="24289"/>
                    <a:pt x="490061" y="46196"/>
                  </a:cubicBezTo>
                  <a:lnTo>
                    <a:pt x="490061" y="72866"/>
                  </a:lnTo>
                  <a:close/>
                </a:path>
              </a:pathLst>
            </a:custGeom>
            <a:solidFill>
              <a:schemeClr val="tx2">
                <a:lumMod val="20000"/>
                <a:lumOff val="8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118" name="任意多边形: 形状 4117">
              <a:extLst>
                <a:ext uri="{FF2B5EF4-FFF2-40B4-BE49-F238E27FC236}">
                  <a16:creationId xmlns:a16="http://schemas.microsoft.com/office/drawing/2014/main" id="{9BD3EB26-FB2F-42AB-B344-955178A93B34}"/>
                </a:ext>
              </a:extLst>
            </p:cNvPr>
            <p:cNvSpPr/>
            <p:nvPr/>
          </p:nvSpPr>
          <p:spPr>
            <a:xfrm flipH="1">
              <a:off x="8218874" y="3676732"/>
              <a:ext cx="1049449" cy="1558273"/>
            </a:xfrm>
            <a:custGeom>
              <a:avLst/>
              <a:gdLst>
                <a:gd name="connsiteX0" fmla="*/ 308134 w 314325"/>
                <a:gd name="connsiteY0" fmla="*/ 447199 h 466725"/>
                <a:gd name="connsiteX1" fmla="*/ 280511 w 314325"/>
                <a:gd name="connsiteY1" fmla="*/ 464344 h 466725"/>
                <a:gd name="connsiteX2" fmla="*/ 35719 w 314325"/>
                <a:gd name="connsiteY2" fmla="*/ 464344 h 466725"/>
                <a:gd name="connsiteX3" fmla="*/ 7144 w 314325"/>
                <a:gd name="connsiteY3" fmla="*/ 447199 h 466725"/>
                <a:gd name="connsiteX4" fmla="*/ 7144 w 314325"/>
                <a:gd name="connsiteY4" fmla="*/ 34766 h 466725"/>
                <a:gd name="connsiteX5" fmla="*/ 35719 w 314325"/>
                <a:gd name="connsiteY5" fmla="*/ 7144 h 466725"/>
                <a:gd name="connsiteX6" fmla="*/ 279559 w 314325"/>
                <a:gd name="connsiteY6" fmla="*/ 7144 h 466725"/>
                <a:gd name="connsiteX7" fmla="*/ 307181 w 314325"/>
                <a:gd name="connsiteY7" fmla="*/ 34766 h 466725"/>
                <a:gd name="connsiteX8" fmla="*/ 307181 w 314325"/>
                <a:gd name="connsiteY8" fmla="*/ 447199 h 466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14325" h="466725">
                  <a:moveTo>
                    <a:pt x="308134" y="447199"/>
                  </a:moveTo>
                  <a:cubicBezTo>
                    <a:pt x="308134" y="462439"/>
                    <a:pt x="295751" y="464344"/>
                    <a:pt x="280511" y="464344"/>
                  </a:cubicBezTo>
                  <a:lnTo>
                    <a:pt x="35719" y="464344"/>
                  </a:lnTo>
                  <a:cubicBezTo>
                    <a:pt x="20479" y="464344"/>
                    <a:pt x="7144" y="462439"/>
                    <a:pt x="7144" y="447199"/>
                  </a:cubicBezTo>
                  <a:lnTo>
                    <a:pt x="7144" y="34766"/>
                  </a:lnTo>
                  <a:cubicBezTo>
                    <a:pt x="7144" y="19526"/>
                    <a:pt x="19526" y="7144"/>
                    <a:pt x="35719" y="7144"/>
                  </a:cubicBezTo>
                  <a:lnTo>
                    <a:pt x="279559" y="7144"/>
                  </a:lnTo>
                  <a:cubicBezTo>
                    <a:pt x="294799" y="7144"/>
                    <a:pt x="307181" y="19526"/>
                    <a:pt x="307181" y="34766"/>
                  </a:cubicBezTo>
                  <a:lnTo>
                    <a:pt x="307181" y="447199"/>
                  </a:lnTo>
                  <a:close/>
                </a:path>
              </a:pathLst>
            </a:custGeom>
            <a:solidFill>
              <a:schemeClr val="tx2">
                <a:lumMod val="20000"/>
                <a:lumOff val="8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120" name="任意多边形: 形状 4119">
              <a:extLst>
                <a:ext uri="{FF2B5EF4-FFF2-40B4-BE49-F238E27FC236}">
                  <a16:creationId xmlns:a16="http://schemas.microsoft.com/office/drawing/2014/main" id="{79847511-E9EF-42C3-818C-876D3AF615EE}"/>
                </a:ext>
              </a:extLst>
            </p:cNvPr>
            <p:cNvSpPr/>
            <p:nvPr/>
          </p:nvSpPr>
          <p:spPr>
            <a:xfrm flipH="1">
              <a:off x="7242569" y="2271108"/>
              <a:ext cx="3084745" cy="1971692"/>
            </a:xfrm>
            <a:custGeom>
              <a:avLst/>
              <a:gdLst>
                <a:gd name="connsiteX0" fmla="*/ 872014 w 923925"/>
                <a:gd name="connsiteY0" fmla="*/ 301466 h 590550"/>
                <a:gd name="connsiteX1" fmla="*/ 767239 w 923925"/>
                <a:gd name="connsiteY1" fmla="*/ 158591 h 590550"/>
                <a:gd name="connsiteX2" fmla="*/ 486251 w 923925"/>
                <a:gd name="connsiteY2" fmla="*/ 7144 h 590550"/>
                <a:gd name="connsiteX3" fmla="*/ 190976 w 923925"/>
                <a:gd name="connsiteY3" fmla="*/ 166211 h 590550"/>
                <a:gd name="connsiteX4" fmla="*/ 46196 w 923925"/>
                <a:gd name="connsiteY4" fmla="*/ 300514 h 590550"/>
                <a:gd name="connsiteX5" fmla="*/ 7144 w 923925"/>
                <a:gd name="connsiteY5" fmla="*/ 586264 h 590550"/>
                <a:gd name="connsiteX6" fmla="*/ 921544 w 923925"/>
                <a:gd name="connsiteY6" fmla="*/ 582454 h 590550"/>
                <a:gd name="connsiteX7" fmla="*/ 872014 w 923925"/>
                <a:gd name="connsiteY7" fmla="*/ 301466 h 590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23925" h="590550">
                  <a:moveTo>
                    <a:pt x="872014" y="301466"/>
                  </a:moveTo>
                  <a:lnTo>
                    <a:pt x="767239" y="158591"/>
                  </a:lnTo>
                  <a:cubicBezTo>
                    <a:pt x="676751" y="33814"/>
                    <a:pt x="570071" y="7144"/>
                    <a:pt x="486251" y="7144"/>
                  </a:cubicBezTo>
                  <a:cubicBezTo>
                    <a:pt x="359569" y="7144"/>
                    <a:pt x="224314" y="110966"/>
                    <a:pt x="190976" y="166211"/>
                  </a:cubicBezTo>
                  <a:lnTo>
                    <a:pt x="46196" y="300514"/>
                  </a:lnTo>
                  <a:lnTo>
                    <a:pt x="7144" y="586264"/>
                  </a:lnTo>
                  <a:lnTo>
                    <a:pt x="921544" y="582454"/>
                  </a:lnTo>
                  <a:lnTo>
                    <a:pt x="872014" y="301466"/>
                  </a:lnTo>
                  <a:close/>
                </a:path>
              </a:pathLst>
            </a:custGeom>
            <a:solidFill>
              <a:schemeClr val="accent6">
                <a:lumMod val="40000"/>
                <a:lumOff val="6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121" name="任意多边形: 形状 4120">
              <a:extLst>
                <a:ext uri="{FF2B5EF4-FFF2-40B4-BE49-F238E27FC236}">
                  <a16:creationId xmlns:a16="http://schemas.microsoft.com/office/drawing/2014/main" id="{4651F308-0389-4B89-B6AB-2BD7279137C3}"/>
                </a:ext>
              </a:extLst>
            </p:cNvPr>
            <p:cNvSpPr/>
            <p:nvPr/>
          </p:nvSpPr>
          <p:spPr>
            <a:xfrm flipH="1">
              <a:off x="7229845" y="3250592"/>
              <a:ext cx="3084745" cy="985847"/>
            </a:xfrm>
            <a:custGeom>
              <a:avLst/>
              <a:gdLst>
                <a:gd name="connsiteX0" fmla="*/ 7144 w 923925"/>
                <a:gd name="connsiteY0" fmla="*/ 292894 h 295275"/>
                <a:gd name="connsiteX1" fmla="*/ 921544 w 923925"/>
                <a:gd name="connsiteY1" fmla="*/ 290036 h 295275"/>
                <a:gd name="connsiteX2" fmla="*/ 875824 w 923925"/>
                <a:gd name="connsiteY2" fmla="*/ 16669 h 295275"/>
                <a:gd name="connsiteX3" fmla="*/ 868204 w 923925"/>
                <a:gd name="connsiteY3" fmla="*/ 7144 h 295275"/>
                <a:gd name="connsiteX4" fmla="*/ 46196 w 923925"/>
                <a:gd name="connsiteY4" fmla="*/ 7144 h 295275"/>
                <a:gd name="connsiteX5" fmla="*/ 40481 w 923925"/>
                <a:gd name="connsiteY5" fmla="*/ 13811 h 295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23925" h="295275">
                  <a:moveTo>
                    <a:pt x="7144" y="292894"/>
                  </a:moveTo>
                  <a:lnTo>
                    <a:pt x="921544" y="290036"/>
                  </a:lnTo>
                  <a:lnTo>
                    <a:pt x="875824" y="16669"/>
                  </a:lnTo>
                  <a:lnTo>
                    <a:pt x="868204" y="7144"/>
                  </a:lnTo>
                  <a:lnTo>
                    <a:pt x="46196" y="7144"/>
                  </a:lnTo>
                  <a:lnTo>
                    <a:pt x="40481" y="13811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122" name="任意多边形: 形状 4121">
              <a:extLst>
                <a:ext uri="{FF2B5EF4-FFF2-40B4-BE49-F238E27FC236}">
                  <a16:creationId xmlns:a16="http://schemas.microsoft.com/office/drawing/2014/main" id="{1B8D72F6-6096-4165-B252-70A2A4CB26F6}"/>
                </a:ext>
              </a:extLst>
            </p:cNvPr>
            <p:cNvSpPr/>
            <p:nvPr/>
          </p:nvSpPr>
          <p:spPr>
            <a:xfrm flipH="1">
              <a:off x="10041098" y="1561931"/>
              <a:ext cx="922242" cy="2671325"/>
            </a:xfrm>
            <a:custGeom>
              <a:avLst/>
              <a:gdLst>
                <a:gd name="connsiteX0" fmla="*/ 250031 w 276225"/>
                <a:gd name="connsiteY0" fmla="*/ 7144 h 800100"/>
                <a:gd name="connsiteX1" fmla="*/ 109061 w 276225"/>
                <a:gd name="connsiteY1" fmla="*/ 148114 h 800100"/>
                <a:gd name="connsiteX2" fmla="*/ 16669 w 276225"/>
                <a:gd name="connsiteY2" fmla="*/ 516731 h 800100"/>
                <a:gd name="connsiteX3" fmla="*/ 7144 w 276225"/>
                <a:gd name="connsiteY3" fmla="*/ 800576 h 800100"/>
                <a:gd name="connsiteX4" fmla="*/ 146209 w 276225"/>
                <a:gd name="connsiteY4" fmla="*/ 798671 h 800100"/>
                <a:gd name="connsiteX5" fmla="*/ 222409 w 276225"/>
                <a:gd name="connsiteY5" fmla="*/ 140494 h 800100"/>
                <a:gd name="connsiteX6" fmla="*/ 276701 w 276225"/>
                <a:gd name="connsiteY6" fmla="*/ 41434 h 800100"/>
                <a:gd name="connsiteX7" fmla="*/ 250031 w 276225"/>
                <a:gd name="connsiteY7" fmla="*/ 7144 h 80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76225" h="800100">
                  <a:moveTo>
                    <a:pt x="250031" y="7144"/>
                  </a:moveTo>
                  <a:cubicBezTo>
                    <a:pt x="208121" y="31909"/>
                    <a:pt x="156686" y="54769"/>
                    <a:pt x="109061" y="148114"/>
                  </a:cubicBezTo>
                  <a:cubicBezTo>
                    <a:pt x="66199" y="234791"/>
                    <a:pt x="22384" y="396716"/>
                    <a:pt x="16669" y="516731"/>
                  </a:cubicBezTo>
                  <a:cubicBezTo>
                    <a:pt x="11906" y="622459"/>
                    <a:pt x="7144" y="800576"/>
                    <a:pt x="7144" y="800576"/>
                  </a:cubicBezTo>
                  <a:lnTo>
                    <a:pt x="146209" y="798671"/>
                  </a:lnTo>
                  <a:cubicBezTo>
                    <a:pt x="150971" y="455771"/>
                    <a:pt x="210026" y="176689"/>
                    <a:pt x="222409" y="140494"/>
                  </a:cubicBezTo>
                  <a:cubicBezTo>
                    <a:pt x="235744" y="104299"/>
                    <a:pt x="252889" y="60484"/>
                    <a:pt x="276701" y="41434"/>
                  </a:cubicBezTo>
                  <a:cubicBezTo>
                    <a:pt x="250984" y="21431"/>
                    <a:pt x="250031" y="7144"/>
                    <a:pt x="250031" y="7144"/>
                  </a:cubicBezTo>
                  <a:close/>
                </a:path>
              </a:pathLst>
            </a:custGeom>
            <a:solidFill>
              <a:schemeClr val="accent1">
                <a:lumMod val="5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123" name="任意多边形: 形状 4122">
              <a:extLst>
                <a:ext uri="{FF2B5EF4-FFF2-40B4-BE49-F238E27FC236}">
                  <a16:creationId xmlns:a16="http://schemas.microsoft.com/office/drawing/2014/main" id="{3CB39ECC-ED68-462C-8E31-929DBEE4FC7A}"/>
                </a:ext>
              </a:extLst>
            </p:cNvPr>
            <p:cNvSpPr/>
            <p:nvPr/>
          </p:nvSpPr>
          <p:spPr>
            <a:xfrm flipH="1">
              <a:off x="8317458" y="2627284"/>
              <a:ext cx="858639" cy="95405"/>
            </a:xfrm>
            <a:custGeom>
              <a:avLst/>
              <a:gdLst>
                <a:gd name="connsiteX0" fmla="*/ 7144 w 257175"/>
                <a:gd name="connsiteY0" fmla="*/ 30004 h 28575"/>
                <a:gd name="connsiteX1" fmla="*/ 255746 w 257175"/>
                <a:gd name="connsiteY1" fmla="*/ 30004 h 28575"/>
                <a:gd name="connsiteX2" fmla="*/ 237649 w 257175"/>
                <a:gd name="connsiteY2" fmla="*/ 7144 h 28575"/>
                <a:gd name="connsiteX3" fmla="*/ 21431 w 257175"/>
                <a:gd name="connsiteY3" fmla="*/ 7144 h 28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7175" h="28575">
                  <a:moveTo>
                    <a:pt x="7144" y="30004"/>
                  </a:moveTo>
                  <a:lnTo>
                    <a:pt x="255746" y="30004"/>
                  </a:lnTo>
                  <a:lnTo>
                    <a:pt x="237649" y="7144"/>
                  </a:lnTo>
                  <a:lnTo>
                    <a:pt x="21431" y="7144"/>
                  </a:lnTo>
                  <a:close/>
                </a:path>
              </a:pathLst>
            </a:custGeom>
            <a:solidFill>
              <a:srgbClr val="A8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125" name="任意多边形: 形状 4124">
              <a:extLst>
                <a:ext uri="{FF2B5EF4-FFF2-40B4-BE49-F238E27FC236}">
                  <a16:creationId xmlns:a16="http://schemas.microsoft.com/office/drawing/2014/main" id="{52DF3FD4-0817-4A71-91F1-DAFFB4FF0AFF}"/>
                </a:ext>
              </a:extLst>
            </p:cNvPr>
            <p:cNvSpPr/>
            <p:nvPr/>
          </p:nvSpPr>
          <p:spPr>
            <a:xfrm flipH="1">
              <a:off x="8858081" y="2271108"/>
              <a:ext cx="1335663" cy="1017648"/>
            </a:xfrm>
            <a:custGeom>
              <a:avLst/>
              <a:gdLst>
                <a:gd name="connsiteX0" fmla="*/ 398621 w 400050"/>
                <a:gd name="connsiteY0" fmla="*/ 7144 h 304800"/>
                <a:gd name="connsiteX1" fmla="*/ 322421 w 400050"/>
                <a:gd name="connsiteY1" fmla="*/ 300514 h 304800"/>
                <a:gd name="connsiteX2" fmla="*/ 7144 w 400050"/>
                <a:gd name="connsiteY2" fmla="*/ 302419 h 304800"/>
                <a:gd name="connsiteX3" fmla="*/ 258604 w 400050"/>
                <a:gd name="connsiteY3" fmla="*/ 70961 h 304800"/>
                <a:gd name="connsiteX4" fmla="*/ 398621 w 400050"/>
                <a:gd name="connsiteY4" fmla="*/ 7144 h 304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0050" h="304800">
                  <a:moveTo>
                    <a:pt x="398621" y="7144"/>
                  </a:moveTo>
                  <a:cubicBezTo>
                    <a:pt x="379571" y="14764"/>
                    <a:pt x="208121" y="57626"/>
                    <a:pt x="322421" y="300514"/>
                  </a:cubicBezTo>
                  <a:cubicBezTo>
                    <a:pt x="208121" y="301466"/>
                    <a:pt x="7144" y="302419"/>
                    <a:pt x="7144" y="302419"/>
                  </a:cubicBezTo>
                  <a:cubicBezTo>
                    <a:pt x="7144" y="302419"/>
                    <a:pt x="201454" y="106204"/>
                    <a:pt x="258604" y="70961"/>
                  </a:cubicBezTo>
                  <a:cubicBezTo>
                    <a:pt x="349091" y="13811"/>
                    <a:pt x="398621" y="7144"/>
                    <a:pt x="398621" y="7144"/>
                  </a:cubicBezTo>
                  <a:close/>
                </a:path>
              </a:pathLst>
            </a:custGeom>
            <a:solidFill>
              <a:schemeClr val="accent6">
                <a:lumMod val="40000"/>
                <a:lumOff val="60000"/>
                <a:alpha val="58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126" name="任意多边形: 形状 4125">
              <a:extLst>
                <a:ext uri="{FF2B5EF4-FFF2-40B4-BE49-F238E27FC236}">
                  <a16:creationId xmlns:a16="http://schemas.microsoft.com/office/drawing/2014/main" id="{40AF6335-47A7-40CF-A81B-8FB921ED874E}"/>
                </a:ext>
              </a:extLst>
            </p:cNvPr>
            <p:cNvSpPr/>
            <p:nvPr/>
          </p:nvSpPr>
          <p:spPr>
            <a:xfrm flipH="1">
              <a:off x="7788791" y="2366511"/>
              <a:ext cx="381618" cy="222611"/>
            </a:xfrm>
            <a:custGeom>
              <a:avLst/>
              <a:gdLst>
                <a:gd name="connsiteX0" fmla="*/ 82163 w 114300"/>
                <a:gd name="connsiteY0" fmla="*/ 12859 h 66675"/>
                <a:gd name="connsiteX1" fmla="*/ 41206 w 114300"/>
                <a:gd name="connsiteY1" fmla="*/ 7144 h 66675"/>
                <a:gd name="connsiteX2" fmla="*/ 9774 w 114300"/>
                <a:gd name="connsiteY2" fmla="*/ 10954 h 66675"/>
                <a:gd name="connsiteX3" fmla="*/ 20251 w 114300"/>
                <a:gd name="connsiteY3" fmla="*/ 68104 h 66675"/>
                <a:gd name="connsiteX4" fmla="*/ 60256 w 114300"/>
                <a:gd name="connsiteY4" fmla="*/ 59531 h 66675"/>
                <a:gd name="connsiteX5" fmla="*/ 85974 w 114300"/>
                <a:gd name="connsiteY5" fmla="*/ 55721 h 66675"/>
                <a:gd name="connsiteX6" fmla="*/ 106928 w 114300"/>
                <a:gd name="connsiteY6" fmla="*/ 61436 h 66675"/>
                <a:gd name="connsiteX7" fmla="*/ 108833 w 114300"/>
                <a:gd name="connsiteY7" fmla="*/ 11906 h 66675"/>
                <a:gd name="connsiteX8" fmla="*/ 82163 w 114300"/>
                <a:gd name="connsiteY8" fmla="*/ 12859 h 66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66675">
                  <a:moveTo>
                    <a:pt x="82163" y="12859"/>
                  </a:moveTo>
                  <a:cubicBezTo>
                    <a:pt x="62161" y="16669"/>
                    <a:pt x="51683" y="7144"/>
                    <a:pt x="41206" y="7144"/>
                  </a:cubicBezTo>
                  <a:cubicBezTo>
                    <a:pt x="30728" y="7144"/>
                    <a:pt x="13583" y="9049"/>
                    <a:pt x="9774" y="10954"/>
                  </a:cubicBezTo>
                  <a:cubicBezTo>
                    <a:pt x="5963" y="12859"/>
                    <a:pt x="4058" y="50959"/>
                    <a:pt x="20251" y="68104"/>
                  </a:cubicBezTo>
                  <a:cubicBezTo>
                    <a:pt x="20251" y="68104"/>
                    <a:pt x="48826" y="69056"/>
                    <a:pt x="60256" y="59531"/>
                  </a:cubicBezTo>
                  <a:cubicBezTo>
                    <a:pt x="71686" y="50006"/>
                    <a:pt x="80258" y="55721"/>
                    <a:pt x="85974" y="55721"/>
                  </a:cubicBezTo>
                  <a:cubicBezTo>
                    <a:pt x="91688" y="55721"/>
                    <a:pt x="106928" y="61436"/>
                    <a:pt x="106928" y="61436"/>
                  </a:cubicBezTo>
                  <a:cubicBezTo>
                    <a:pt x="106928" y="61436"/>
                    <a:pt x="117406" y="12859"/>
                    <a:pt x="108833" y="11906"/>
                  </a:cubicBezTo>
                  <a:cubicBezTo>
                    <a:pt x="101213" y="11906"/>
                    <a:pt x="82163" y="12859"/>
                    <a:pt x="82163" y="12859"/>
                  </a:cubicBezTo>
                  <a:close/>
                </a:path>
              </a:pathLst>
            </a:custGeom>
            <a:solidFill>
              <a:schemeClr val="accent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127" name="任意多边形: 形状 4126">
              <a:extLst>
                <a:ext uri="{FF2B5EF4-FFF2-40B4-BE49-F238E27FC236}">
                  <a16:creationId xmlns:a16="http://schemas.microsoft.com/office/drawing/2014/main" id="{0F0E1308-86E3-47BD-BF12-13601DA1C3E9}"/>
                </a:ext>
              </a:extLst>
            </p:cNvPr>
            <p:cNvSpPr/>
            <p:nvPr/>
          </p:nvSpPr>
          <p:spPr>
            <a:xfrm flipH="1">
              <a:off x="8069404" y="2544600"/>
              <a:ext cx="95405" cy="63603"/>
            </a:xfrm>
            <a:custGeom>
              <a:avLst/>
              <a:gdLst>
                <a:gd name="connsiteX0" fmla="*/ 7144 w 28575"/>
                <a:gd name="connsiteY0" fmla="*/ 8096 h 19050"/>
                <a:gd name="connsiteX1" fmla="*/ 18574 w 28575"/>
                <a:gd name="connsiteY1" fmla="*/ 14764 h 19050"/>
                <a:gd name="connsiteX2" fmla="*/ 28099 w 28575"/>
                <a:gd name="connsiteY2" fmla="*/ 13811 h 19050"/>
                <a:gd name="connsiteX3" fmla="*/ 18574 w 28575"/>
                <a:gd name="connsiteY3" fmla="*/ 7144 h 19050"/>
                <a:gd name="connsiteX4" fmla="*/ 12859 w 28575"/>
                <a:gd name="connsiteY4" fmla="*/ 7144 h 19050"/>
                <a:gd name="connsiteX5" fmla="*/ 7144 w 28575"/>
                <a:gd name="connsiteY5" fmla="*/ 8096 h 19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8575" h="19050">
                  <a:moveTo>
                    <a:pt x="7144" y="8096"/>
                  </a:moveTo>
                  <a:cubicBezTo>
                    <a:pt x="8096" y="11906"/>
                    <a:pt x="8096" y="13811"/>
                    <a:pt x="18574" y="14764"/>
                  </a:cubicBezTo>
                  <a:cubicBezTo>
                    <a:pt x="24289" y="15716"/>
                    <a:pt x="25241" y="16669"/>
                    <a:pt x="28099" y="13811"/>
                  </a:cubicBezTo>
                  <a:cubicBezTo>
                    <a:pt x="30004" y="10954"/>
                    <a:pt x="22384" y="7144"/>
                    <a:pt x="18574" y="7144"/>
                  </a:cubicBezTo>
                  <a:cubicBezTo>
                    <a:pt x="14764" y="7144"/>
                    <a:pt x="12859" y="7144"/>
                    <a:pt x="12859" y="7144"/>
                  </a:cubicBezTo>
                  <a:lnTo>
                    <a:pt x="7144" y="8096"/>
                  </a:lnTo>
                  <a:close/>
                </a:path>
              </a:pathLst>
            </a:custGeom>
            <a:solidFill>
              <a:schemeClr val="accent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792" name="任意多边形: 形状 9791">
              <a:extLst>
                <a:ext uri="{FF2B5EF4-FFF2-40B4-BE49-F238E27FC236}">
                  <a16:creationId xmlns:a16="http://schemas.microsoft.com/office/drawing/2014/main" id="{472EE35D-1535-401D-941F-A67D346E61F5}"/>
                </a:ext>
              </a:extLst>
            </p:cNvPr>
            <p:cNvSpPr/>
            <p:nvPr/>
          </p:nvSpPr>
          <p:spPr>
            <a:xfrm flipH="1">
              <a:off x="7738670" y="2239305"/>
              <a:ext cx="1176655" cy="763235"/>
            </a:xfrm>
            <a:custGeom>
              <a:avLst/>
              <a:gdLst>
                <a:gd name="connsiteX0" fmla="*/ 290036 w 352425"/>
                <a:gd name="connsiteY0" fmla="*/ 190976 h 228600"/>
                <a:gd name="connsiteX1" fmla="*/ 278606 w 352425"/>
                <a:gd name="connsiteY1" fmla="*/ 131921 h 228600"/>
                <a:gd name="connsiteX2" fmla="*/ 278606 w 352425"/>
                <a:gd name="connsiteY2" fmla="*/ 131921 h 228600"/>
                <a:gd name="connsiteX3" fmla="*/ 239554 w 352425"/>
                <a:gd name="connsiteY3" fmla="*/ 56674 h 228600"/>
                <a:gd name="connsiteX4" fmla="*/ 239554 w 352425"/>
                <a:gd name="connsiteY4" fmla="*/ 56674 h 228600"/>
                <a:gd name="connsiteX5" fmla="*/ 200501 w 352425"/>
                <a:gd name="connsiteY5" fmla="*/ 48101 h 228600"/>
                <a:gd name="connsiteX6" fmla="*/ 200501 w 352425"/>
                <a:gd name="connsiteY6" fmla="*/ 48101 h 228600"/>
                <a:gd name="connsiteX7" fmla="*/ 172879 w 352425"/>
                <a:gd name="connsiteY7" fmla="*/ 50959 h 228600"/>
                <a:gd name="connsiteX8" fmla="*/ 172879 w 352425"/>
                <a:gd name="connsiteY8" fmla="*/ 50959 h 228600"/>
                <a:gd name="connsiteX9" fmla="*/ 153829 w 352425"/>
                <a:gd name="connsiteY9" fmla="*/ 45244 h 228600"/>
                <a:gd name="connsiteX10" fmla="*/ 153829 w 352425"/>
                <a:gd name="connsiteY10" fmla="*/ 45244 h 228600"/>
                <a:gd name="connsiteX11" fmla="*/ 64294 w 352425"/>
                <a:gd name="connsiteY11" fmla="*/ 15716 h 228600"/>
                <a:gd name="connsiteX12" fmla="*/ 64294 w 352425"/>
                <a:gd name="connsiteY12" fmla="*/ 15716 h 228600"/>
                <a:gd name="connsiteX13" fmla="*/ 9049 w 352425"/>
                <a:gd name="connsiteY13" fmla="*/ 24289 h 228600"/>
                <a:gd name="connsiteX14" fmla="*/ 9049 w 352425"/>
                <a:gd name="connsiteY14" fmla="*/ 24289 h 228600"/>
                <a:gd name="connsiteX15" fmla="*/ 7144 w 352425"/>
                <a:gd name="connsiteY15" fmla="*/ 16669 h 228600"/>
                <a:gd name="connsiteX16" fmla="*/ 64294 w 352425"/>
                <a:gd name="connsiteY16" fmla="*/ 7144 h 228600"/>
                <a:gd name="connsiteX17" fmla="*/ 64294 w 352425"/>
                <a:gd name="connsiteY17" fmla="*/ 7144 h 228600"/>
                <a:gd name="connsiteX18" fmla="*/ 157639 w 352425"/>
                <a:gd name="connsiteY18" fmla="*/ 37624 h 228600"/>
                <a:gd name="connsiteX19" fmla="*/ 157639 w 352425"/>
                <a:gd name="connsiteY19" fmla="*/ 37624 h 228600"/>
                <a:gd name="connsiteX20" fmla="*/ 172879 w 352425"/>
                <a:gd name="connsiteY20" fmla="*/ 42386 h 228600"/>
                <a:gd name="connsiteX21" fmla="*/ 172879 w 352425"/>
                <a:gd name="connsiteY21" fmla="*/ 42386 h 228600"/>
                <a:gd name="connsiteX22" fmla="*/ 200501 w 352425"/>
                <a:gd name="connsiteY22" fmla="*/ 39529 h 228600"/>
                <a:gd name="connsiteX23" fmla="*/ 200501 w 352425"/>
                <a:gd name="connsiteY23" fmla="*/ 39529 h 228600"/>
                <a:gd name="connsiteX24" fmla="*/ 242411 w 352425"/>
                <a:gd name="connsiteY24" fmla="*/ 49054 h 228600"/>
                <a:gd name="connsiteX25" fmla="*/ 242411 w 352425"/>
                <a:gd name="connsiteY25" fmla="*/ 49054 h 228600"/>
                <a:gd name="connsiteX26" fmla="*/ 286226 w 352425"/>
                <a:gd name="connsiteY26" fmla="*/ 130969 h 228600"/>
                <a:gd name="connsiteX27" fmla="*/ 286226 w 352425"/>
                <a:gd name="connsiteY27" fmla="*/ 130969 h 228600"/>
                <a:gd name="connsiteX28" fmla="*/ 296704 w 352425"/>
                <a:gd name="connsiteY28" fmla="*/ 187166 h 228600"/>
                <a:gd name="connsiteX29" fmla="*/ 296704 w 352425"/>
                <a:gd name="connsiteY29" fmla="*/ 187166 h 228600"/>
                <a:gd name="connsiteX30" fmla="*/ 351949 w 352425"/>
                <a:gd name="connsiteY30" fmla="*/ 221456 h 228600"/>
                <a:gd name="connsiteX31" fmla="*/ 351949 w 352425"/>
                <a:gd name="connsiteY31" fmla="*/ 221456 h 228600"/>
                <a:gd name="connsiteX32" fmla="*/ 351949 w 352425"/>
                <a:gd name="connsiteY32" fmla="*/ 221456 h 228600"/>
                <a:gd name="connsiteX33" fmla="*/ 351949 w 352425"/>
                <a:gd name="connsiteY33" fmla="*/ 229076 h 228600"/>
                <a:gd name="connsiteX34" fmla="*/ 290036 w 352425"/>
                <a:gd name="connsiteY34" fmla="*/ 190976 h 228600"/>
                <a:gd name="connsiteX35" fmla="*/ 290036 w 352425"/>
                <a:gd name="connsiteY35" fmla="*/ 190976 h 228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352425" h="228600">
                  <a:moveTo>
                    <a:pt x="290036" y="190976"/>
                  </a:moveTo>
                  <a:cubicBezTo>
                    <a:pt x="280511" y="170974"/>
                    <a:pt x="279559" y="147161"/>
                    <a:pt x="278606" y="131921"/>
                  </a:cubicBezTo>
                  <a:lnTo>
                    <a:pt x="278606" y="131921"/>
                  </a:lnTo>
                  <a:cubicBezTo>
                    <a:pt x="278606" y="118586"/>
                    <a:pt x="275749" y="70009"/>
                    <a:pt x="239554" y="56674"/>
                  </a:cubicBezTo>
                  <a:lnTo>
                    <a:pt x="239554" y="56674"/>
                  </a:lnTo>
                  <a:cubicBezTo>
                    <a:pt x="222409" y="50006"/>
                    <a:pt x="210026" y="48101"/>
                    <a:pt x="200501" y="48101"/>
                  </a:cubicBezTo>
                  <a:lnTo>
                    <a:pt x="200501" y="48101"/>
                  </a:lnTo>
                  <a:cubicBezTo>
                    <a:pt x="189071" y="48101"/>
                    <a:pt x="181451" y="50006"/>
                    <a:pt x="172879" y="50959"/>
                  </a:cubicBezTo>
                  <a:lnTo>
                    <a:pt x="172879" y="50959"/>
                  </a:lnTo>
                  <a:cubicBezTo>
                    <a:pt x="167164" y="50959"/>
                    <a:pt x="160496" y="50006"/>
                    <a:pt x="153829" y="45244"/>
                  </a:cubicBezTo>
                  <a:lnTo>
                    <a:pt x="153829" y="45244"/>
                  </a:lnTo>
                  <a:cubicBezTo>
                    <a:pt x="139541" y="37624"/>
                    <a:pt x="111919" y="15716"/>
                    <a:pt x="64294" y="15716"/>
                  </a:cubicBezTo>
                  <a:lnTo>
                    <a:pt x="64294" y="15716"/>
                  </a:lnTo>
                  <a:cubicBezTo>
                    <a:pt x="48101" y="15716"/>
                    <a:pt x="30004" y="18574"/>
                    <a:pt x="9049" y="24289"/>
                  </a:cubicBezTo>
                  <a:lnTo>
                    <a:pt x="9049" y="24289"/>
                  </a:lnTo>
                  <a:lnTo>
                    <a:pt x="7144" y="16669"/>
                  </a:lnTo>
                  <a:cubicBezTo>
                    <a:pt x="29051" y="10001"/>
                    <a:pt x="48101" y="7144"/>
                    <a:pt x="64294" y="7144"/>
                  </a:cubicBezTo>
                  <a:lnTo>
                    <a:pt x="64294" y="7144"/>
                  </a:lnTo>
                  <a:cubicBezTo>
                    <a:pt x="113824" y="7144"/>
                    <a:pt x="144304" y="30004"/>
                    <a:pt x="157639" y="37624"/>
                  </a:cubicBezTo>
                  <a:lnTo>
                    <a:pt x="157639" y="37624"/>
                  </a:lnTo>
                  <a:cubicBezTo>
                    <a:pt x="163354" y="41434"/>
                    <a:pt x="168116" y="42386"/>
                    <a:pt x="172879" y="42386"/>
                  </a:cubicBezTo>
                  <a:lnTo>
                    <a:pt x="172879" y="42386"/>
                  </a:lnTo>
                  <a:cubicBezTo>
                    <a:pt x="180499" y="42386"/>
                    <a:pt x="189071" y="40481"/>
                    <a:pt x="200501" y="39529"/>
                  </a:cubicBezTo>
                  <a:lnTo>
                    <a:pt x="200501" y="39529"/>
                  </a:lnTo>
                  <a:cubicBezTo>
                    <a:pt x="210979" y="39529"/>
                    <a:pt x="224314" y="41434"/>
                    <a:pt x="242411" y="49054"/>
                  </a:cubicBezTo>
                  <a:lnTo>
                    <a:pt x="242411" y="49054"/>
                  </a:lnTo>
                  <a:cubicBezTo>
                    <a:pt x="283369" y="66199"/>
                    <a:pt x="285274" y="118586"/>
                    <a:pt x="286226" y="130969"/>
                  </a:cubicBezTo>
                  <a:lnTo>
                    <a:pt x="286226" y="130969"/>
                  </a:lnTo>
                  <a:cubicBezTo>
                    <a:pt x="287179" y="146209"/>
                    <a:pt x="288131" y="168116"/>
                    <a:pt x="296704" y="187166"/>
                  </a:cubicBezTo>
                  <a:lnTo>
                    <a:pt x="296704" y="187166"/>
                  </a:lnTo>
                  <a:cubicBezTo>
                    <a:pt x="305276" y="205264"/>
                    <a:pt x="320516" y="220504"/>
                    <a:pt x="351949" y="221456"/>
                  </a:cubicBezTo>
                  <a:lnTo>
                    <a:pt x="351949" y="221456"/>
                  </a:lnTo>
                  <a:lnTo>
                    <a:pt x="351949" y="221456"/>
                  </a:lnTo>
                  <a:lnTo>
                    <a:pt x="351949" y="229076"/>
                  </a:lnTo>
                  <a:cubicBezTo>
                    <a:pt x="317659" y="229076"/>
                    <a:pt x="298609" y="211931"/>
                    <a:pt x="290036" y="190976"/>
                  </a:cubicBezTo>
                  <a:lnTo>
                    <a:pt x="290036" y="190976"/>
                  </a:lnTo>
                  <a:close/>
                </a:path>
              </a:pathLst>
            </a:custGeom>
            <a:solidFill>
              <a:schemeClr val="accent1">
                <a:lumMod val="5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793" name="任意多边形: 形状 9792">
              <a:extLst>
                <a:ext uri="{FF2B5EF4-FFF2-40B4-BE49-F238E27FC236}">
                  <a16:creationId xmlns:a16="http://schemas.microsoft.com/office/drawing/2014/main" id="{E36FF8DC-042C-4589-973D-DCF24C59A2D6}"/>
                </a:ext>
              </a:extLst>
            </p:cNvPr>
            <p:cNvSpPr/>
            <p:nvPr/>
          </p:nvSpPr>
          <p:spPr>
            <a:xfrm flipH="1">
              <a:off x="6943633" y="1974915"/>
              <a:ext cx="1049449" cy="985847"/>
            </a:xfrm>
            <a:custGeom>
              <a:avLst/>
              <a:gdLst>
                <a:gd name="connsiteX0" fmla="*/ 238601 w 314325"/>
                <a:gd name="connsiteY0" fmla="*/ 13942 h 295275"/>
                <a:gd name="connsiteX1" fmla="*/ 166211 w 314325"/>
                <a:gd name="connsiteY1" fmla="*/ 180630 h 295275"/>
                <a:gd name="connsiteX2" fmla="*/ 23336 w 314325"/>
                <a:gd name="connsiteY2" fmla="*/ 184440 h 295275"/>
                <a:gd name="connsiteX3" fmla="*/ 7144 w 314325"/>
                <a:gd name="connsiteY3" fmla="*/ 241590 h 295275"/>
                <a:gd name="connsiteX4" fmla="*/ 38576 w 314325"/>
                <a:gd name="connsiteY4" fmla="*/ 280642 h 295275"/>
                <a:gd name="connsiteX5" fmla="*/ 272891 w 314325"/>
                <a:gd name="connsiteY5" fmla="*/ 271117 h 295275"/>
                <a:gd name="connsiteX6" fmla="*/ 297656 w 314325"/>
                <a:gd name="connsiteY6" fmla="*/ 18705 h 295275"/>
                <a:gd name="connsiteX7" fmla="*/ 238601 w 314325"/>
                <a:gd name="connsiteY7" fmla="*/ 13942 h 295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14325" h="295275">
                  <a:moveTo>
                    <a:pt x="238601" y="13942"/>
                  </a:moveTo>
                  <a:cubicBezTo>
                    <a:pt x="220504" y="20610"/>
                    <a:pt x="181451" y="159675"/>
                    <a:pt x="166211" y="180630"/>
                  </a:cubicBezTo>
                  <a:cubicBezTo>
                    <a:pt x="166211" y="180630"/>
                    <a:pt x="43339" y="179677"/>
                    <a:pt x="23336" y="184440"/>
                  </a:cubicBezTo>
                  <a:cubicBezTo>
                    <a:pt x="13811" y="195870"/>
                    <a:pt x="7144" y="241590"/>
                    <a:pt x="7144" y="241590"/>
                  </a:cubicBezTo>
                  <a:cubicBezTo>
                    <a:pt x="7144" y="241590"/>
                    <a:pt x="10001" y="262545"/>
                    <a:pt x="38576" y="280642"/>
                  </a:cubicBezTo>
                  <a:cubicBezTo>
                    <a:pt x="63341" y="296835"/>
                    <a:pt x="236696" y="305407"/>
                    <a:pt x="272891" y="271117"/>
                  </a:cubicBezTo>
                  <a:cubicBezTo>
                    <a:pt x="309086" y="236827"/>
                    <a:pt x="323374" y="41565"/>
                    <a:pt x="297656" y="18705"/>
                  </a:cubicBezTo>
                  <a:cubicBezTo>
                    <a:pt x="272891" y="-4155"/>
                    <a:pt x="238601" y="13942"/>
                    <a:pt x="238601" y="13942"/>
                  </a:cubicBezTo>
                  <a:close/>
                </a:path>
              </a:pathLst>
            </a:custGeom>
            <a:solidFill>
              <a:schemeClr val="accent1">
                <a:lumMod val="5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794" name="任意多边形: 形状 9793">
              <a:extLst>
                <a:ext uri="{FF2B5EF4-FFF2-40B4-BE49-F238E27FC236}">
                  <a16:creationId xmlns:a16="http://schemas.microsoft.com/office/drawing/2014/main" id="{2943F669-E79D-48C3-AD2C-0C7515A77A44}"/>
                </a:ext>
              </a:extLst>
            </p:cNvPr>
            <p:cNvSpPr/>
            <p:nvPr/>
          </p:nvSpPr>
          <p:spPr>
            <a:xfrm flipH="1">
              <a:off x="7077200" y="1975529"/>
              <a:ext cx="890441" cy="731434"/>
            </a:xfrm>
            <a:custGeom>
              <a:avLst/>
              <a:gdLst>
                <a:gd name="connsiteX0" fmla="*/ 224314 w 266700"/>
                <a:gd name="connsiteY0" fmla="*/ 13758 h 219075"/>
                <a:gd name="connsiteX1" fmla="*/ 153829 w 266700"/>
                <a:gd name="connsiteY1" fmla="*/ 180446 h 219075"/>
                <a:gd name="connsiteX2" fmla="*/ 17621 w 266700"/>
                <a:gd name="connsiteY2" fmla="*/ 185208 h 219075"/>
                <a:gd name="connsiteX3" fmla="*/ 7144 w 266700"/>
                <a:gd name="connsiteY3" fmla="*/ 213783 h 219075"/>
                <a:gd name="connsiteX4" fmla="*/ 210979 w 266700"/>
                <a:gd name="connsiteY4" fmla="*/ 196638 h 219075"/>
                <a:gd name="connsiteX5" fmla="*/ 268129 w 266700"/>
                <a:gd name="connsiteY5" fmla="*/ 8043 h 219075"/>
                <a:gd name="connsiteX6" fmla="*/ 224314 w 266700"/>
                <a:gd name="connsiteY6" fmla="*/ 13758 h 219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66700" h="219075">
                  <a:moveTo>
                    <a:pt x="224314" y="13758"/>
                  </a:moveTo>
                  <a:cubicBezTo>
                    <a:pt x="206216" y="20426"/>
                    <a:pt x="170021" y="159491"/>
                    <a:pt x="153829" y="180446"/>
                  </a:cubicBezTo>
                  <a:cubicBezTo>
                    <a:pt x="153829" y="180446"/>
                    <a:pt x="37624" y="180446"/>
                    <a:pt x="17621" y="185208"/>
                  </a:cubicBezTo>
                  <a:cubicBezTo>
                    <a:pt x="13811" y="189971"/>
                    <a:pt x="10001" y="202353"/>
                    <a:pt x="7144" y="213783"/>
                  </a:cubicBezTo>
                  <a:cubicBezTo>
                    <a:pt x="44291" y="224261"/>
                    <a:pt x="190976" y="225213"/>
                    <a:pt x="210979" y="196638"/>
                  </a:cubicBezTo>
                  <a:cubicBezTo>
                    <a:pt x="230029" y="169968"/>
                    <a:pt x="244316" y="57573"/>
                    <a:pt x="268129" y="8043"/>
                  </a:cubicBezTo>
                  <a:cubicBezTo>
                    <a:pt x="246221" y="4233"/>
                    <a:pt x="224314" y="13758"/>
                    <a:pt x="224314" y="13758"/>
                  </a:cubicBez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795" name="任意多边形: 形状 9794">
              <a:extLst>
                <a:ext uri="{FF2B5EF4-FFF2-40B4-BE49-F238E27FC236}">
                  <a16:creationId xmlns:a16="http://schemas.microsoft.com/office/drawing/2014/main" id="{A3FE47AB-E0FC-4CB1-ADA4-8E5F23CC4C97}"/>
                </a:ext>
              </a:extLst>
            </p:cNvPr>
            <p:cNvSpPr/>
            <p:nvPr/>
          </p:nvSpPr>
          <p:spPr>
            <a:xfrm flipH="1">
              <a:off x="7899920" y="2527442"/>
              <a:ext cx="349817" cy="254413"/>
            </a:xfrm>
            <a:custGeom>
              <a:avLst/>
              <a:gdLst>
                <a:gd name="connsiteX0" fmla="*/ 100208 w 104775"/>
                <a:gd name="connsiteY0" fmla="*/ 19903 h 76200"/>
                <a:gd name="connsiteX1" fmla="*/ 72586 w 104775"/>
                <a:gd name="connsiteY1" fmla="*/ 17045 h 76200"/>
                <a:gd name="connsiteX2" fmla="*/ 61156 w 104775"/>
                <a:gd name="connsiteY2" fmla="*/ 7520 h 76200"/>
                <a:gd name="connsiteX3" fmla="*/ 53536 w 104775"/>
                <a:gd name="connsiteY3" fmla="*/ 10378 h 76200"/>
                <a:gd name="connsiteX4" fmla="*/ 22103 w 104775"/>
                <a:gd name="connsiteY4" fmla="*/ 14188 h 76200"/>
                <a:gd name="connsiteX5" fmla="*/ 12578 w 104775"/>
                <a:gd name="connsiteY5" fmla="*/ 22760 h 76200"/>
                <a:gd name="connsiteX6" fmla="*/ 8768 w 104775"/>
                <a:gd name="connsiteY6" fmla="*/ 40858 h 76200"/>
                <a:gd name="connsiteX7" fmla="*/ 9721 w 104775"/>
                <a:gd name="connsiteY7" fmla="*/ 56098 h 76200"/>
                <a:gd name="connsiteX8" fmla="*/ 14483 w 104775"/>
                <a:gd name="connsiteY8" fmla="*/ 66575 h 76200"/>
                <a:gd name="connsiteX9" fmla="*/ 60203 w 104775"/>
                <a:gd name="connsiteY9" fmla="*/ 62765 h 76200"/>
                <a:gd name="connsiteX10" fmla="*/ 84016 w 104775"/>
                <a:gd name="connsiteY10" fmla="*/ 70385 h 76200"/>
                <a:gd name="connsiteX11" fmla="*/ 92588 w 104775"/>
                <a:gd name="connsiteY11" fmla="*/ 37048 h 76200"/>
                <a:gd name="connsiteX12" fmla="*/ 100208 w 104775"/>
                <a:gd name="connsiteY12" fmla="*/ 19903 h 76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04775" h="76200">
                  <a:moveTo>
                    <a:pt x="100208" y="19903"/>
                  </a:moveTo>
                  <a:cubicBezTo>
                    <a:pt x="88778" y="17998"/>
                    <a:pt x="76396" y="17998"/>
                    <a:pt x="72586" y="17045"/>
                  </a:cubicBezTo>
                  <a:cubicBezTo>
                    <a:pt x="68776" y="15140"/>
                    <a:pt x="61156" y="7520"/>
                    <a:pt x="61156" y="7520"/>
                  </a:cubicBezTo>
                  <a:cubicBezTo>
                    <a:pt x="61156" y="7520"/>
                    <a:pt x="59251" y="5615"/>
                    <a:pt x="53536" y="10378"/>
                  </a:cubicBezTo>
                  <a:cubicBezTo>
                    <a:pt x="48773" y="14188"/>
                    <a:pt x="30676" y="12283"/>
                    <a:pt x="22103" y="14188"/>
                  </a:cubicBezTo>
                  <a:cubicBezTo>
                    <a:pt x="14483" y="17045"/>
                    <a:pt x="12578" y="22760"/>
                    <a:pt x="12578" y="22760"/>
                  </a:cubicBezTo>
                  <a:cubicBezTo>
                    <a:pt x="12578" y="22760"/>
                    <a:pt x="4958" y="27523"/>
                    <a:pt x="8768" y="40858"/>
                  </a:cubicBezTo>
                  <a:cubicBezTo>
                    <a:pt x="9721" y="44668"/>
                    <a:pt x="4006" y="48478"/>
                    <a:pt x="9721" y="56098"/>
                  </a:cubicBezTo>
                  <a:cubicBezTo>
                    <a:pt x="11626" y="58955"/>
                    <a:pt x="7816" y="63718"/>
                    <a:pt x="14483" y="66575"/>
                  </a:cubicBezTo>
                  <a:cubicBezTo>
                    <a:pt x="29723" y="74195"/>
                    <a:pt x="49726" y="63718"/>
                    <a:pt x="60203" y="62765"/>
                  </a:cubicBezTo>
                  <a:cubicBezTo>
                    <a:pt x="70681" y="61813"/>
                    <a:pt x="76396" y="68480"/>
                    <a:pt x="84016" y="70385"/>
                  </a:cubicBezTo>
                  <a:cubicBezTo>
                    <a:pt x="91636" y="72290"/>
                    <a:pt x="85921" y="54193"/>
                    <a:pt x="92588" y="37048"/>
                  </a:cubicBezTo>
                  <a:cubicBezTo>
                    <a:pt x="97351" y="29428"/>
                    <a:pt x="100208" y="19903"/>
                    <a:pt x="100208" y="19903"/>
                  </a:cubicBezTo>
                  <a:close/>
                </a:path>
              </a:pathLst>
            </a:custGeom>
            <a:solidFill>
              <a:schemeClr val="accent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796" name="任意多边形: 形状 9795">
              <a:extLst>
                <a:ext uri="{FF2B5EF4-FFF2-40B4-BE49-F238E27FC236}">
                  <a16:creationId xmlns:a16="http://schemas.microsoft.com/office/drawing/2014/main" id="{8BB91C69-AAAE-4B77-A84E-329741981C2D}"/>
                </a:ext>
              </a:extLst>
            </p:cNvPr>
            <p:cNvSpPr/>
            <p:nvPr/>
          </p:nvSpPr>
          <p:spPr>
            <a:xfrm flipH="1">
              <a:off x="8072587" y="2461916"/>
              <a:ext cx="127205" cy="95405"/>
            </a:xfrm>
            <a:custGeom>
              <a:avLst/>
              <a:gdLst>
                <a:gd name="connsiteX0" fmla="*/ 7144 w 38100"/>
                <a:gd name="connsiteY0" fmla="*/ 7144 h 28575"/>
                <a:gd name="connsiteX1" fmla="*/ 10954 w 38100"/>
                <a:gd name="connsiteY1" fmla="*/ 22384 h 28575"/>
                <a:gd name="connsiteX2" fmla="*/ 31909 w 38100"/>
                <a:gd name="connsiteY2" fmla="*/ 23336 h 28575"/>
                <a:gd name="connsiteX3" fmla="*/ 27146 w 38100"/>
                <a:gd name="connsiteY3" fmla="*/ 15716 h 28575"/>
                <a:gd name="connsiteX4" fmla="*/ 7144 w 38100"/>
                <a:gd name="connsiteY4" fmla="*/ 7144 h 28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100" h="28575">
                  <a:moveTo>
                    <a:pt x="7144" y="7144"/>
                  </a:moveTo>
                  <a:cubicBezTo>
                    <a:pt x="8096" y="11906"/>
                    <a:pt x="6191" y="20479"/>
                    <a:pt x="10954" y="22384"/>
                  </a:cubicBezTo>
                  <a:cubicBezTo>
                    <a:pt x="15716" y="24289"/>
                    <a:pt x="25241" y="29051"/>
                    <a:pt x="31909" y="23336"/>
                  </a:cubicBezTo>
                  <a:cubicBezTo>
                    <a:pt x="38576" y="17621"/>
                    <a:pt x="32861" y="17621"/>
                    <a:pt x="27146" y="15716"/>
                  </a:cubicBezTo>
                  <a:cubicBezTo>
                    <a:pt x="21431" y="12859"/>
                    <a:pt x="7144" y="7144"/>
                    <a:pt x="7144" y="7144"/>
                  </a:cubicBezTo>
                  <a:close/>
                </a:path>
              </a:pathLst>
            </a:custGeom>
            <a:solidFill>
              <a:schemeClr val="accent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797" name="任意多边形: 形状 9796">
              <a:extLst>
                <a:ext uri="{FF2B5EF4-FFF2-40B4-BE49-F238E27FC236}">
                  <a16:creationId xmlns:a16="http://schemas.microsoft.com/office/drawing/2014/main" id="{6DD922FB-302B-49C9-BA94-7504CBE6CF73}"/>
                </a:ext>
              </a:extLst>
            </p:cNvPr>
            <p:cNvSpPr/>
            <p:nvPr/>
          </p:nvSpPr>
          <p:spPr>
            <a:xfrm flipH="1">
              <a:off x="8106024" y="2395130"/>
              <a:ext cx="95405" cy="127205"/>
            </a:xfrm>
            <a:custGeom>
              <a:avLst/>
              <a:gdLst>
                <a:gd name="connsiteX0" fmla="*/ 16207 w 28575"/>
                <a:gd name="connsiteY0" fmla="*/ 7144 h 38100"/>
                <a:gd name="connsiteX1" fmla="*/ 7634 w 28575"/>
                <a:gd name="connsiteY1" fmla="*/ 28099 h 38100"/>
                <a:gd name="connsiteX2" fmla="*/ 23827 w 28575"/>
                <a:gd name="connsiteY2" fmla="*/ 34766 h 38100"/>
                <a:gd name="connsiteX3" fmla="*/ 27637 w 28575"/>
                <a:gd name="connsiteY3" fmla="*/ 25241 h 38100"/>
                <a:gd name="connsiteX4" fmla="*/ 26684 w 28575"/>
                <a:gd name="connsiteY4" fmla="*/ 14764 h 38100"/>
                <a:gd name="connsiteX5" fmla="*/ 16207 w 28575"/>
                <a:gd name="connsiteY5" fmla="*/ 7144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8575" h="38100">
                  <a:moveTo>
                    <a:pt x="16207" y="7144"/>
                  </a:moveTo>
                  <a:cubicBezTo>
                    <a:pt x="9539" y="10001"/>
                    <a:pt x="5729" y="24289"/>
                    <a:pt x="7634" y="28099"/>
                  </a:cubicBezTo>
                  <a:cubicBezTo>
                    <a:pt x="10492" y="31909"/>
                    <a:pt x="20017" y="35719"/>
                    <a:pt x="23827" y="34766"/>
                  </a:cubicBezTo>
                  <a:cubicBezTo>
                    <a:pt x="27637" y="33814"/>
                    <a:pt x="29542" y="27146"/>
                    <a:pt x="27637" y="25241"/>
                  </a:cubicBezTo>
                  <a:cubicBezTo>
                    <a:pt x="24779" y="23336"/>
                    <a:pt x="26684" y="14764"/>
                    <a:pt x="26684" y="14764"/>
                  </a:cubicBezTo>
                  <a:lnTo>
                    <a:pt x="16207" y="7144"/>
                  </a:lnTo>
                  <a:close/>
                </a:path>
              </a:pathLst>
            </a:custGeom>
            <a:solidFill>
              <a:schemeClr val="accent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798" name="任意多边形: 形状 9797">
              <a:extLst>
                <a:ext uri="{FF2B5EF4-FFF2-40B4-BE49-F238E27FC236}">
                  <a16:creationId xmlns:a16="http://schemas.microsoft.com/office/drawing/2014/main" id="{1A09DE13-5F59-44E8-8B79-F623C6DB4642}"/>
                </a:ext>
              </a:extLst>
            </p:cNvPr>
            <p:cNvSpPr/>
            <p:nvPr/>
          </p:nvSpPr>
          <p:spPr>
            <a:xfrm flipH="1">
              <a:off x="8086570" y="2512798"/>
              <a:ext cx="95405" cy="63603"/>
            </a:xfrm>
            <a:custGeom>
              <a:avLst/>
              <a:gdLst>
                <a:gd name="connsiteX0" fmla="*/ 7522 w 28575"/>
                <a:gd name="connsiteY0" fmla="*/ 7144 h 19050"/>
                <a:gd name="connsiteX1" fmla="*/ 15142 w 28575"/>
                <a:gd name="connsiteY1" fmla="*/ 18574 h 19050"/>
                <a:gd name="connsiteX2" fmla="*/ 29430 w 28575"/>
                <a:gd name="connsiteY2" fmla="*/ 16669 h 19050"/>
                <a:gd name="connsiteX3" fmla="*/ 22762 w 28575"/>
                <a:gd name="connsiteY3" fmla="*/ 10001 h 19050"/>
                <a:gd name="connsiteX4" fmla="*/ 7522 w 28575"/>
                <a:gd name="connsiteY4" fmla="*/ 7144 h 19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8575" h="19050">
                  <a:moveTo>
                    <a:pt x="7522" y="7144"/>
                  </a:moveTo>
                  <a:cubicBezTo>
                    <a:pt x="5617" y="14764"/>
                    <a:pt x="11332" y="18574"/>
                    <a:pt x="15142" y="18574"/>
                  </a:cubicBezTo>
                  <a:cubicBezTo>
                    <a:pt x="18952" y="18574"/>
                    <a:pt x="29430" y="20479"/>
                    <a:pt x="29430" y="16669"/>
                  </a:cubicBezTo>
                  <a:cubicBezTo>
                    <a:pt x="30382" y="12859"/>
                    <a:pt x="22762" y="10001"/>
                    <a:pt x="22762" y="10001"/>
                  </a:cubicBezTo>
                  <a:lnTo>
                    <a:pt x="7522" y="7144"/>
                  </a:lnTo>
                  <a:close/>
                </a:path>
              </a:pathLst>
            </a:custGeom>
            <a:solidFill>
              <a:schemeClr val="accent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799" name="任意多边形: 形状 9798">
              <a:extLst>
                <a:ext uri="{FF2B5EF4-FFF2-40B4-BE49-F238E27FC236}">
                  <a16:creationId xmlns:a16="http://schemas.microsoft.com/office/drawing/2014/main" id="{F0E469C9-15C8-49AF-80AD-A0E2E8D84780}"/>
                </a:ext>
              </a:extLst>
            </p:cNvPr>
            <p:cNvSpPr/>
            <p:nvPr/>
          </p:nvSpPr>
          <p:spPr>
            <a:xfrm flipH="1">
              <a:off x="7926608" y="2393883"/>
              <a:ext cx="222611" cy="95405"/>
            </a:xfrm>
            <a:custGeom>
              <a:avLst/>
              <a:gdLst>
                <a:gd name="connsiteX0" fmla="*/ 60576 w 66675"/>
                <a:gd name="connsiteY0" fmla="*/ 17996 h 28575"/>
                <a:gd name="connsiteX1" fmla="*/ 37716 w 66675"/>
                <a:gd name="connsiteY1" fmla="*/ 24663 h 28575"/>
                <a:gd name="connsiteX2" fmla="*/ 12951 w 66675"/>
                <a:gd name="connsiteY2" fmla="*/ 24663 h 28575"/>
                <a:gd name="connsiteX3" fmla="*/ 9141 w 66675"/>
                <a:gd name="connsiteY3" fmla="*/ 17996 h 28575"/>
                <a:gd name="connsiteX4" fmla="*/ 27239 w 66675"/>
                <a:gd name="connsiteY4" fmla="*/ 8471 h 28575"/>
                <a:gd name="connsiteX5" fmla="*/ 56766 w 66675"/>
                <a:gd name="connsiteY5" fmla="*/ 9423 h 28575"/>
                <a:gd name="connsiteX6" fmla="*/ 60576 w 66675"/>
                <a:gd name="connsiteY6" fmla="*/ 17996 h 28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6675" h="28575">
                  <a:moveTo>
                    <a:pt x="60576" y="17996"/>
                  </a:moveTo>
                  <a:cubicBezTo>
                    <a:pt x="54861" y="22758"/>
                    <a:pt x="46289" y="26568"/>
                    <a:pt x="37716" y="24663"/>
                  </a:cubicBezTo>
                  <a:cubicBezTo>
                    <a:pt x="29144" y="22758"/>
                    <a:pt x="16761" y="24663"/>
                    <a:pt x="12951" y="24663"/>
                  </a:cubicBezTo>
                  <a:cubicBezTo>
                    <a:pt x="9141" y="24663"/>
                    <a:pt x="4379" y="20853"/>
                    <a:pt x="9141" y="17996"/>
                  </a:cubicBezTo>
                  <a:cubicBezTo>
                    <a:pt x="14856" y="15138"/>
                    <a:pt x="23429" y="10376"/>
                    <a:pt x="27239" y="8471"/>
                  </a:cubicBezTo>
                  <a:cubicBezTo>
                    <a:pt x="31049" y="7518"/>
                    <a:pt x="52956" y="5613"/>
                    <a:pt x="56766" y="9423"/>
                  </a:cubicBezTo>
                  <a:cubicBezTo>
                    <a:pt x="60576" y="12281"/>
                    <a:pt x="60576" y="17996"/>
                    <a:pt x="60576" y="17996"/>
                  </a:cubicBezTo>
                  <a:close/>
                </a:path>
              </a:pathLst>
            </a:custGeom>
            <a:solidFill>
              <a:schemeClr val="accent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00" name="任意多边形: 形状 9799">
              <a:extLst>
                <a:ext uri="{FF2B5EF4-FFF2-40B4-BE49-F238E27FC236}">
                  <a16:creationId xmlns:a16="http://schemas.microsoft.com/office/drawing/2014/main" id="{0A9C7C19-D1A0-4F0A-9071-990E1F441471}"/>
                </a:ext>
              </a:extLst>
            </p:cNvPr>
            <p:cNvSpPr/>
            <p:nvPr/>
          </p:nvSpPr>
          <p:spPr>
            <a:xfrm flipH="1">
              <a:off x="7250123" y="1612815"/>
              <a:ext cx="381618" cy="318015"/>
            </a:xfrm>
            <a:custGeom>
              <a:avLst/>
              <a:gdLst>
                <a:gd name="connsiteX0" fmla="*/ 9406 w 114300"/>
                <a:gd name="connsiteY0" fmla="*/ 11906 h 95250"/>
                <a:gd name="connsiteX1" fmla="*/ 17026 w 114300"/>
                <a:gd name="connsiteY1" fmla="*/ 63341 h 95250"/>
                <a:gd name="connsiteX2" fmla="*/ 56079 w 114300"/>
                <a:gd name="connsiteY2" fmla="*/ 90011 h 95250"/>
                <a:gd name="connsiteX3" fmla="*/ 114181 w 114300"/>
                <a:gd name="connsiteY3" fmla="*/ 67151 h 95250"/>
                <a:gd name="connsiteX4" fmla="*/ 82749 w 114300"/>
                <a:gd name="connsiteY4" fmla="*/ 7144 h 95250"/>
                <a:gd name="connsiteX5" fmla="*/ 9406 w 114300"/>
                <a:gd name="connsiteY5" fmla="*/ 11906 h 9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4300" h="95250">
                  <a:moveTo>
                    <a:pt x="9406" y="11906"/>
                  </a:moveTo>
                  <a:cubicBezTo>
                    <a:pt x="4644" y="28099"/>
                    <a:pt x="7501" y="53816"/>
                    <a:pt x="17026" y="63341"/>
                  </a:cubicBezTo>
                  <a:cubicBezTo>
                    <a:pt x="26551" y="72866"/>
                    <a:pt x="37981" y="88106"/>
                    <a:pt x="56079" y="90011"/>
                  </a:cubicBezTo>
                  <a:cubicBezTo>
                    <a:pt x="74176" y="91916"/>
                    <a:pt x="114181" y="67151"/>
                    <a:pt x="114181" y="67151"/>
                  </a:cubicBezTo>
                  <a:cubicBezTo>
                    <a:pt x="114181" y="67151"/>
                    <a:pt x="82749" y="28099"/>
                    <a:pt x="82749" y="7144"/>
                  </a:cubicBezTo>
                  <a:cubicBezTo>
                    <a:pt x="39886" y="9049"/>
                    <a:pt x="9406" y="11906"/>
                    <a:pt x="9406" y="11906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03" name="任意多边形: 形状 9802">
              <a:extLst>
                <a:ext uri="{FF2B5EF4-FFF2-40B4-BE49-F238E27FC236}">
                  <a16:creationId xmlns:a16="http://schemas.microsoft.com/office/drawing/2014/main" id="{A8263194-FA20-4904-807D-2BE4D8837962}"/>
                </a:ext>
              </a:extLst>
            </p:cNvPr>
            <p:cNvSpPr/>
            <p:nvPr/>
          </p:nvSpPr>
          <p:spPr>
            <a:xfrm flipH="1">
              <a:off x="7035859" y="1275719"/>
              <a:ext cx="413420" cy="381618"/>
            </a:xfrm>
            <a:custGeom>
              <a:avLst/>
              <a:gdLst>
                <a:gd name="connsiteX0" fmla="*/ 23336 w 123825"/>
                <a:gd name="connsiteY0" fmla="*/ 113824 h 114300"/>
                <a:gd name="connsiteX1" fmla="*/ 125254 w 123825"/>
                <a:gd name="connsiteY1" fmla="*/ 10954 h 114300"/>
                <a:gd name="connsiteX2" fmla="*/ 119539 w 123825"/>
                <a:gd name="connsiteY2" fmla="*/ 7144 h 114300"/>
                <a:gd name="connsiteX3" fmla="*/ 7144 w 123825"/>
                <a:gd name="connsiteY3" fmla="*/ 112871 h 114300"/>
                <a:gd name="connsiteX4" fmla="*/ 23336 w 123825"/>
                <a:gd name="connsiteY4" fmla="*/ 113824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3825" h="114300">
                  <a:moveTo>
                    <a:pt x="23336" y="113824"/>
                  </a:moveTo>
                  <a:cubicBezTo>
                    <a:pt x="42386" y="102394"/>
                    <a:pt x="125254" y="13811"/>
                    <a:pt x="125254" y="10954"/>
                  </a:cubicBezTo>
                  <a:cubicBezTo>
                    <a:pt x="125254" y="7144"/>
                    <a:pt x="119539" y="7144"/>
                    <a:pt x="119539" y="7144"/>
                  </a:cubicBezTo>
                  <a:lnTo>
                    <a:pt x="7144" y="112871"/>
                  </a:lnTo>
                  <a:lnTo>
                    <a:pt x="23336" y="113824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04" name="任意多边形: 形状 9803">
              <a:extLst>
                <a:ext uri="{FF2B5EF4-FFF2-40B4-BE49-F238E27FC236}">
                  <a16:creationId xmlns:a16="http://schemas.microsoft.com/office/drawing/2014/main" id="{425DC59C-EDB3-47CE-AB59-72E8F1DB3304}"/>
                </a:ext>
              </a:extLst>
            </p:cNvPr>
            <p:cNvSpPr/>
            <p:nvPr/>
          </p:nvSpPr>
          <p:spPr>
            <a:xfrm flipH="1">
              <a:off x="7083559" y="1711401"/>
              <a:ext cx="254413" cy="159007"/>
            </a:xfrm>
            <a:custGeom>
              <a:avLst/>
              <a:gdLst>
                <a:gd name="connsiteX0" fmla="*/ 11906 w 76200"/>
                <a:gd name="connsiteY0" fmla="*/ 31909 h 47625"/>
                <a:gd name="connsiteX1" fmla="*/ 69056 w 76200"/>
                <a:gd name="connsiteY1" fmla="*/ 7144 h 47625"/>
                <a:gd name="connsiteX2" fmla="*/ 70961 w 76200"/>
                <a:gd name="connsiteY2" fmla="*/ 19526 h 47625"/>
                <a:gd name="connsiteX3" fmla="*/ 7144 w 76200"/>
                <a:gd name="connsiteY3" fmla="*/ 44291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6200" h="47625">
                  <a:moveTo>
                    <a:pt x="11906" y="31909"/>
                  </a:moveTo>
                  <a:lnTo>
                    <a:pt x="69056" y="7144"/>
                  </a:lnTo>
                  <a:lnTo>
                    <a:pt x="70961" y="19526"/>
                  </a:lnTo>
                  <a:lnTo>
                    <a:pt x="7144" y="44291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05" name="任意多边形: 形状 9804">
              <a:extLst>
                <a:ext uri="{FF2B5EF4-FFF2-40B4-BE49-F238E27FC236}">
                  <a16:creationId xmlns:a16="http://schemas.microsoft.com/office/drawing/2014/main" id="{48489304-5D3F-440C-9411-95CFCE030786}"/>
                </a:ext>
              </a:extLst>
            </p:cNvPr>
            <p:cNvSpPr/>
            <p:nvPr/>
          </p:nvSpPr>
          <p:spPr>
            <a:xfrm flipH="1">
              <a:off x="6990859" y="1201462"/>
              <a:ext cx="95405" cy="127205"/>
            </a:xfrm>
            <a:custGeom>
              <a:avLst/>
              <a:gdLst>
                <a:gd name="connsiteX0" fmla="*/ 10811 w 28575"/>
                <a:gd name="connsiteY0" fmla="*/ 29385 h 38100"/>
                <a:gd name="connsiteX1" fmla="*/ 13668 w 28575"/>
                <a:gd name="connsiteY1" fmla="*/ 7477 h 38100"/>
                <a:gd name="connsiteX2" fmla="*/ 23193 w 28575"/>
                <a:gd name="connsiteY2" fmla="*/ 28432 h 38100"/>
                <a:gd name="connsiteX3" fmla="*/ 10811 w 28575"/>
                <a:gd name="connsiteY3" fmla="*/ 29385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575" h="38100">
                  <a:moveTo>
                    <a:pt x="10811" y="29385"/>
                  </a:moveTo>
                  <a:cubicBezTo>
                    <a:pt x="8906" y="20812"/>
                    <a:pt x="2238" y="4620"/>
                    <a:pt x="13668" y="7477"/>
                  </a:cubicBezTo>
                  <a:cubicBezTo>
                    <a:pt x="25098" y="9382"/>
                    <a:pt x="30813" y="20812"/>
                    <a:pt x="23193" y="28432"/>
                  </a:cubicBezTo>
                  <a:cubicBezTo>
                    <a:pt x="14620" y="36052"/>
                    <a:pt x="10811" y="29385"/>
                    <a:pt x="10811" y="29385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06" name="任意多边形: 形状 9805">
              <a:extLst>
                <a:ext uri="{FF2B5EF4-FFF2-40B4-BE49-F238E27FC236}">
                  <a16:creationId xmlns:a16="http://schemas.microsoft.com/office/drawing/2014/main" id="{811056D7-95E3-4994-B944-358715AA0273}"/>
                </a:ext>
              </a:extLst>
            </p:cNvPr>
            <p:cNvSpPr/>
            <p:nvPr/>
          </p:nvSpPr>
          <p:spPr>
            <a:xfrm flipH="1">
              <a:off x="6943633" y="1275719"/>
              <a:ext cx="127205" cy="95405"/>
            </a:xfrm>
            <a:custGeom>
              <a:avLst/>
              <a:gdLst>
                <a:gd name="connsiteX0" fmla="*/ 9049 w 38100"/>
                <a:gd name="connsiteY0" fmla="*/ 7144 h 28575"/>
                <a:gd name="connsiteX1" fmla="*/ 34766 w 38100"/>
                <a:gd name="connsiteY1" fmla="*/ 28099 h 28575"/>
                <a:gd name="connsiteX2" fmla="*/ 25241 w 38100"/>
                <a:gd name="connsiteY2" fmla="*/ 28099 h 28575"/>
                <a:gd name="connsiteX3" fmla="*/ 7144 w 38100"/>
                <a:gd name="connsiteY3" fmla="*/ 10954 h 28575"/>
                <a:gd name="connsiteX4" fmla="*/ 9049 w 38100"/>
                <a:gd name="connsiteY4" fmla="*/ 7144 h 28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100" h="28575">
                  <a:moveTo>
                    <a:pt x="9049" y="7144"/>
                  </a:moveTo>
                  <a:cubicBezTo>
                    <a:pt x="15716" y="10001"/>
                    <a:pt x="28099" y="18574"/>
                    <a:pt x="34766" y="28099"/>
                  </a:cubicBezTo>
                  <a:cubicBezTo>
                    <a:pt x="32861" y="32861"/>
                    <a:pt x="25241" y="28099"/>
                    <a:pt x="25241" y="28099"/>
                  </a:cubicBezTo>
                  <a:lnTo>
                    <a:pt x="7144" y="10954"/>
                  </a:lnTo>
                  <a:lnTo>
                    <a:pt x="9049" y="7144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07" name="任意多边形: 形状 9806">
              <a:extLst>
                <a:ext uri="{FF2B5EF4-FFF2-40B4-BE49-F238E27FC236}">
                  <a16:creationId xmlns:a16="http://schemas.microsoft.com/office/drawing/2014/main" id="{A923F926-88C5-4263-8496-30AF103AFE99}"/>
                </a:ext>
              </a:extLst>
            </p:cNvPr>
            <p:cNvSpPr/>
            <p:nvPr/>
          </p:nvSpPr>
          <p:spPr>
            <a:xfrm flipH="1">
              <a:off x="9303303" y="1097052"/>
              <a:ext cx="826839" cy="763235"/>
            </a:xfrm>
            <a:custGeom>
              <a:avLst/>
              <a:gdLst>
                <a:gd name="connsiteX0" fmla="*/ 124301 w 247650"/>
                <a:gd name="connsiteY0" fmla="*/ 16842 h 228600"/>
                <a:gd name="connsiteX1" fmla="*/ 112871 w 247650"/>
                <a:gd name="connsiteY1" fmla="*/ 25415 h 228600"/>
                <a:gd name="connsiteX2" fmla="*/ 67151 w 247650"/>
                <a:gd name="connsiteY2" fmla="*/ 101615 h 228600"/>
                <a:gd name="connsiteX3" fmla="*/ 25241 w 247650"/>
                <a:gd name="connsiteY3" fmla="*/ 148287 h 228600"/>
                <a:gd name="connsiteX4" fmla="*/ 7144 w 247650"/>
                <a:gd name="connsiteY4" fmla="*/ 157812 h 228600"/>
                <a:gd name="connsiteX5" fmla="*/ 89059 w 247650"/>
                <a:gd name="connsiteY5" fmla="*/ 227345 h 228600"/>
                <a:gd name="connsiteX6" fmla="*/ 90964 w 247650"/>
                <a:gd name="connsiteY6" fmla="*/ 224487 h 228600"/>
                <a:gd name="connsiteX7" fmla="*/ 110966 w 247650"/>
                <a:gd name="connsiteY7" fmla="*/ 209247 h 228600"/>
                <a:gd name="connsiteX8" fmla="*/ 111919 w 247650"/>
                <a:gd name="connsiteY8" fmla="*/ 210200 h 228600"/>
                <a:gd name="connsiteX9" fmla="*/ 111919 w 247650"/>
                <a:gd name="connsiteY9" fmla="*/ 210200 h 228600"/>
                <a:gd name="connsiteX10" fmla="*/ 135731 w 247650"/>
                <a:gd name="connsiteY10" fmla="*/ 218772 h 228600"/>
                <a:gd name="connsiteX11" fmla="*/ 175736 w 247650"/>
                <a:gd name="connsiteY11" fmla="*/ 199722 h 228600"/>
                <a:gd name="connsiteX12" fmla="*/ 195739 w 247650"/>
                <a:gd name="connsiteY12" fmla="*/ 202580 h 228600"/>
                <a:gd name="connsiteX13" fmla="*/ 205264 w 247650"/>
                <a:gd name="connsiteY13" fmla="*/ 172100 h 228600"/>
                <a:gd name="connsiteX14" fmla="*/ 242411 w 247650"/>
                <a:gd name="connsiteY14" fmla="*/ 101615 h 228600"/>
                <a:gd name="connsiteX15" fmla="*/ 124301 w 247650"/>
                <a:gd name="connsiteY15" fmla="*/ 16842 h 228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47650" h="228600">
                  <a:moveTo>
                    <a:pt x="124301" y="16842"/>
                  </a:moveTo>
                  <a:cubicBezTo>
                    <a:pt x="120491" y="18747"/>
                    <a:pt x="115729" y="21605"/>
                    <a:pt x="112871" y="25415"/>
                  </a:cubicBezTo>
                  <a:cubicBezTo>
                    <a:pt x="87154" y="53990"/>
                    <a:pt x="73819" y="79707"/>
                    <a:pt x="67151" y="101615"/>
                  </a:cubicBezTo>
                  <a:cubicBezTo>
                    <a:pt x="57626" y="115902"/>
                    <a:pt x="48101" y="135905"/>
                    <a:pt x="25241" y="148287"/>
                  </a:cubicBezTo>
                  <a:cubicBezTo>
                    <a:pt x="15716" y="153050"/>
                    <a:pt x="7144" y="157812"/>
                    <a:pt x="7144" y="157812"/>
                  </a:cubicBezTo>
                  <a:cubicBezTo>
                    <a:pt x="8096" y="163527"/>
                    <a:pt x="74771" y="236870"/>
                    <a:pt x="89059" y="227345"/>
                  </a:cubicBezTo>
                  <a:cubicBezTo>
                    <a:pt x="90011" y="226392"/>
                    <a:pt x="90964" y="225440"/>
                    <a:pt x="90964" y="224487"/>
                  </a:cubicBezTo>
                  <a:cubicBezTo>
                    <a:pt x="92869" y="221630"/>
                    <a:pt x="98584" y="215915"/>
                    <a:pt x="110966" y="209247"/>
                  </a:cubicBezTo>
                  <a:cubicBezTo>
                    <a:pt x="110966" y="209247"/>
                    <a:pt x="111919" y="210200"/>
                    <a:pt x="111919" y="210200"/>
                  </a:cubicBezTo>
                  <a:lnTo>
                    <a:pt x="111919" y="210200"/>
                  </a:lnTo>
                  <a:cubicBezTo>
                    <a:pt x="118586" y="214010"/>
                    <a:pt x="125254" y="216867"/>
                    <a:pt x="135731" y="218772"/>
                  </a:cubicBezTo>
                  <a:cubicBezTo>
                    <a:pt x="146209" y="220677"/>
                    <a:pt x="159544" y="212105"/>
                    <a:pt x="175736" y="199722"/>
                  </a:cubicBezTo>
                  <a:cubicBezTo>
                    <a:pt x="184309" y="202580"/>
                    <a:pt x="192881" y="208295"/>
                    <a:pt x="195739" y="202580"/>
                  </a:cubicBezTo>
                  <a:cubicBezTo>
                    <a:pt x="196691" y="193055"/>
                    <a:pt x="204311" y="178767"/>
                    <a:pt x="205264" y="172100"/>
                  </a:cubicBezTo>
                  <a:cubicBezTo>
                    <a:pt x="225266" y="149240"/>
                    <a:pt x="239554" y="124475"/>
                    <a:pt x="242411" y="101615"/>
                  </a:cubicBezTo>
                  <a:cubicBezTo>
                    <a:pt x="248126" y="53990"/>
                    <a:pt x="174784" y="-19353"/>
                    <a:pt x="124301" y="16842"/>
                  </a:cubicBezTo>
                  <a:close/>
                </a:path>
              </a:pathLst>
            </a:custGeom>
            <a:solidFill>
              <a:srgbClr val="EAB6AC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08" name="任意多边形: 形状 9807">
              <a:extLst>
                <a:ext uri="{FF2B5EF4-FFF2-40B4-BE49-F238E27FC236}">
                  <a16:creationId xmlns:a16="http://schemas.microsoft.com/office/drawing/2014/main" id="{93E222BB-59A8-4BDD-B345-F0039559DD7D}"/>
                </a:ext>
              </a:extLst>
            </p:cNvPr>
            <p:cNvSpPr/>
            <p:nvPr/>
          </p:nvSpPr>
          <p:spPr>
            <a:xfrm flipH="1">
              <a:off x="9277862" y="1059195"/>
              <a:ext cx="731434" cy="445221"/>
            </a:xfrm>
            <a:custGeom>
              <a:avLst/>
              <a:gdLst>
                <a:gd name="connsiteX0" fmla="*/ 108109 w 219075"/>
                <a:gd name="connsiteY0" fmla="*/ 10083 h 133350"/>
                <a:gd name="connsiteX1" fmla="*/ 180499 w 219075"/>
                <a:gd name="connsiteY1" fmla="*/ 28181 h 133350"/>
                <a:gd name="connsiteX2" fmla="*/ 215741 w 219075"/>
                <a:gd name="connsiteY2" fmla="*/ 95808 h 133350"/>
                <a:gd name="connsiteX3" fmla="*/ 200501 w 219075"/>
                <a:gd name="connsiteY3" fmla="*/ 132956 h 133350"/>
                <a:gd name="connsiteX4" fmla="*/ 183356 w 219075"/>
                <a:gd name="connsiteY4" fmla="*/ 118668 h 133350"/>
                <a:gd name="connsiteX5" fmla="*/ 150971 w 219075"/>
                <a:gd name="connsiteY5" fmla="*/ 110096 h 133350"/>
                <a:gd name="connsiteX6" fmla="*/ 124301 w 219075"/>
                <a:gd name="connsiteY6" fmla="*/ 124383 h 133350"/>
                <a:gd name="connsiteX7" fmla="*/ 80486 w 219075"/>
                <a:gd name="connsiteY7" fmla="*/ 121526 h 133350"/>
                <a:gd name="connsiteX8" fmla="*/ 7144 w 219075"/>
                <a:gd name="connsiteY8" fmla="*/ 132956 h 133350"/>
                <a:gd name="connsiteX9" fmla="*/ 34766 w 219075"/>
                <a:gd name="connsiteY9" fmla="*/ 56756 h 133350"/>
                <a:gd name="connsiteX10" fmla="*/ 108109 w 219075"/>
                <a:gd name="connsiteY10" fmla="*/ 10083 h 133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19075" h="133350">
                  <a:moveTo>
                    <a:pt x="108109" y="10083"/>
                  </a:moveTo>
                  <a:cubicBezTo>
                    <a:pt x="123349" y="4368"/>
                    <a:pt x="152876" y="5321"/>
                    <a:pt x="180499" y="28181"/>
                  </a:cubicBezTo>
                  <a:cubicBezTo>
                    <a:pt x="208121" y="50088"/>
                    <a:pt x="212884" y="63423"/>
                    <a:pt x="215741" y="95808"/>
                  </a:cubicBezTo>
                  <a:cubicBezTo>
                    <a:pt x="217646" y="112953"/>
                    <a:pt x="200501" y="132956"/>
                    <a:pt x="200501" y="132956"/>
                  </a:cubicBezTo>
                  <a:cubicBezTo>
                    <a:pt x="200501" y="132956"/>
                    <a:pt x="191929" y="122478"/>
                    <a:pt x="183356" y="118668"/>
                  </a:cubicBezTo>
                  <a:cubicBezTo>
                    <a:pt x="175736" y="114858"/>
                    <a:pt x="169069" y="104381"/>
                    <a:pt x="150971" y="110096"/>
                  </a:cubicBezTo>
                  <a:cubicBezTo>
                    <a:pt x="135731" y="114858"/>
                    <a:pt x="124301" y="124383"/>
                    <a:pt x="124301" y="124383"/>
                  </a:cubicBezTo>
                  <a:cubicBezTo>
                    <a:pt x="124301" y="124383"/>
                    <a:pt x="88106" y="112953"/>
                    <a:pt x="80486" y="121526"/>
                  </a:cubicBezTo>
                  <a:cubicBezTo>
                    <a:pt x="72866" y="130098"/>
                    <a:pt x="7144" y="132956"/>
                    <a:pt x="7144" y="132956"/>
                  </a:cubicBezTo>
                  <a:cubicBezTo>
                    <a:pt x="7144" y="132956"/>
                    <a:pt x="23336" y="81521"/>
                    <a:pt x="34766" y="56756"/>
                  </a:cubicBezTo>
                  <a:cubicBezTo>
                    <a:pt x="62389" y="-394"/>
                    <a:pt x="104299" y="11988"/>
                    <a:pt x="108109" y="10083"/>
                  </a:cubicBezTo>
                  <a:close/>
                </a:path>
              </a:pathLst>
            </a:custGeom>
            <a:solidFill>
              <a:schemeClr val="accent1">
                <a:lumMod val="5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09" name="任意多边形: 形状 9808">
              <a:extLst>
                <a:ext uri="{FF2B5EF4-FFF2-40B4-BE49-F238E27FC236}">
                  <a16:creationId xmlns:a16="http://schemas.microsoft.com/office/drawing/2014/main" id="{009052A6-62B2-4511-96B3-15D72F2EE113}"/>
                </a:ext>
              </a:extLst>
            </p:cNvPr>
            <p:cNvSpPr/>
            <p:nvPr/>
          </p:nvSpPr>
          <p:spPr>
            <a:xfrm flipH="1">
              <a:off x="9252420" y="1078550"/>
              <a:ext cx="381618" cy="477021"/>
            </a:xfrm>
            <a:custGeom>
              <a:avLst/>
              <a:gdLst>
                <a:gd name="connsiteX0" fmla="*/ 40481 w 114300"/>
                <a:gd name="connsiteY0" fmla="*/ 105251 h 142875"/>
                <a:gd name="connsiteX1" fmla="*/ 72866 w 114300"/>
                <a:gd name="connsiteY1" fmla="*/ 113824 h 142875"/>
                <a:gd name="connsiteX2" fmla="*/ 91916 w 114300"/>
                <a:gd name="connsiteY2" fmla="*/ 138589 h 142875"/>
                <a:gd name="connsiteX3" fmla="*/ 114776 w 114300"/>
                <a:gd name="connsiteY3" fmla="*/ 111919 h 142875"/>
                <a:gd name="connsiteX4" fmla="*/ 69056 w 114300"/>
                <a:gd name="connsiteY4" fmla="*/ 24289 h 142875"/>
                <a:gd name="connsiteX5" fmla="*/ 36671 w 114300"/>
                <a:gd name="connsiteY5" fmla="*/ 7144 h 142875"/>
                <a:gd name="connsiteX6" fmla="*/ 7144 w 114300"/>
                <a:gd name="connsiteY6" fmla="*/ 118586 h 142875"/>
                <a:gd name="connsiteX7" fmla="*/ 13811 w 114300"/>
                <a:gd name="connsiteY7" fmla="*/ 120491 h 142875"/>
                <a:gd name="connsiteX8" fmla="*/ 40481 w 114300"/>
                <a:gd name="connsiteY8" fmla="*/ 105251 h 14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42875">
                  <a:moveTo>
                    <a:pt x="40481" y="105251"/>
                  </a:moveTo>
                  <a:cubicBezTo>
                    <a:pt x="58579" y="99536"/>
                    <a:pt x="64294" y="110966"/>
                    <a:pt x="72866" y="113824"/>
                  </a:cubicBezTo>
                  <a:cubicBezTo>
                    <a:pt x="80486" y="117634"/>
                    <a:pt x="91916" y="138589"/>
                    <a:pt x="91916" y="138589"/>
                  </a:cubicBezTo>
                  <a:cubicBezTo>
                    <a:pt x="91916" y="138589"/>
                    <a:pt x="116681" y="128111"/>
                    <a:pt x="114776" y="111919"/>
                  </a:cubicBezTo>
                  <a:cubicBezTo>
                    <a:pt x="111919" y="78581"/>
                    <a:pt x="96679" y="46196"/>
                    <a:pt x="69056" y="24289"/>
                  </a:cubicBezTo>
                  <a:cubicBezTo>
                    <a:pt x="57626" y="15716"/>
                    <a:pt x="47149" y="10001"/>
                    <a:pt x="36671" y="7144"/>
                  </a:cubicBezTo>
                  <a:cubicBezTo>
                    <a:pt x="46196" y="22384"/>
                    <a:pt x="59531" y="56674"/>
                    <a:pt x="7144" y="118586"/>
                  </a:cubicBezTo>
                  <a:cubicBezTo>
                    <a:pt x="17621" y="120491"/>
                    <a:pt x="13811" y="120491"/>
                    <a:pt x="13811" y="120491"/>
                  </a:cubicBezTo>
                  <a:cubicBezTo>
                    <a:pt x="13811" y="120491"/>
                    <a:pt x="24289" y="109061"/>
                    <a:pt x="40481" y="105251"/>
                  </a:cubicBezTo>
                  <a:close/>
                </a:path>
              </a:pathLst>
            </a:custGeom>
            <a:solidFill>
              <a:srgbClr val="5E1C1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10" name="任意多边形: 形状 9809">
              <a:extLst>
                <a:ext uri="{FF2B5EF4-FFF2-40B4-BE49-F238E27FC236}">
                  <a16:creationId xmlns:a16="http://schemas.microsoft.com/office/drawing/2014/main" id="{6EB2B0FD-38F7-4B10-96EC-5ACE82E030F8}"/>
                </a:ext>
              </a:extLst>
            </p:cNvPr>
            <p:cNvSpPr/>
            <p:nvPr/>
          </p:nvSpPr>
          <p:spPr>
            <a:xfrm flipH="1">
              <a:off x="9199565" y="1028174"/>
              <a:ext cx="763235" cy="572427"/>
            </a:xfrm>
            <a:custGeom>
              <a:avLst/>
              <a:gdLst>
                <a:gd name="connsiteX0" fmla="*/ 181812 w 228600"/>
                <a:gd name="connsiteY0" fmla="*/ 166060 h 171450"/>
                <a:gd name="connsiteX1" fmla="*/ 97039 w 228600"/>
                <a:gd name="connsiteY1" fmla="*/ 114625 h 171450"/>
                <a:gd name="connsiteX2" fmla="*/ 17029 w 228600"/>
                <a:gd name="connsiteY2" fmla="*/ 100337 h 171450"/>
                <a:gd name="connsiteX3" fmla="*/ 15125 w 228600"/>
                <a:gd name="connsiteY3" fmla="*/ 77477 h 171450"/>
                <a:gd name="connsiteX4" fmla="*/ 96087 w 228600"/>
                <a:gd name="connsiteY4" fmla="*/ 7945 h 171450"/>
                <a:gd name="connsiteX5" fmla="*/ 224675 w 228600"/>
                <a:gd name="connsiteY5" fmla="*/ 112720 h 171450"/>
                <a:gd name="connsiteX6" fmla="*/ 181812 w 228600"/>
                <a:gd name="connsiteY6" fmla="*/ 166060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28600" h="171450">
                  <a:moveTo>
                    <a:pt x="181812" y="166060"/>
                  </a:moveTo>
                  <a:cubicBezTo>
                    <a:pt x="147522" y="135580"/>
                    <a:pt x="97039" y="114625"/>
                    <a:pt x="97039" y="114625"/>
                  </a:cubicBezTo>
                  <a:cubicBezTo>
                    <a:pt x="97039" y="114625"/>
                    <a:pt x="30364" y="108910"/>
                    <a:pt x="17029" y="100337"/>
                  </a:cubicBezTo>
                  <a:cubicBezTo>
                    <a:pt x="3695" y="91765"/>
                    <a:pt x="4647" y="76525"/>
                    <a:pt x="15125" y="77477"/>
                  </a:cubicBezTo>
                  <a:cubicBezTo>
                    <a:pt x="25602" y="78430"/>
                    <a:pt x="16077" y="19375"/>
                    <a:pt x="96087" y="7945"/>
                  </a:cubicBezTo>
                  <a:cubicBezTo>
                    <a:pt x="157047" y="-628"/>
                    <a:pt x="242772" y="61285"/>
                    <a:pt x="224675" y="112720"/>
                  </a:cubicBezTo>
                  <a:cubicBezTo>
                    <a:pt x="205625" y="164155"/>
                    <a:pt x="181812" y="166060"/>
                    <a:pt x="181812" y="166060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11" name="任意多边形: 形状 9810">
              <a:extLst>
                <a:ext uri="{FF2B5EF4-FFF2-40B4-BE49-F238E27FC236}">
                  <a16:creationId xmlns:a16="http://schemas.microsoft.com/office/drawing/2014/main" id="{A514A0F5-4E68-40A3-9285-A4B5B2602B0D}"/>
                </a:ext>
              </a:extLst>
            </p:cNvPr>
            <p:cNvSpPr/>
            <p:nvPr/>
          </p:nvSpPr>
          <p:spPr>
            <a:xfrm flipH="1">
              <a:off x="9648035" y="1380119"/>
              <a:ext cx="159007" cy="190810"/>
            </a:xfrm>
            <a:custGeom>
              <a:avLst/>
              <a:gdLst>
                <a:gd name="connsiteX0" fmla="*/ 48483 w 47625"/>
                <a:gd name="connsiteY0" fmla="*/ 28262 h 57150"/>
                <a:gd name="connsiteX1" fmla="*/ 31338 w 47625"/>
                <a:gd name="connsiteY1" fmla="*/ 7307 h 57150"/>
                <a:gd name="connsiteX2" fmla="*/ 8478 w 47625"/>
                <a:gd name="connsiteY2" fmla="*/ 48265 h 57150"/>
                <a:gd name="connsiteX3" fmla="*/ 48483 w 47625"/>
                <a:gd name="connsiteY3" fmla="*/ 28262 h 57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625" h="57150">
                  <a:moveTo>
                    <a:pt x="48483" y="28262"/>
                  </a:moveTo>
                  <a:cubicBezTo>
                    <a:pt x="46578" y="20642"/>
                    <a:pt x="40863" y="5402"/>
                    <a:pt x="31338" y="7307"/>
                  </a:cubicBezTo>
                  <a:cubicBezTo>
                    <a:pt x="21813" y="10165"/>
                    <a:pt x="1811" y="33025"/>
                    <a:pt x="8478" y="48265"/>
                  </a:cubicBezTo>
                  <a:cubicBezTo>
                    <a:pt x="15146" y="64457"/>
                    <a:pt x="48483" y="28262"/>
                    <a:pt x="48483" y="28262"/>
                  </a:cubicBezTo>
                  <a:close/>
                </a:path>
              </a:pathLst>
            </a:custGeom>
            <a:solidFill>
              <a:srgbClr val="EAB6AC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12" name="任意多边形: 形状 9811">
              <a:extLst>
                <a:ext uri="{FF2B5EF4-FFF2-40B4-BE49-F238E27FC236}">
                  <a16:creationId xmlns:a16="http://schemas.microsoft.com/office/drawing/2014/main" id="{444B9F91-6B0C-4DE4-B853-570A0B04BC78}"/>
                </a:ext>
              </a:extLst>
            </p:cNvPr>
            <p:cNvSpPr/>
            <p:nvPr/>
          </p:nvSpPr>
          <p:spPr>
            <a:xfrm flipH="1">
              <a:off x="9510699" y="1021400"/>
              <a:ext cx="445221" cy="413420"/>
            </a:xfrm>
            <a:custGeom>
              <a:avLst/>
              <a:gdLst>
                <a:gd name="connsiteX0" fmla="*/ 88311 w 133350"/>
                <a:gd name="connsiteY0" fmla="*/ 9021 h 123825"/>
                <a:gd name="connsiteX1" fmla="*/ 132126 w 133350"/>
                <a:gd name="connsiteY1" fmla="*/ 11878 h 123825"/>
                <a:gd name="connsiteX2" fmla="*/ 127364 w 133350"/>
                <a:gd name="connsiteY2" fmla="*/ 119511 h 123825"/>
                <a:gd name="connsiteX3" fmla="*/ 39734 w 133350"/>
                <a:gd name="connsiteY3" fmla="*/ 99508 h 123825"/>
                <a:gd name="connsiteX4" fmla="*/ 7349 w 133350"/>
                <a:gd name="connsiteY4" fmla="*/ 78553 h 123825"/>
                <a:gd name="connsiteX5" fmla="*/ 88311 w 133350"/>
                <a:gd name="connsiteY5" fmla="*/ 9021 h 1238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33350" h="123825">
                  <a:moveTo>
                    <a:pt x="88311" y="9021"/>
                  </a:moveTo>
                  <a:cubicBezTo>
                    <a:pt x="107361" y="6163"/>
                    <a:pt x="108314" y="6163"/>
                    <a:pt x="132126" y="11878"/>
                  </a:cubicBezTo>
                  <a:cubicBezTo>
                    <a:pt x="123554" y="45216"/>
                    <a:pt x="120696" y="111891"/>
                    <a:pt x="127364" y="119511"/>
                  </a:cubicBezTo>
                  <a:cubicBezTo>
                    <a:pt x="83549" y="98556"/>
                    <a:pt x="58784" y="102366"/>
                    <a:pt x="39734" y="99508"/>
                  </a:cubicBezTo>
                  <a:cubicBezTo>
                    <a:pt x="16874" y="95698"/>
                    <a:pt x="5444" y="91888"/>
                    <a:pt x="7349" y="78553"/>
                  </a:cubicBezTo>
                  <a:cubicBezTo>
                    <a:pt x="18779" y="79506"/>
                    <a:pt x="9254" y="20451"/>
                    <a:pt x="88311" y="9021"/>
                  </a:cubicBezTo>
                  <a:close/>
                </a:path>
              </a:pathLst>
            </a:custGeom>
            <a:solidFill>
              <a:schemeClr val="accent6">
                <a:lumMod val="40000"/>
                <a:lumOff val="6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13" name="任意多边形: 形状 9812">
              <a:extLst>
                <a:ext uri="{FF2B5EF4-FFF2-40B4-BE49-F238E27FC236}">
                  <a16:creationId xmlns:a16="http://schemas.microsoft.com/office/drawing/2014/main" id="{BA71F2E8-F0A6-4008-AB23-2F814DCD858A}"/>
                </a:ext>
              </a:extLst>
            </p:cNvPr>
            <p:cNvSpPr/>
            <p:nvPr/>
          </p:nvSpPr>
          <p:spPr>
            <a:xfrm flipH="1">
              <a:off x="9420970" y="1514232"/>
              <a:ext cx="413420" cy="349817"/>
            </a:xfrm>
            <a:custGeom>
              <a:avLst/>
              <a:gdLst>
                <a:gd name="connsiteX0" fmla="*/ 122396 w 123825"/>
                <a:gd name="connsiteY0" fmla="*/ 41434 h 104775"/>
                <a:gd name="connsiteX1" fmla="*/ 71914 w 123825"/>
                <a:gd name="connsiteY1" fmla="*/ 7144 h 104775"/>
                <a:gd name="connsiteX2" fmla="*/ 42386 w 123825"/>
                <a:gd name="connsiteY2" fmla="*/ 39529 h 104775"/>
                <a:gd name="connsiteX3" fmla="*/ 7144 w 123825"/>
                <a:gd name="connsiteY3" fmla="*/ 37624 h 104775"/>
                <a:gd name="connsiteX4" fmla="*/ 22384 w 123825"/>
                <a:gd name="connsiteY4" fmla="*/ 84296 h 104775"/>
                <a:gd name="connsiteX5" fmla="*/ 95726 w 123825"/>
                <a:gd name="connsiteY5" fmla="*/ 101441 h 104775"/>
                <a:gd name="connsiteX6" fmla="*/ 122396 w 123825"/>
                <a:gd name="connsiteY6" fmla="*/ 41434 h 104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3825" h="104775">
                  <a:moveTo>
                    <a:pt x="122396" y="41434"/>
                  </a:moveTo>
                  <a:cubicBezTo>
                    <a:pt x="122396" y="41434"/>
                    <a:pt x="76676" y="14764"/>
                    <a:pt x="71914" y="7144"/>
                  </a:cubicBezTo>
                  <a:cubicBezTo>
                    <a:pt x="55721" y="11906"/>
                    <a:pt x="58579" y="35719"/>
                    <a:pt x="42386" y="39529"/>
                  </a:cubicBezTo>
                  <a:cubicBezTo>
                    <a:pt x="26194" y="44291"/>
                    <a:pt x="7144" y="37624"/>
                    <a:pt x="7144" y="37624"/>
                  </a:cubicBezTo>
                  <a:cubicBezTo>
                    <a:pt x="7144" y="37624"/>
                    <a:pt x="13811" y="67151"/>
                    <a:pt x="22384" y="84296"/>
                  </a:cubicBezTo>
                  <a:cubicBezTo>
                    <a:pt x="30956" y="101441"/>
                    <a:pt x="71914" y="110966"/>
                    <a:pt x="95726" y="101441"/>
                  </a:cubicBezTo>
                  <a:cubicBezTo>
                    <a:pt x="118586" y="91916"/>
                    <a:pt x="122396" y="41434"/>
                    <a:pt x="122396" y="41434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14" name="任意多边形: 形状 9813">
              <a:extLst>
                <a:ext uri="{FF2B5EF4-FFF2-40B4-BE49-F238E27FC236}">
                  <a16:creationId xmlns:a16="http://schemas.microsoft.com/office/drawing/2014/main" id="{D856207C-57F3-4124-ADCF-92A51D6B439B}"/>
                </a:ext>
              </a:extLst>
            </p:cNvPr>
            <p:cNvSpPr/>
            <p:nvPr/>
          </p:nvSpPr>
          <p:spPr>
            <a:xfrm flipH="1">
              <a:off x="9757701" y="1197458"/>
              <a:ext cx="190810" cy="540624"/>
            </a:xfrm>
            <a:custGeom>
              <a:avLst/>
              <a:gdLst>
                <a:gd name="connsiteX0" fmla="*/ 48945 w 57150"/>
                <a:gd name="connsiteY0" fmla="*/ 136312 h 161925"/>
                <a:gd name="connsiteX1" fmla="*/ 12750 w 57150"/>
                <a:gd name="connsiteY1" fmla="*/ 7724 h 161925"/>
                <a:gd name="connsiteX2" fmla="*/ 7987 w 57150"/>
                <a:gd name="connsiteY2" fmla="*/ 20107 h 161925"/>
                <a:gd name="connsiteX3" fmla="*/ 48945 w 57150"/>
                <a:gd name="connsiteY3" fmla="*/ 155362 h 161925"/>
                <a:gd name="connsiteX4" fmla="*/ 48945 w 57150"/>
                <a:gd name="connsiteY4" fmla="*/ 136312 h 161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161925">
                  <a:moveTo>
                    <a:pt x="48945" y="136312"/>
                  </a:moveTo>
                  <a:cubicBezTo>
                    <a:pt x="49897" y="127739"/>
                    <a:pt x="13703" y="26774"/>
                    <a:pt x="12750" y="7724"/>
                  </a:cubicBezTo>
                  <a:cubicBezTo>
                    <a:pt x="4178" y="3914"/>
                    <a:pt x="7987" y="20107"/>
                    <a:pt x="7987" y="20107"/>
                  </a:cubicBezTo>
                  <a:cubicBezTo>
                    <a:pt x="7987" y="20107"/>
                    <a:pt x="40372" y="150599"/>
                    <a:pt x="48945" y="155362"/>
                  </a:cubicBezTo>
                  <a:cubicBezTo>
                    <a:pt x="56565" y="160124"/>
                    <a:pt x="48945" y="136312"/>
                    <a:pt x="48945" y="136312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15" name="任意多边形: 形状 9814">
              <a:extLst>
                <a:ext uri="{FF2B5EF4-FFF2-40B4-BE49-F238E27FC236}">
                  <a16:creationId xmlns:a16="http://schemas.microsoft.com/office/drawing/2014/main" id="{2A26DB85-505B-4502-AF34-AB61311ADA7B}"/>
                </a:ext>
              </a:extLst>
            </p:cNvPr>
            <p:cNvSpPr/>
            <p:nvPr/>
          </p:nvSpPr>
          <p:spPr>
            <a:xfrm flipH="1">
              <a:off x="9589516" y="1013647"/>
              <a:ext cx="95405" cy="572427"/>
            </a:xfrm>
            <a:custGeom>
              <a:avLst/>
              <a:gdLst>
                <a:gd name="connsiteX0" fmla="*/ 27146 w 28575"/>
                <a:gd name="connsiteY0" fmla="*/ 157075 h 171450"/>
                <a:gd name="connsiteX1" fmla="*/ 14764 w 28575"/>
                <a:gd name="connsiteY1" fmla="*/ 7533 h 171450"/>
                <a:gd name="connsiteX2" fmla="*/ 7144 w 28575"/>
                <a:gd name="connsiteY2" fmla="*/ 11343 h 171450"/>
                <a:gd name="connsiteX3" fmla="*/ 21431 w 28575"/>
                <a:gd name="connsiteY3" fmla="*/ 167553 h 171450"/>
                <a:gd name="connsiteX4" fmla="*/ 27146 w 28575"/>
                <a:gd name="connsiteY4" fmla="*/ 157075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8575" h="171450">
                  <a:moveTo>
                    <a:pt x="27146" y="157075"/>
                  </a:moveTo>
                  <a:cubicBezTo>
                    <a:pt x="26194" y="149455"/>
                    <a:pt x="17621" y="8485"/>
                    <a:pt x="14764" y="7533"/>
                  </a:cubicBezTo>
                  <a:cubicBezTo>
                    <a:pt x="12859" y="5628"/>
                    <a:pt x="7144" y="11343"/>
                    <a:pt x="7144" y="11343"/>
                  </a:cubicBezTo>
                  <a:cubicBezTo>
                    <a:pt x="7144" y="11343"/>
                    <a:pt x="19526" y="163743"/>
                    <a:pt x="21431" y="167553"/>
                  </a:cubicBezTo>
                  <a:cubicBezTo>
                    <a:pt x="24289" y="171363"/>
                    <a:pt x="27146" y="157075"/>
                    <a:pt x="27146" y="157075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16" name="任意多边形: 形状 9815">
              <a:extLst>
                <a:ext uri="{FF2B5EF4-FFF2-40B4-BE49-F238E27FC236}">
                  <a16:creationId xmlns:a16="http://schemas.microsoft.com/office/drawing/2014/main" id="{032F4BE9-A083-427B-A539-5CFEB18B2E15}"/>
                </a:ext>
              </a:extLst>
            </p:cNvPr>
            <p:cNvSpPr/>
            <p:nvPr/>
          </p:nvSpPr>
          <p:spPr>
            <a:xfrm flipH="1">
              <a:off x="9336426" y="1444268"/>
              <a:ext cx="254413" cy="222611"/>
            </a:xfrm>
            <a:custGeom>
              <a:avLst/>
              <a:gdLst>
                <a:gd name="connsiteX0" fmla="*/ 15159 w 76200"/>
                <a:gd name="connsiteY0" fmla="*/ 7144 h 66675"/>
                <a:gd name="connsiteX1" fmla="*/ 14206 w 76200"/>
                <a:gd name="connsiteY1" fmla="*/ 47149 h 66675"/>
                <a:gd name="connsiteX2" fmla="*/ 47544 w 76200"/>
                <a:gd name="connsiteY2" fmla="*/ 47149 h 66675"/>
                <a:gd name="connsiteX3" fmla="*/ 46592 w 76200"/>
                <a:gd name="connsiteY3" fmla="*/ 67151 h 66675"/>
                <a:gd name="connsiteX4" fmla="*/ 73262 w 76200"/>
                <a:gd name="connsiteY4" fmla="*/ 48101 h 66675"/>
                <a:gd name="connsiteX5" fmla="*/ 15159 w 76200"/>
                <a:gd name="connsiteY5" fmla="*/ 7144 h 66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6200" h="66675">
                  <a:moveTo>
                    <a:pt x="15159" y="7144"/>
                  </a:moveTo>
                  <a:cubicBezTo>
                    <a:pt x="5634" y="13811"/>
                    <a:pt x="3729" y="37624"/>
                    <a:pt x="14206" y="47149"/>
                  </a:cubicBezTo>
                  <a:cubicBezTo>
                    <a:pt x="28494" y="61436"/>
                    <a:pt x="47544" y="47149"/>
                    <a:pt x="47544" y="47149"/>
                  </a:cubicBezTo>
                  <a:cubicBezTo>
                    <a:pt x="47544" y="47149"/>
                    <a:pt x="40877" y="62389"/>
                    <a:pt x="46592" y="67151"/>
                  </a:cubicBezTo>
                  <a:cubicBezTo>
                    <a:pt x="57069" y="75724"/>
                    <a:pt x="73262" y="48101"/>
                    <a:pt x="73262" y="48101"/>
                  </a:cubicBezTo>
                  <a:lnTo>
                    <a:pt x="15159" y="7144"/>
                  </a:lnTo>
                  <a:close/>
                </a:path>
              </a:pathLst>
            </a:custGeom>
            <a:solidFill>
              <a:srgbClr val="FFFFFF">
                <a:alpha val="55000"/>
              </a:srgb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17" name="任意多边形: 形状 9816">
              <a:extLst>
                <a:ext uri="{FF2B5EF4-FFF2-40B4-BE49-F238E27FC236}">
                  <a16:creationId xmlns:a16="http://schemas.microsoft.com/office/drawing/2014/main" id="{92F3257D-7AD0-4098-A1AB-644C7A221EBB}"/>
                </a:ext>
              </a:extLst>
            </p:cNvPr>
            <p:cNvSpPr/>
            <p:nvPr/>
          </p:nvSpPr>
          <p:spPr>
            <a:xfrm flipH="1">
              <a:off x="9294608" y="1367945"/>
              <a:ext cx="445221" cy="254413"/>
            </a:xfrm>
            <a:custGeom>
              <a:avLst/>
              <a:gdLst>
                <a:gd name="connsiteX0" fmla="*/ 122650 w 133350"/>
                <a:gd name="connsiteY0" fmla="*/ 74771 h 76200"/>
                <a:gd name="connsiteX1" fmla="*/ 64547 w 133350"/>
                <a:gd name="connsiteY1" fmla="*/ 32861 h 76200"/>
                <a:gd name="connsiteX2" fmla="*/ 64547 w 133350"/>
                <a:gd name="connsiteY2" fmla="*/ 32861 h 76200"/>
                <a:gd name="connsiteX3" fmla="*/ 15017 w 133350"/>
                <a:gd name="connsiteY3" fmla="*/ 14764 h 76200"/>
                <a:gd name="connsiteX4" fmla="*/ 15017 w 133350"/>
                <a:gd name="connsiteY4" fmla="*/ 14764 h 76200"/>
                <a:gd name="connsiteX5" fmla="*/ 12160 w 133350"/>
                <a:gd name="connsiteY5" fmla="*/ 14764 h 76200"/>
                <a:gd name="connsiteX6" fmla="*/ 12160 w 133350"/>
                <a:gd name="connsiteY6" fmla="*/ 14764 h 76200"/>
                <a:gd name="connsiteX7" fmla="*/ 12160 w 133350"/>
                <a:gd name="connsiteY7" fmla="*/ 14764 h 76200"/>
                <a:gd name="connsiteX8" fmla="*/ 7397 w 133350"/>
                <a:gd name="connsiteY8" fmla="*/ 11906 h 76200"/>
                <a:gd name="connsiteX9" fmla="*/ 7397 w 133350"/>
                <a:gd name="connsiteY9" fmla="*/ 11906 h 76200"/>
                <a:gd name="connsiteX10" fmla="*/ 10255 w 133350"/>
                <a:gd name="connsiteY10" fmla="*/ 7144 h 76200"/>
                <a:gd name="connsiteX11" fmla="*/ 10255 w 133350"/>
                <a:gd name="connsiteY11" fmla="*/ 7144 h 76200"/>
                <a:gd name="connsiteX12" fmla="*/ 14065 w 133350"/>
                <a:gd name="connsiteY12" fmla="*/ 7144 h 76200"/>
                <a:gd name="connsiteX13" fmla="*/ 14065 w 133350"/>
                <a:gd name="connsiteY13" fmla="*/ 7144 h 76200"/>
                <a:gd name="connsiteX14" fmla="*/ 68357 w 133350"/>
                <a:gd name="connsiteY14" fmla="*/ 27146 h 76200"/>
                <a:gd name="connsiteX15" fmla="*/ 68357 w 133350"/>
                <a:gd name="connsiteY15" fmla="*/ 27146 h 76200"/>
                <a:gd name="connsiteX16" fmla="*/ 126460 w 133350"/>
                <a:gd name="connsiteY16" fmla="*/ 69056 h 76200"/>
                <a:gd name="connsiteX17" fmla="*/ 126460 w 133350"/>
                <a:gd name="connsiteY17" fmla="*/ 69056 h 76200"/>
                <a:gd name="connsiteX18" fmla="*/ 127412 w 133350"/>
                <a:gd name="connsiteY18" fmla="*/ 73819 h 76200"/>
                <a:gd name="connsiteX19" fmla="*/ 127412 w 133350"/>
                <a:gd name="connsiteY19" fmla="*/ 73819 h 76200"/>
                <a:gd name="connsiteX20" fmla="*/ 124555 w 133350"/>
                <a:gd name="connsiteY20" fmla="*/ 75724 h 76200"/>
                <a:gd name="connsiteX21" fmla="*/ 124555 w 133350"/>
                <a:gd name="connsiteY21" fmla="*/ 75724 h 76200"/>
                <a:gd name="connsiteX22" fmla="*/ 122650 w 133350"/>
                <a:gd name="connsiteY22" fmla="*/ 74771 h 76200"/>
                <a:gd name="connsiteX23" fmla="*/ 122650 w 133350"/>
                <a:gd name="connsiteY23" fmla="*/ 74771 h 76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33350" h="76200">
                  <a:moveTo>
                    <a:pt x="122650" y="74771"/>
                  </a:moveTo>
                  <a:cubicBezTo>
                    <a:pt x="110267" y="67151"/>
                    <a:pt x="75977" y="42386"/>
                    <a:pt x="64547" y="32861"/>
                  </a:cubicBezTo>
                  <a:lnTo>
                    <a:pt x="64547" y="32861"/>
                  </a:lnTo>
                  <a:cubicBezTo>
                    <a:pt x="55022" y="25241"/>
                    <a:pt x="26447" y="14764"/>
                    <a:pt x="15017" y="14764"/>
                  </a:cubicBezTo>
                  <a:lnTo>
                    <a:pt x="15017" y="14764"/>
                  </a:lnTo>
                  <a:cubicBezTo>
                    <a:pt x="14065" y="14764"/>
                    <a:pt x="13112" y="14764"/>
                    <a:pt x="12160" y="14764"/>
                  </a:cubicBezTo>
                  <a:lnTo>
                    <a:pt x="12160" y="14764"/>
                  </a:lnTo>
                  <a:lnTo>
                    <a:pt x="12160" y="14764"/>
                  </a:lnTo>
                  <a:cubicBezTo>
                    <a:pt x="10255" y="14764"/>
                    <a:pt x="8350" y="13811"/>
                    <a:pt x="7397" y="11906"/>
                  </a:cubicBezTo>
                  <a:lnTo>
                    <a:pt x="7397" y="11906"/>
                  </a:lnTo>
                  <a:cubicBezTo>
                    <a:pt x="6445" y="10001"/>
                    <a:pt x="8350" y="8096"/>
                    <a:pt x="10255" y="7144"/>
                  </a:cubicBezTo>
                  <a:lnTo>
                    <a:pt x="10255" y="7144"/>
                  </a:lnTo>
                  <a:cubicBezTo>
                    <a:pt x="11207" y="7144"/>
                    <a:pt x="13112" y="7144"/>
                    <a:pt x="14065" y="7144"/>
                  </a:cubicBezTo>
                  <a:lnTo>
                    <a:pt x="14065" y="7144"/>
                  </a:lnTo>
                  <a:cubicBezTo>
                    <a:pt x="28352" y="7144"/>
                    <a:pt x="55975" y="17621"/>
                    <a:pt x="68357" y="27146"/>
                  </a:cubicBezTo>
                  <a:lnTo>
                    <a:pt x="68357" y="27146"/>
                  </a:lnTo>
                  <a:cubicBezTo>
                    <a:pt x="79787" y="36671"/>
                    <a:pt x="115030" y="61436"/>
                    <a:pt x="126460" y="69056"/>
                  </a:cubicBezTo>
                  <a:lnTo>
                    <a:pt x="126460" y="69056"/>
                  </a:lnTo>
                  <a:cubicBezTo>
                    <a:pt x="128365" y="70009"/>
                    <a:pt x="129317" y="72866"/>
                    <a:pt x="127412" y="73819"/>
                  </a:cubicBezTo>
                  <a:lnTo>
                    <a:pt x="127412" y="73819"/>
                  </a:lnTo>
                  <a:cubicBezTo>
                    <a:pt x="126460" y="74771"/>
                    <a:pt x="125507" y="75724"/>
                    <a:pt x="124555" y="75724"/>
                  </a:cubicBezTo>
                  <a:lnTo>
                    <a:pt x="124555" y="75724"/>
                  </a:lnTo>
                  <a:cubicBezTo>
                    <a:pt x="123602" y="75724"/>
                    <a:pt x="122650" y="75724"/>
                    <a:pt x="122650" y="74771"/>
                  </a:cubicBezTo>
                  <a:lnTo>
                    <a:pt x="122650" y="74771"/>
                  </a:ln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18" name="任意多边形: 形状 9817">
              <a:extLst>
                <a:ext uri="{FF2B5EF4-FFF2-40B4-BE49-F238E27FC236}">
                  <a16:creationId xmlns:a16="http://schemas.microsoft.com/office/drawing/2014/main" id="{E00095CE-1186-4118-957C-5862D21743CE}"/>
                </a:ext>
              </a:extLst>
            </p:cNvPr>
            <p:cNvSpPr/>
            <p:nvPr/>
          </p:nvSpPr>
          <p:spPr>
            <a:xfrm flipH="1">
              <a:off x="9326585" y="1588769"/>
              <a:ext cx="190810" cy="127205"/>
            </a:xfrm>
            <a:custGeom>
              <a:avLst/>
              <a:gdLst>
                <a:gd name="connsiteX0" fmla="*/ 7449 w 57150"/>
                <a:gd name="connsiteY0" fmla="*/ 14346 h 38100"/>
                <a:gd name="connsiteX1" fmla="*/ 19831 w 57150"/>
                <a:gd name="connsiteY1" fmla="*/ 7679 h 38100"/>
                <a:gd name="connsiteX2" fmla="*/ 52216 w 57150"/>
                <a:gd name="connsiteY2" fmla="*/ 23871 h 38100"/>
                <a:gd name="connsiteX3" fmla="*/ 52216 w 57150"/>
                <a:gd name="connsiteY3" fmla="*/ 34349 h 38100"/>
                <a:gd name="connsiteX4" fmla="*/ 32214 w 57150"/>
                <a:gd name="connsiteY4" fmla="*/ 26729 h 38100"/>
                <a:gd name="connsiteX5" fmla="*/ 11259 w 57150"/>
                <a:gd name="connsiteY5" fmla="*/ 22919 h 38100"/>
                <a:gd name="connsiteX6" fmla="*/ 7449 w 57150"/>
                <a:gd name="connsiteY6" fmla="*/ 14346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7150" h="38100">
                  <a:moveTo>
                    <a:pt x="7449" y="14346"/>
                  </a:moveTo>
                  <a:cubicBezTo>
                    <a:pt x="7449" y="14346"/>
                    <a:pt x="16021" y="4821"/>
                    <a:pt x="19831" y="7679"/>
                  </a:cubicBezTo>
                  <a:cubicBezTo>
                    <a:pt x="23641" y="9583"/>
                    <a:pt x="48406" y="21966"/>
                    <a:pt x="52216" y="23871"/>
                  </a:cubicBezTo>
                  <a:cubicBezTo>
                    <a:pt x="56026" y="25776"/>
                    <a:pt x="56026" y="33396"/>
                    <a:pt x="52216" y="34349"/>
                  </a:cubicBezTo>
                  <a:cubicBezTo>
                    <a:pt x="48406" y="35301"/>
                    <a:pt x="37929" y="29586"/>
                    <a:pt x="32214" y="26729"/>
                  </a:cubicBezTo>
                  <a:cubicBezTo>
                    <a:pt x="26499" y="23871"/>
                    <a:pt x="17926" y="25776"/>
                    <a:pt x="11259" y="22919"/>
                  </a:cubicBezTo>
                  <a:cubicBezTo>
                    <a:pt x="5544" y="20061"/>
                    <a:pt x="7449" y="14346"/>
                    <a:pt x="7449" y="14346"/>
                  </a:cubicBezTo>
                  <a:close/>
                </a:path>
              </a:pathLst>
            </a:custGeom>
            <a:solidFill>
              <a:schemeClr val="accent1">
                <a:lumMod val="5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19" name="任意多边形: 形状 9818">
              <a:extLst>
                <a:ext uri="{FF2B5EF4-FFF2-40B4-BE49-F238E27FC236}">
                  <a16:creationId xmlns:a16="http://schemas.microsoft.com/office/drawing/2014/main" id="{C4CAE286-78B1-4A91-A6AA-6AB6F80A3CB7}"/>
                </a:ext>
              </a:extLst>
            </p:cNvPr>
            <p:cNvSpPr/>
            <p:nvPr/>
          </p:nvSpPr>
          <p:spPr>
            <a:xfrm flipH="1">
              <a:off x="9360677" y="1615866"/>
              <a:ext cx="159007" cy="190810"/>
            </a:xfrm>
            <a:custGeom>
              <a:avLst/>
              <a:gdLst>
                <a:gd name="connsiteX0" fmla="*/ 38615 w 47625"/>
                <a:gd name="connsiteY0" fmla="*/ 53855 h 57150"/>
                <a:gd name="connsiteX1" fmla="*/ 29090 w 47625"/>
                <a:gd name="connsiteY1" fmla="*/ 51950 h 57150"/>
                <a:gd name="connsiteX2" fmla="*/ 8135 w 47625"/>
                <a:gd name="connsiteY2" fmla="*/ 21470 h 57150"/>
                <a:gd name="connsiteX3" fmla="*/ 10040 w 47625"/>
                <a:gd name="connsiteY3" fmla="*/ 11945 h 57150"/>
                <a:gd name="connsiteX4" fmla="*/ 15755 w 47625"/>
                <a:gd name="connsiteY4" fmla="*/ 8135 h 57150"/>
                <a:gd name="connsiteX5" fmla="*/ 25280 w 47625"/>
                <a:gd name="connsiteY5" fmla="*/ 10040 h 57150"/>
                <a:gd name="connsiteX6" fmla="*/ 46235 w 47625"/>
                <a:gd name="connsiteY6" fmla="*/ 40520 h 57150"/>
                <a:gd name="connsiteX7" fmla="*/ 44330 w 47625"/>
                <a:gd name="connsiteY7" fmla="*/ 50045 h 57150"/>
                <a:gd name="connsiteX8" fmla="*/ 38615 w 47625"/>
                <a:gd name="connsiteY8" fmla="*/ 53855 h 57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7625" h="57150">
                  <a:moveTo>
                    <a:pt x="38615" y="53855"/>
                  </a:moveTo>
                  <a:cubicBezTo>
                    <a:pt x="35757" y="55760"/>
                    <a:pt x="30995" y="54807"/>
                    <a:pt x="29090" y="51950"/>
                  </a:cubicBezTo>
                  <a:lnTo>
                    <a:pt x="8135" y="21470"/>
                  </a:lnTo>
                  <a:cubicBezTo>
                    <a:pt x="6230" y="18612"/>
                    <a:pt x="7182" y="13850"/>
                    <a:pt x="10040" y="11945"/>
                  </a:cubicBezTo>
                  <a:lnTo>
                    <a:pt x="15755" y="8135"/>
                  </a:lnTo>
                  <a:cubicBezTo>
                    <a:pt x="18612" y="6230"/>
                    <a:pt x="23375" y="7182"/>
                    <a:pt x="25280" y="10040"/>
                  </a:cubicBezTo>
                  <a:lnTo>
                    <a:pt x="46235" y="40520"/>
                  </a:lnTo>
                  <a:cubicBezTo>
                    <a:pt x="48140" y="43377"/>
                    <a:pt x="47187" y="48140"/>
                    <a:pt x="44330" y="50045"/>
                  </a:cubicBezTo>
                  <a:lnTo>
                    <a:pt x="38615" y="53855"/>
                  </a:lnTo>
                  <a:close/>
                </a:path>
              </a:pathLst>
            </a:custGeom>
            <a:solidFill>
              <a:srgbClr val="858B9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20" name="任意多边形: 形状 9819">
              <a:extLst>
                <a:ext uri="{FF2B5EF4-FFF2-40B4-BE49-F238E27FC236}">
                  <a16:creationId xmlns:a16="http://schemas.microsoft.com/office/drawing/2014/main" id="{A4246E55-1E97-4D5A-A45E-39A0E2774F82}"/>
                </a:ext>
              </a:extLst>
            </p:cNvPr>
            <p:cNvSpPr/>
            <p:nvPr/>
          </p:nvSpPr>
          <p:spPr>
            <a:xfrm flipH="1">
              <a:off x="9236649" y="1654028"/>
              <a:ext cx="159007" cy="159007"/>
            </a:xfrm>
            <a:custGeom>
              <a:avLst/>
              <a:gdLst>
                <a:gd name="connsiteX0" fmla="*/ 32900 w 47625"/>
                <a:gd name="connsiteY0" fmla="*/ 45282 h 47625"/>
                <a:gd name="connsiteX1" fmla="*/ 25280 w 47625"/>
                <a:gd name="connsiteY1" fmla="*/ 43377 h 47625"/>
                <a:gd name="connsiteX2" fmla="*/ 8135 w 47625"/>
                <a:gd name="connsiteY2" fmla="*/ 18612 h 47625"/>
                <a:gd name="connsiteX3" fmla="*/ 10040 w 47625"/>
                <a:gd name="connsiteY3" fmla="*/ 10992 h 47625"/>
                <a:gd name="connsiteX4" fmla="*/ 14802 w 47625"/>
                <a:gd name="connsiteY4" fmla="*/ 8135 h 47625"/>
                <a:gd name="connsiteX5" fmla="*/ 22422 w 47625"/>
                <a:gd name="connsiteY5" fmla="*/ 10040 h 47625"/>
                <a:gd name="connsiteX6" fmla="*/ 39567 w 47625"/>
                <a:gd name="connsiteY6" fmla="*/ 34805 h 47625"/>
                <a:gd name="connsiteX7" fmla="*/ 37662 w 47625"/>
                <a:gd name="connsiteY7" fmla="*/ 42425 h 47625"/>
                <a:gd name="connsiteX8" fmla="*/ 32900 w 47625"/>
                <a:gd name="connsiteY8" fmla="*/ 45282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7625" h="47625">
                  <a:moveTo>
                    <a:pt x="32900" y="45282"/>
                  </a:moveTo>
                  <a:cubicBezTo>
                    <a:pt x="30042" y="47187"/>
                    <a:pt x="26232" y="46235"/>
                    <a:pt x="25280" y="43377"/>
                  </a:cubicBezTo>
                  <a:lnTo>
                    <a:pt x="8135" y="18612"/>
                  </a:lnTo>
                  <a:cubicBezTo>
                    <a:pt x="6230" y="15755"/>
                    <a:pt x="7182" y="12897"/>
                    <a:pt x="10040" y="10992"/>
                  </a:cubicBezTo>
                  <a:lnTo>
                    <a:pt x="14802" y="8135"/>
                  </a:lnTo>
                  <a:cubicBezTo>
                    <a:pt x="17660" y="6230"/>
                    <a:pt x="21470" y="7182"/>
                    <a:pt x="22422" y="10040"/>
                  </a:cubicBezTo>
                  <a:lnTo>
                    <a:pt x="39567" y="34805"/>
                  </a:lnTo>
                  <a:cubicBezTo>
                    <a:pt x="41472" y="37662"/>
                    <a:pt x="40520" y="41472"/>
                    <a:pt x="37662" y="42425"/>
                  </a:cubicBezTo>
                  <a:lnTo>
                    <a:pt x="32900" y="45282"/>
                  </a:lnTo>
                  <a:close/>
                </a:path>
              </a:pathLst>
            </a:custGeom>
            <a:solidFill>
              <a:srgbClr val="A8ACB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21" name="任意多边形: 形状 9820">
              <a:extLst>
                <a:ext uri="{FF2B5EF4-FFF2-40B4-BE49-F238E27FC236}">
                  <a16:creationId xmlns:a16="http://schemas.microsoft.com/office/drawing/2014/main" id="{1C6A8BC9-0C22-4182-9FC3-B3CAF97F00AA}"/>
                </a:ext>
              </a:extLst>
            </p:cNvPr>
            <p:cNvSpPr/>
            <p:nvPr/>
          </p:nvSpPr>
          <p:spPr>
            <a:xfrm flipH="1">
              <a:off x="9274082" y="1527549"/>
              <a:ext cx="159007" cy="159007"/>
            </a:xfrm>
            <a:custGeom>
              <a:avLst/>
              <a:gdLst>
                <a:gd name="connsiteX0" fmla="*/ 32682 w 47625"/>
                <a:gd name="connsiteY0" fmla="*/ 42207 h 47625"/>
                <a:gd name="connsiteX1" fmla="*/ 23157 w 47625"/>
                <a:gd name="connsiteY1" fmla="*/ 41254 h 47625"/>
                <a:gd name="connsiteX2" fmla="*/ 8869 w 47625"/>
                <a:gd name="connsiteY2" fmla="*/ 26014 h 47625"/>
                <a:gd name="connsiteX3" fmla="*/ 9822 w 47625"/>
                <a:gd name="connsiteY3" fmla="*/ 16489 h 47625"/>
                <a:gd name="connsiteX4" fmla="*/ 19347 w 47625"/>
                <a:gd name="connsiteY4" fmla="*/ 8869 h 47625"/>
                <a:gd name="connsiteX5" fmla="*/ 28872 w 47625"/>
                <a:gd name="connsiteY5" fmla="*/ 9822 h 47625"/>
                <a:gd name="connsiteX6" fmla="*/ 42207 w 47625"/>
                <a:gd name="connsiteY6" fmla="*/ 26014 h 47625"/>
                <a:gd name="connsiteX7" fmla="*/ 41254 w 47625"/>
                <a:gd name="connsiteY7" fmla="*/ 35539 h 47625"/>
                <a:gd name="connsiteX8" fmla="*/ 32682 w 47625"/>
                <a:gd name="connsiteY8" fmla="*/ 42207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7625" h="47625">
                  <a:moveTo>
                    <a:pt x="32682" y="42207"/>
                  </a:moveTo>
                  <a:cubicBezTo>
                    <a:pt x="29824" y="45064"/>
                    <a:pt x="25062" y="44112"/>
                    <a:pt x="23157" y="41254"/>
                  </a:cubicBezTo>
                  <a:lnTo>
                    <a:pt x="8869" y="26014"/>
                  </a:lnTo>
                  <a:cubicBezTo>
                    <a:pt x="6012" y="23157"/>
                    <a:pt x="6964" y="18394"/>
                    <a:pt x="9822" y="16489"/>
                  </a:cubicBezTo>
                  <a:lnTo>
                    <a:pt x="19347" y="8869"/>
                  </a:lnTo>
                  <a:cubicBezTo>
                    <a:pt x="22204" y="6012"/>
                    <a:pt x="26967" y="6964"/>
                    <a:pt x="28872" y="9822"/>
                  </a:cubicBezTo>
                  <a:lnTo>
                    <a:pt x="42207" y="26014"/>
                  </a:lnTo>
                  <a:cubicBezTo>
                    <a:pt x="45064" y="28872"/>
                    <a:pt x="44112" y="33634"/>
                    <a:pt x="41254" y="35539"/>
                  </a:cubicBezTo>
                  <a:lnTo>
                    <a:pt x="32682" y="42207"/>
                  </a:lnTo>
                  <a:close/>
                </a:path>
              </a:pathLst>
            </a:custGeom>
            <a:solidFill>
              <a:schemeClr val="accent1">
                <a:lumMod val="5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22" name="任意多边形: 形状 9821">
              <a:extLst>
                <a:ext uri="{FF2B5EF4-FFF2-40B4-BE49-F238E27FC236}">
                  <a16:creationId xmlns:a16="http://schemas.microsoft.com/office/drawing/2014/main" id="{BE6613DB-9452-45F8-A53B-B9B4DEACA0E5}"/>
                </a:ext>
              </a:extLst>
            </p:cNvPr>
            <p:cNvSpPr/>
            <p:nvPr/>
          </p:nvSpPr>
          <p:spPr>
            <a:xfrm flipH="1">
              <a:off x="9277862" y="1525699"/>
              <a:ext cx="127205" cy="127205"/>
            </a:xfrm>
            <a:custGeom>
              <a:avLst/>
              <a:gdLst>
                <a:gd name="connsiteX0" fmla="*/ 33814 w 38100"/>
                <a:gd name="connsiteY0" fmla="*/ 25616 h 38100"/>
                <a:gd name="connsiteX1" fmla="*/ 20479 w 38100"/>
                <a:gd name="connsiteY1" fmla="*/ 9424 h 38100"/>
                <a:gd name="connsiteX2" fmla="*/ 10954 w 38100"/>
                <a:gd name="connsiteY2" fmla="*/ 8471 h 38100"/>
                <a:gd name="connsiteX3" fmla="*/ 7144 w 38100"/>
                <a:gd name="connsiteY3" fmla="*/ 11329 h 38100"/>
                <a:gd name="connsiteX4" fmla="*/ 30004 w 38100"/>
                <a:gd name="connsiteY4" fmla="*/ 37046 h 38100"/>
                <a:gd name="connsiteX5" fmla="*/ 32861 w 38100"/>
                <a:gd name="connsiteY5" fmla="*/ 34189 h 38100"/>
                <a:gd name="connsiteX6" fmla="*/ 33814 w 38100"/>
                <a:gd name="connsiteY6" fmla="*/ 25616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8100" h="38100">
                  <a:moveTo>
                    <a:pt x="33814" y="25616"/>
                  </a:moveTo>
                  <a:lnTo>
                    <a:pt x="20479" y="9424"/>
                  </a:lnTo>
                  <a:cubicBezTo>
                    <a:pt x="17621" y="6566"/>
                    <a:pt x="13811" y="6566"/>
                    <a:pt x="10954" y="8471"/>
                  </a:cubicBezTo>
                  <a:lnTo>
                    <a:pt x="7144" y="11329"/>
                  </a:lnTo>
                  <a:lnTo>
                    <a:pt x="30004" y="37046"/>
                  </a:lnTo>
                  <a:lnTo>
                    <a:pt x="32861" y="34189"/>
                  </a:lnTo>
                  <a:cubicBezTo>
                    <a:pt x="36671" y="32284"/>
                    <a:pt x="36671" y="28474"/>
                    <a:pt x="33814" y="25616"/>
                  </a:cubicBezTo>
                  <a:close/>
                </a:path>
              </a:pathLst>
            </a:custGeom>
            <a:solidFill>
              <a:srgbClr val="21212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23" name="任意多边形: 形状 9822">
              <a:extLst>
                <a:ext uri="{FF2B5EF4-FFF2-40B4-BE49-F238E27FC236}">
                  <a16:creationId xmlns:a16="http://schemas.microsoft.com/office/drawing/2014/main" id="{3F1DBB6B-8682-4D3E-9D39-B9035B8B6DF0}"/>
                </a:ext>
              </a:extLst>
            </p:cNvPr>
            <p:cNvSpPr/>
            <p:nvPr/>
          </p:nvSpPr>
          <p:spPr>
            <a:xfrm flipH="1">
              <a:off x="9272119" y="1596297"/>
              <a:ext cx="95405" cy="95405"/>
            </a:xfrm>
            <a:custGeom>
              <a:avLst/>
              <a:gdLst>
                <a:gd name="connsiteX0" fmla="*/ 13043 w 28575"/>
                <a:gd name="connsiteY0" fmla="*/ 13043 h 28575"/>
                <a:gd name="connsiteX1" fmla="*/ 7328 w 28575"/>
                <a:gd name="connsiteY1" fmla="*/ 21616 h 28575"/>
                <a:gd name="connsiteX2" fmla="*/ 15901 w 28575"/>
                <a:gd name="connsiteY2" fmla="*/ 15901 h 28575"/>
                <a:gd name="connsiteX3" fmla="*/ 21616 w 28575"/>
                <a:gd name="connsiteY3" fmla="*/ 7328 h 28575"/>
                <a:gd name="connsiteX4" fmla="*/ 13043 w 28575"/>
                <a:gd name="connsiteY4" fmla="*/ 13043 h 28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8575" h="28575">
                  <a:moveTo>
                    <a:pt x="13043" y="13043"/>
                  </a:moveTo>
                  <a:cubicBezTo>
                    <a:pt x="9233" y="16853"/>
                    <a:pt x="6376" y="20663"/>
                    <a:pt x="7328" y="21616"/>
                  </a:cubicBezTo>
                  <a:cubicBezTo>
                    <a:pt x="8281" y="22568"/>
                    <a:pt x="12091" y="19711"/>
                    <a:pt x="15901" y="15901"/>
                  </a:cubicBezTo>
                  <a:cubicBezTo>
                    <a:pt x="19711" y="12091"/>
                    <a:pt x="22568" y="8281"/>
                    <a:pt x="21616" y="7328"/>
                  </a:cubicBezTo>
                  <a:cubicBezTo>
                    <a:pt x="21616" y="6376"/>
                    <a:pt x="17806" y="9233"/>
                    <a:pt x="13043" y="13043"/>
                  </a:cubicBezTo>
                  <a:close/>
                </a:path>
              </a:pathLst>
            </a:custGeom>
            <a:solidFill>
              <a:srgbClr val="E4E8E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24" name="任意多边形: 形状 9823">
              <a:extLst>
                <a:ext uri="{FF2B5EF4-FFF2-40B4-BE49-F238E27FC236}">
                  <a16:creationId xmlns:a16="http://schemas.microsoft.com/office/drawing/2014/main" id="{E03888FA-309A-422F-8A58-EB72F9294C4E}"/>
                </a:ext>
              </a:extLst>
            </p:cNvPr>
            <p:cNvSpPr/>
            <p:nvPr/>
          </p:nvSpPr>
          <p:spPr>
            <a:xfrm flipH="1">
              <a:off x="9367734" y="1738829"/>
              <a:ext cx="63603" cy="63603"/>
            </a:xfrm>
            <a:custGeom>
              <a:avLst/>
              <a:gdLst>
                <a:gd name="connsiteX0" fmla="*/ 11202 w 19050"/>
                <a:gd name="connsiteY0" fmla="*/ 10358 h 19050"/>
                <a:gd name="connsiteX1" fmla="*/ 7392 w 19050"/>
                <a:gd name="connsiteY1" fmla="*/ 16073 h 19050"/>
                <a:gd name="connsiteX2" fmla="*/ 14059 w 19050"/>
                <a:gd name="connsiteY2" fmla="*/ 13216 h 19050"/>
                <a:gd name="connsiteX3" fmla="*/ 17869 w 19050"/>
                <a:gd name="connsiteY3" fmla="*/ 7501 h 19050"/>
                <a:gd name="connsiteX4" fmla="*/ 11202 w 19050"/>
                <a:gd name="connsiteY4" fmla="*/ 10358 h 19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050" h="19050">
                  <a:moveTo>
                    <a:pt x="11202" y="10358"/>
                  </a:moveTo>
                  <a:cubicBezTo>
                    <a:pt x="8344" y="12263"/>
                    <a:pt x="6439" y="15121"/>
                    <a:pt x="7392" y="16073"/>
                  </a:cubicBezTo>
                  <a:cubicBezTo>
                    <a:pt x="8344" y="17026"/>
                    <a:pt x="11202" y="16073"/>
                    <a:pt x="14059" y="13216"/>
                  </a:cubicBezTo>
                  <a:cubicBezTo>
                    <a:pt x="16917" y="11311"/>
                    <a:pt x="18821" y="8453"/>
                    <a:pt x="17869" y="7501"/>
                  </a:cubicBezTo>
                  <a:cubicBezTo>
                    <a:pt x="16917" y="6548"/>
                    <a:pt x="14059" y="7501"/>
                    <a:pt x="11202" y="10358"/>
                  </a:cubicBezTo>
                  <a:close/>
                </a:path>
              </a:pathLst>
            </a:custGeom>
            <a:solidFill>
              <a:schemeClr val="accent1">
                <a:lumMod val="5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25" name="任意多边形: 形状 9824">
              <a:extLst>
                <a:ext uri="{FF2B5EF4-FFF2-40B4-BE49-F238E27FC236}">
                  <a16:creationId xmlns:a16="http://schemas.microsoft.com/office/drawing/2014/main" id="{FCEB93AB-FD8D-48D5-A051-DD78E0439E2B}"/>
                </a:ext>
              </a:extLst>
            </p:cNvPr>
            <p:cNvSpPr/>
            <p:nvPr/>
          </p:nvSpPr>
          <p:spPr>
            <a:xfrm flipH="1">
              <a:off x="9259610" y="1749562"/>
              <a:ext cx="63603" cy="63603"/>
            </a:xfrm>
            <a:custGeom>
              <a:avLst/>
              <a:gdLst>
                <a:gd name="connsiteX0" fmla="*/ 11201 w 19050"/>
                <a:gd name="connsiteY0" fmla="*/ 10001 h 19050"/>
                <a:gd name="connsiteX1" fmla="*/ 7392 w 19050"/>
                <a:gd name="connsiteY1" fmla="*/ 15716 h 19050"/>
                <a:gd name="connsiteX2" fmla="*/ 14059 w 19050"/>
                <a:gd name="connsiteY2" fmla="*/ 12859 h 19050"/>
                <a:gd name="connsiteX3" fmla="*/ 17869 w 19050"/>
                <a:gd name="connsiteY3" fmla="*/ 7144 h 19050"/>
                <a:gd name="connsiteX4" fmla="*/ 11201 w 19050"/>
                <a:gd name="connsiteY4" fmla="*/ 10001 h 19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050" h="19050">
                  <a:moveTo>
                    <a:pt x="11201" y="10001"/>
                  </a:moveTo>
                  <a:cubicBezTo>
                    <a:pt x="8344" y="11906"/>
                    <a:pt x="6439" y="14764"/>
                    <a:pt x="7392" y="15716"/>
                  </a:cubicBezTo>
                  <a:cubicBezTo>
                    <a:pt x="8344" y="16669"/>
                    <a:pt x="11201" y="15716"/>
                    <a:pt x="14059" y="12859"/>
                  </a:cubicBezTo>
                  <a:cubicBezTo>
                    <a:pt x="16917" y="10954"/>
                    <a:pt x="18822" y="8096"/>
                    <a:pt x="17869" y="7144"/>
                  </a:cubicBezTo>
                  <a:cubicBezTo>
                    <a:pt x="16917" y="7144"/>
                    <a:pt x="14059" y="8096"/>
                    <a:pt x="11201" y="10001"/>
                  </a:cubicBezTo>
                  <a:close/>
                </a:path>
              </a:pathLst>
            </a:custGeom>
            <a:solidFill>
              <a:schemeClr val="accent1">
                <a:lumMod val="5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26" name="任意多边形: 形状 9825">
              <a:extLst>
                <a:ext uri="{FF2B5EF4-FFF2-40B4-BE49-F238E27FC236}">
                  <a16:creationId xmlns:a16="http://schemas.microsoft.com/office/drawing/2014/main" id="{61066D97-8F9B-4943-984B-67F0FACD1141}"/>
                </a:ext>
              </a:extLst>
            </p:cNvPr>
            <p:cNvSpPr/>
            <p:nvPr/>
          </p:nvSpPr>
          <p:spPr>
            <a:xfrm flipH="1">
              <a:off x="8253854" y="1596915"/>
              <a:ext cx="1113052" cy="1462868"/>
            </a:xfrm>
            <a:custGeom>
              <a:avLst/>
              <a:gdLst>
                <a:gd name="connsiteX0" fmla="*/ 7144 w 333375"/>
                <a:gd name="connsiteY0" fmla="*/ 21431 h 438150"/>
                <a:gd name="connsiteX1" fmla="*/ 39529 w 333375"/>
                <a:gd name="connsiteY1" fmla="*/ 431959 h 438150"/>
                <a:gd name="connsiteX2" fmla="*/ 334804 w 333375"/>
                <a:gd name="connsiteY2" fmla="*/ 320516 h 438150"/>
                <a:gd name="connsiteX3" fmla="*/ 22384 w 333375"/>
                <a:gd name="connsiteY3" fmla="*/ 7144 h 438150"/>
                <a:gd name="connsiteX4" fmla="*/ 7144 w 333375"/>
                <a:gd name="connsiteY4" fmla="*/ 21431 h 438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3375" h="438150">
                  <a:moveTo>
                    <a:pt x="7144" y="21431"/>
                  </a:moveTo>
                  <a:cubicBezTo>
                    <a:pt x="7144" y="21431"/>
                    <a:pt x="35719" y="323374"/>
                    <a:pt x="39529" y="431959"/>
                  </a:cubicBezTo>
                  <a:cubicBezTo>
                    <a:pt x="227171" y="476726"/>
                    <a:pt x="334804" y="320516"/>
                    <a:pt x="334804" y="320516"/>
                  </a:cubicBezTo>
                  <a:lnTo>
                    <a:pt x="22384" y="7144"/>
                  </a:lnTo>
                  <a:lnTo>
                    <a:pt x="7144" y="21431"/>
                  </a:lnTo>
                  <a:close/>
                </a:path>
              </a:pathLst>
            </a:custGeom>
            <a:solidFill>
              <a:schemeClr val="bg1">
                <a:alpha val="64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27" name="任意多边形: 形状 9826">
              <a:extLst>
                <a:ext uri="{FF2B5EF4-FFF2-40B4-BE49-F238E27FC236}">
                  <a16:creationId xmlns:a16="http://schemas.microsoft.com/office/drawing/2014/main" id="{235E1537-9687-4564-9254-2A97DE3FA682}"/>
                </a:ext>
              </a:extLst>
            </p:cNvPr>
            <p:cNvSpPr/>
            <p:nvPr/>
          </p:nvSpPr>
          <p:spPr>
            <a:xfrm flipH="1">
              <a:off x="9255603" y="2372871"/>
              <a:ext cx="95405" cy="95405"/>
            </a:xfrm>
            <a:custGeom>
              <a:avLst/>
              <a:gdLst>
                <a:gd name="connsiteX0" fmla="*/ 7144 w 28575"/>
                <a:gd name="connsiteY0" fmla="*/ 19526 h 28575"/>
                <a:gd name="connsiteX1" fmla="*/ 12859 w 28575"/>
                <a:gd name="connsiteY1" fmla="*/ 10001 h 28575"/>
                <a:gd name="connsiteX2" fmla="*/ 12859 w 28575"/>
                <a:gd name="connsiteY2" fmla="*/ 10001 h 28575"/>
                <a:gd name="connsiteX3" fmla="*/ 20479 w 28575"/>
                <a:gd name="connsiteY3" fmla="*/ 7144 h 28575"/>
                <a:gd name="connsiteX4" fmla="*/ 20479 w 28575"/>
                <a:gd name="connsiteY4" fmla="*/ 7144 h 28575"/>
                <a:gd name="connsiteX5" fmla="*/ 28099 w 28575"/>
                <a:gd name="connsiteY5" fmla="*/ 10954 h 28575"/>
                <a:gd name="connsiteX6" fmla="*/ 28099 w 28575"/>
                <a:gd name="connsiteY6" fmla="*/ 10954 h 28575"/>
                <a:gd name="connsiteX7" fmla="*/ 25241 w 28575"/>
                <a:gd name="connsiteY7" fmla="*/ 12859 h 28575"/>
                <a:gd name="connsiteX8" fmla="*/ 21431 w 28575"/>
                <a:gd name="connsiteY8" fmla="*/ 10954 h 28575"/>
                <a:gd name="connsiteX9" fmla="*/ 21431 w 28575"/>
                <a:gd name="connsiteY9" fmla="*/ 10954 h 28575"/>
                <a:gd name="connsiteX10" fmla="*/ 15716 w 28575"/>
                <a:gd name="connsiteY10" fmla="*/ 12859 h 28575"/>
                <a:gd name="connsiteX11" fmla="*/ 15716 w 28575"/>
                <a:gd name="connsiteY11" fmla="*/ 12859 h 28575"/>
                <a:gd name="connsiteX12" fmla="*/ 11906 w 28575"/>
                <a:gd name="connsiteY12" fmla="*/ 19526 h 28575"/>
                <a:gd name="connsiteX13" fmla="*/ 11906 w 28575"/>
                <a:gd name="connsiteY13" fmla="*/ 19526 h 28575"/>
                <a:gd name="connsiteX14" fmla="*/ 12859 w 28575"/>
                <a:gd name="connsiteY14" fmla="*/ 21431 h 28575"/>
                <a:gd name="connsiteX15" fmla="*/ 12859 w 28575"/>
                <a:gd name="connsiteY15" fmla="*/ 21431 h 28575"/>
                <a:gd name="connsiteX16" fmla="*/ 10001 w 28575"/>
                <a:gd name="connsiteY16" fmla="*/ 23336 h 28575"/>
                <a:gd name="connsiteX17" fmla="*/ 7144 w 28575"/>
                <a:gd name="connsiteY17" fmla="*/ 19526 h 28575"/>
                <a:gd name="connsiteX18" fmla="*/ 7144 w 28575"/>
                <a:gd name="connsiteY18" fmla="*/ 19526 h 28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8575" h="28575">
                  <a:moveTo>
                    <a:pt x="7144" y="19526"/>
                  </a:moveTo>
                  <a:cubicBezTo>
                    <a:pt x="7144" y="15716"/>
                    <a:pt x="9049" y="11906"/>
                    <a:pt x="12859" y="10001"/>
                  </a:cubicBezTo>
                  <a:lnTo>
                    <a:pt x="12859" y="10001"/>
                  </a:lnTo>
                  <a:cubicBezTo>
                    <a:pt x="15716" y="8096"/>
                    <a:pt x="17621" y="7144"/>
                    <a:pt x="20479" y="7144"/>
                  </a:cubicBezTo>
                  <a:lnTo>
                    <a:pt x="20479" y="7144"/>
                  </a:lnTo>
                  <a:cubicBezTo>
                    <a:pt x="23336" y="7144"/>
                    <a:pt x="26194" y="8096"/>
                    <a:pt x="28099" y="10954"/>
                  </a:cubicBezTo>
                  <a:lnTo>
                    <a:pt x="28099" y="10954"/>
                  </a:lnTo>
                  <a:lnTo>
                    <a:pt x="25241" y="12859"/>
                  </a:lnTo>
                  <a:cubicBezTo>
                    <a:pt x="24289" y="11906"/>
                    <a:pt x="23336" y="10954"/>
                    <a:pt x="21431" y="10954"/>
                  </a:cubicBezTo>
                  <a:lnTo>
                    <a:pt x="21431" y="10954"/>
                  </a:lnTo>
                  <a:cubicBezTo>
                    <a:pt x="19526" y="10954"/>
                    <a:pt x="17621" y="11906"/>
                    <a:pt x="15716" y="12859"/>
                  </a:cubicBezTo>
                  <a:lnTo>
                    <a:pt x="15716" y="12859"/>
                  </a:lnTo>
                  <a:cubicBezTo>
                    <a:pt x="12859" y="14764"/>
                    <a:pt x="11906" y="17621"/>
                    <a:pt x="11906" y="19526"/>
                  </a:cubicBezTo>
                  <a:lnTo>
                    <a:pt x="11906" y="19526"/>
                  </a:lnTo>
                  <a:cubicBezTo>
                    <a:pt x="11906" y="20479"/>
                    <a:pt x="11906" y="21431"/>
                    <a:pt x="12859" y="21431"/>
                  </a:cubicBezTo>
                  <a:lnTo>
                    <a:pt x="12859" y="21431"/>
                  </a:lnTo>
                  <a:lnTo>
                    <a:pt x="10001" y="23336"/>
                  </a:lnTo>
                  <a:cubicBezTo>
                    <a:pt x="8096" y="23336"/>
                    <a:pt x="7144" y="21431"/>
                    <a:pt x="7144" y="19526"/>
                  </a:cubicBezTo>
                  <a:lnTo>
                    <a:pt x="7144" y="19526"/>
                  </a:lnTo>
                  <a:close/>
                </a:path>
              </a:pathLst>
            </a:custGeom>
            <a:solidFill>
              <a:srgbClr val="7287A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28" name="任意多边形: 形状 9827">
              <a:extLst>
                <a:ext uri="{FF2B5EF4-FFF2-40B4-BE49-F238E27FC236}">
                  <a16:creationId xmlns:a16="http://schemas.microsoft.com/office/drawing/2014/main" id="{E3714443-B415-48C9-BC2D-6099FDAADEF3}"/>
                </a:ext>
              </a:extLst>
            </p:cNvPr>
            <p:cNvSpPr/>
            <p:nvPr/>
          </p:nvSpPr>
          <p:spPr>
            <a:xfrm flipH="1">
              <a:off x="9172918" y="2337888"/>
              <a:ext cx="95405" cy="95405"/>
            </a:xfrm>
            <a:custGeom>
              <a:avLst/>
              <a:gdLst>
                <a:gd name="connsiteX0" fmla="*/ 7144 w 28575"/>
                <a:gd name="connsiteY0" fmla="*/ 17621 h 28575"/>
                <a:gd name="connsiteX1" fmla="*/ 11906 w 28575"/>
                <a:gd name="connsiteY1" fmla="*/ 9049 h 28575"/>
                <a:gd name="connsiteX2" fmla="*/ 11906 w 28575"/>
                <a:gd name="connsiteY2" fmla="*/ 9049 h 28575"/>
                <a:gd name="connsiteX3" fmla="*/ 18574 w 28575"/>
                <a:gd name="connsiteY3" fmla="*/ 7144 h 28575"/>
                <a:gd name="connsiteX4" fmla="*/ 18574 w 28575"/>
                <a:gd name="connsiteY4" fmla="*/ 7144 h 28575"/>
                <a:gd name="connsiteX5" fmla="*/ 26194 w 28575"/>
                <a:gd name="connsiteY5" fmla="*/ 10954 h 28575"/>
                <a:gd name="connsiteX6" fmla="*/ 26194 w 28575"/>
                <a:gd name="connsiteY6" fmla="*/ 10954 h 28575"/>
                <a:gd name="connsiteX7" fmla="*/ 23336 w 28575"/>
                <a:gd name="connsiteY7" fmla="*/ 12859 h 28575"/>
                <a:gd name="connsiteX8" fmla="*/ 19526 w 28575"/>
                <a:gd name="connsiteY8" fmla="*/ 10954 h 28575"/>
                <a:gd name="connsiteX9" fmla="*/ 19526 w 28575"/>
                <a:gd name="connsiteY9" fmla="*/ 10954 h 28575"/>
                <a:gd name="connsiteX10" fmla="*/ 14764 w 28575"/>
                <a:gd name="connsiteY10" fmla="*/ 11906 h 28575"/>
                <a:gd name="connsiteX11" fmla="*/ 14764 w 28575"/>
                <a:gd name="connsiteY11" fmla="*/ 11906 h 28575"/>
                <a:gd name="connsiteX12" fmla="*/ 11906 w 28575"/>
                <a:gd name="connsiteY12" fmla="*/ 17621 h 28575"/>
                <a:gd name="connsiteX13" fmla="*/ 11906 w 28575"/>
                <a:gd name="connsiteY13" fmla="*/ 17621 h 28575"/>
                <a:gd name="connsiteX14" fmla="*/ 12859 w 28575"/>
                <a:gd name="connsiteY14" fmla="*/ 19526 h 28575"/>
                <a:gd name="connsiteX15" fmla="*/ 12859 w 28575"/>
                <a:gd name="connsiteY15" fmla="*/ 19526 h 28575"/>
                <a:gd name="connsiteX16" fmla="*/ 9049 w 28575"/>
                <a:gd name="connsiteY16" fmla="*/ 22384 h 28575"/>
                <a:gd name="connsiteX17" fmla="*/ 7144 w 28575"/>
                <a:gd name="connsiteY17" fmla="*/ 17621 h 28575"/>
                <a:gd name="connsiteX18" fmla="*/ 7144 w 28575"/>
                <a:gd name="connsiteY18" fmla="*/ 17621 h 28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8575" h="28575">
                  <a:moveTo>
                    <a:pt x="7144" y="17621"/>
                  </a:moveTo>
                  <a:cubicBezTo>
                    <a:pt x="7144" y="14764"/>
                    <a:pt x="9049" y="10954"/>
                    <a:pt x="11906" y="9049"/>
                  </a:cubicBezTo>
                  <a:lnTo>
                    <a:pt x="11906" y="9049"/>
                  </a:lnTo>
                  <a:cubicBezTo>
                    <a:pt x="13811" y="8096"/>
                    <a:pt x="15716" y="7144"/>
                    <a:pt x="18574" y="7144"/>
                  </a:cubicBezTo>
                  <a:lnTo>
                    <a:pt x="18574" y="7144"/>
                  </a:lnTo>
                  <a:cubicBezTo>
                    <a:pt x="21431" y="7144"/>
                    <a:pt x="24289" y="8096"/>
                    <a:pt x="26194" y="10954"/>
                  </a:cubicBezTo>
                  <a:lnTo>
                    <a:pt x="26194" y="10954"/>
                  </a:lnTo>
                  <a:lnTo>
                    <a:pt x="23336" y="12859"/>
                  </a:lnTo>
                  <a:cubicBezTo>
                    <a:pt x="22384" y="11906"/>
                    <a:pt x="21431" y="10954"/>
                    <a:pt x="19526" y="10954"/>
                  </a:cubicBezTo>
                  <a:lnTo>
                    <a:pt x="19526" y="10954"/>
                  </a:lnTo>
                  <a:cubicBezTo>
                    <a:pt x="18574" y="10954"/>
                    <a:pt x="16669" y="10954"/>
                    <a:pt x="14764" y="11906"/>
                  </a:cubicBezTo>
                  <a:lnTo>
                    <a:pt x="14764" y="11906"/>
                  </a:lnTo>
                  <a:cubicBezTo>
                    <a:pt x="12859" y="12859"/>
                    <a:pt x="11906" y="15716"/>
                    <a:pt x="11906" y="17621"/>
                  </a:cubicBezTo>
                  <a:lnTo>
                    <a:pt x="11906" y="17621"/>
                  </a:lnTo>
                  <a:cubicBezTo>
                    <a:pt x="11906" y="18574"/>
                    <a:pt x="11906" y="19526"/>
                    <a:pt x="12859" y="19526"/>
                  </a:cubicBezTo>
                  <a:lnTo>
                    <a:pt x="12859" y="19526"/>
                  </a:lnTo>
                  <a:lnTo>
                    <a:pt x="9049" y="22384"/>
                  </a:lnTo>
                  <a:cubicBezTo>
                    <a:pt x="8096" y="20479"/>
                    <a:pt x="7144" y="19526"/>
                    <a:pt x="7144" y="17621"/>
                  </a:cubicBezTo>
                  <a:lnTo>
                    <a:pt x="7144" y="17621"/>
                  </a:lnTo>
                  <a:close/>
                </a:path>
              </a:pathLst>
            </a:custGeom>
            <a:solidFill>
              <a:srgbClr val="7287A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29" name="任意多边形: 形状 9828">
              <a:extLst>
                <a:ext uri="{FF2B5EF4-FFF2-40B4-BE49-F238E27FC236}">
                  <a16:creationId xmlns:a16="http://schemas.microsoft.com/office/drawing/2014/main" id="{09BFCC58-C58C-4781-BA06-8CFAEE092342}"/>
                </a:ext>
              </a:extLst>
            </p:cNvPr>
            <p:cNvSpPr/>
            <p:nvPr/>
          </p:nvSpPr>
          <p:spPr>
            <a:xfrm flipH="1">
              <a:off x="9130296" y="2196570"/>
              <a:ext cx="413420" cy="286214"/>
            </a:xfrm>
            <a:custGeom>
              <a:avLst/>
              <a:gdLst>
                <a:gd name="connsiteX0" fmla="*/ 43908 w 123825"/>
                <a:gd name="connsiteY0" fmla="*/ 49471 h 85725"/>
                <a:gd name="connsiteX1" fmla="*/ 59148 w 123825"/>
                <a:gd name="connsiteY1" fmla="*/ 61853 h 85725"/>
                <a:gd name="connsiteX2" fmla="*/ 84866 w 123825"/>
                <a:gd name="connsiteY2" fmla="*/ 79951 h 85725"/>
                <a:gd name="connsiteX3" fmla="*/ 70578 w 123825"/>
                <a:gd name="connsiteY3" fmla="*/ 54233 h 85725"/>
                <a:gd name="connsiteX4" fmla="*/ 89628 w 123825"/>
                <a:gd name="connsiteY4" fmla="*/ 50423 h 85725"/>
                <a:gd name="connsiteX5" fmla="*/ 102011 w 123825"/>
                <a:gd name="connsiteY5" fmla="*/ 78046 h 85725"/>
                <a:gd name="connsiteX6" fmla="*/ 107726 w 123825"/>
                <a:gd name="connsiteY6" fmla="*/ 78046 h 85725"/>
                <a:gd name="connsiteX7" fmla="*/ 103916 w 123825"/>
                <a:gd name="connsiteY7" fmla="*/ 50423 h 85725"/>
                <a:gd name="connsiteX8" fmla="*/ 92486 w 123825"/>
                <a:gd name="connsiteY8" fmla="*/ 37088 h 85725"/>
                <a:gd name="connsiteX9" fmla="*/ 107726 w 123825"/>
                <a:gd name="connsiteY9" fmla="*/ 54233 h 85725"/>
                <a:gd name="connsiteX10" fmla="*/ 111536 w 123825"/>
                <a:gd name="connsiteY10" fmla="*/ 77093 h 85725"/>
                <a:gd name="connsiteX11" fmla="*/ 114393 w 123825"/>
                <a:gd name="connsiteY11" fmla="*/ 44708 h 85725"/>
                <a:gd name="connsiteX12" fmla="*/ 104868 w 123825"/>
                <a:gd name="connsiteY12" fmla="*/ 36136 h 85725"/>
                <a:gd name="connsiteX13" fmla="*/ 114393 w 123825"/>
                <a:gd name="connsiteY13" fmla="*/ 52328 h 85725"/>
                <a:gd name="connsiteX14" fmla="*/ 118203 w 123825"/>
                <a:gd name="connsiteY14" fmla="*/ 62806 h 85725"/>
                <a:gd name="connsiteX15" fmla="*/ 121061 w 123825"/>
                <a:gd name="connsiteY15" fmla="*/ 46613 h 85725"/>
                <a:gd name="connsiteX16" fmla="*/ 104868 w 123825"/>
                <a:gd name="connsiteY16" fmla="*/ 23753 h 85725"/>
                <a:gd name="connsiteX17" fmla="*/ 53433 w 123825"/>
                <a:gd name="connsiteY17" fmla="*/ 7561 h 85725"/>
                <a:gd name="connsiteX18" fmla="*/ 9618 w 123825"/>
                <a:gd name="connsiteY18" fmla="*/ 18991 h 85725"/>
                <a:gd name="connsiteX19" fmla="*/ 16286 w 123825"/>
                <a:gd name="connsiteY19" fmla="*/ 63758 h 85725"/>
                <a:gd name="connsiteX20" fmla="*/ 43908 w 123825"/>
                <a:gd name="connsiteY20" fmla="*/ 49471 h 85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23825" h="85725">
                  <a:moveTo>
                    <a:pt x="43908" y="49471"/>
                  </a:moveTo>
                  <a:cubicBezTo>
                    <a:pt x="45813" y="52328"/>
                    <a:pt x="50576" y="57091"/>
                    <a:pt x="59148" y="61853"/>
                  </a:cubicBezTo>
                  <a:cubicBezTo>
                    <a:pt x="67721" y="66616"/>
                    <a:pt x="77246" y="78998"/>
                    <a:pt x="84866" y="79951"/>
                  </a:cubicBezTo>
                  <a:cubicBezTo>
                    <a:pt x="92486" y="79951"/>
                    <a:pt x="75341" y="59948"/>
                    <a:pt x="70578" y="54233"/>
                  </a:cubicBezTo>
                  <a:cubicBezTo>
                    <a:pt x="66768" y="48518"/>
                    <a:pt x="82961" y="44708"/>
                    <a:pt x="89628" y="50423"/>
                  </a:cubicBezTo>
                  <a:cubicBezTo>
                    <a:pt x="96296" y="56138"/>
                    <a:pt x="102011" y="78046"/>
                    <a:pt x="102011" y="78046"/>
                  </a:cubicBezTo>
                  <a:cubicBezTo>
                    <a:pt x="102011" y="78046"/>
                    <a:pt x="105821" y="83761"/>
                    <a:pt x="107726" y="78046"/>
                  </a:cubicBezTo>
                  <a:cubicBezTo>
                    <a:pt x="108678" y="72331"/>
                    <a:pt x="106773" y="56138"/>
                    <a:pt x="103916" y="50423"/>
                  </a:cubicBezTo>
                  <a:cubicBezTo>
                    <a:pt x="101058" y="44708"/>
                    <a:pt x="92486" y="37088"/>
                    <a:pt x="92486" y="37088"/>
                  </a:cubicBezTo>
                  <a:cubicBezTo>
                    <a:pt x="92486" y="37088"/>
                    <a:pt x="106773" y="48518"/>
                    <a:pt x="107726" y="54233"/>
                  </a:cubicBezTo>
                  <a:cubicBezTo>
                    <a:pt x="108678" y="59948"/>
                    <a:pt x="105821" y="78046"/>
                    <a:pt x="111536" y="77093"/>
                  </a:cubicBezTo>
                  <a:cubicBezTo>
                    <a:pt x="117251" y="76141"/>
                    <a:pt x="116298" y="48518"/>
                    <a:pt x="114393" y="44708"/>
                  </a:cubicBezTo>
                  <a:cubicBezTo>
                    <a:pt x="112488" y="40898"/>
                    <a:pt x="104868" y="36136"/>
                    <a:pt x="104868" y="36136"/>
                  </a:cubicBezTo>
                  <a:cubicBezTo>
                    <a:pt x="104868" y="36136"/>
                    <a:pt x="115346" y="42803"/>
                    <a:pt x="114393" y="52328"/>
                  </a:cubicBezTo>
                  <a:cubicBezTo>
                    <a:pt x="113441" y="61853"/>
                    <a:pt x="115346" y="66616"/>
                    <a:pt x="118203" y="62806"/>
                  </a:cubicBezTo>
                  <a:cubicBezTo>
                    <a:pt x="121061" y="59948"/>
                    <a:pt x="122966" y="59948"/>
                    <a:pt x="121061" y="46613"/>
                  </a:cubicBezTo>
                  <a:cubicBezTo>
                    <a:pt x="120108" y="38993"/>
                    <a:pt x="109631" y="26611"/>
                    <a:pt x="104868" y="23753"/>
                  </a:cubicBezTo>
                  <a:cubicBezTo>
                    <a:pt x="96296" y="17086"/>
                    <a:pt x="61053" y="8513"/>
                    <a:pt x="53433" y="7561"/>
                  </a:cubicBezTo>
                  <a:cubicBezTo>
                    <a:pt x="39146" y="5656"/>
                    <a:pt x="26763" y="10418"/>
                    <a:pt x="9618" y="18991"/>
                  </a:cubicBezTo>
                  <a:cubicBezTo>
                    <a:pt x="6761" y="20896"/>
                    <a:pt x="3903" y="46613"/>
                    <a:pt x="16286" y="63758"/>
                  </a:cubicBezTo>
                  <a:cubicBezTo>
                    <a:pt x="20096" y="68521"/>
                    <a:pt x="40098" y="44708"/>
                    <a:pt x="43908" y="49471"/>
                  </a:cubicBezTo>
                  <a:close/>
                </a:path>
              </a:pathLst>
            </a:custGeom>
            <a:solidFill>
              <a:schemeClr val="accent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30" name="任意多边形: 形状 9829">
              <a:extLst>
                <a:ext uri="{FF2B5EF4-FFF2-40B4-BE49-F238E27FC236}">
                  <a16:creationId xmlns:a16="http://schemas.microsoft.com/office/drawing/2014/main" id="{FE420790-5149-4D4E-8BF8-F21781AF4D7A}"/>
                </a:ext>
              </a:extLst>
            </p:cNvPr>
            <p:cNvSpPr/>
            <p:nvPr/>
          </p:nvSpPr>
          <p:spPr>
            <a:xfrm flipH="1">
              <a:off x="9169737" y="2350609"/>
              <a:ext cx="95405" cy="95405"/>
            </a:xfrm>
            <a:custGeom>
              <a:avLst/>
              <a:gdLst>
                <a:gd name="connsiteX0" fmla="*/ 7144 w 28575"/>
                <a:gd name="connsiteY0" fmla="*/ 17621 h 28575"/>
                <a:gd name="connsiteX1" fmla="*/ 10001 w 28575"/>
                <a:gd name="connsiteY1" fmla="*/ 15716 h 28575"/>
                <a:gd name="connsiteX2" fmla="*/ 13811 w 28575"/>
                <a:gd name="connsiteY2" fmla="*/ 17621 h 28575"/>
                <a:gd name="connsiteX3" fmla="*/ 13811 w 28575"/>
                <a:gd name="connsiteY3" fmla="*/ 17621 h 28575"/>
                <a:gd name="connsiteX4" fmla="*/ 18574 w 28575"/>
                <a:gd name="connsiteY4" fmla="*/ 16669 h 28575"/>
                <a:gd name="connsiteX5" fmla="*/ 18574 w 28575"/>
                <a:gd name="connsiteY5" fmla="*/ 16669 h 28575"/>
                <a:gd name="connsiteX6" fmla="*/ 22384 w 28575"/>
                <a:gd name="connsiteY6" fmla="*/ 10954 h 28575"/>
                <a:gd name="connsiteX7" fmla="*/ 22384 w 28575"/>
                <a:gd name="connsiteY7" fmla="*/ 10954 h 28575"/>
                <a:gd name="connsiteX8" fmla="*/ 21431 w 28575"/>
                <a:gd name="connsiteY8" fmla="*/ 9049 h 28575"/>
                <a:gd name="connsiteX9" fmla="*/ 21431 w 28575"/>
                <a:gd name="connsiteY9" fmla="*/ 9049 h 28575"/>
                <a:gd name="connsiteX10" fmla="*/ 21431 w 28575"/>
                <a:gd name="connsiteY10" fmla="*/ 9049 h 28575"/>
                <a:gd name="connsiteX11" fmla="*/ 24289 w 28575"/>
                <a:gd name="connsiteY11" fmla="*/ 7144 h 28575"/>
                <a:gd name="connsiteX12" fmla="*/ 25241 w 28575"/>
                <a:gd name="connsiteY12" fmla="*/ 11906 h 28575"/>
                <a:gd name="connsiteX13" fmla="*/ 25241 w 28575"/>
                <a:gd name="connsiteY13" fmla="*/ 11906 h 28575"/>
                <a:gd name="connsiteX14" fmla="*/ 20479 w 28575"/>
                <a:gd name="connsiteY14" fmla="*/ 20479 h 28575"/>
                <a:gd name="connsiteX15" fmla="*/ 20479 w 28575"/>
                <a:gd name="connsiteY15" fmla="*/ 20479 h 28575"/>
                <a:gd name="connsiteX16" fmla="*/ 13811 w 28575"/>
                <a:gd name="connsiteY16" fmla="*/ 22384 h 28575"/>
                <a:gd name="connsiteX17" fmla="*/ 13811 w 28575"/>
                <a:gd name="connsiteY17" fmla="*/ 22384 h 28575"/>
                <a:gd name="connsiteX18" fmla="*/ 7144 w 28575"/>
                <a:gd name="connsiteY18" fmla="*/ 17621 h 28575"/>
                <a:gd name="connsiteX19" fmla="*/ 7144 w 28575"/>
                <a:gd name="connsiteY19" fmla="*/ 17621 h 28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28575" h="28575">
                  <a:moveTo>
                    <a:pt x="7144" y="17621"/>
                  </a:moveTo>
                  <a:lnTo>
                    <a:pt x="10001" y="15716"/>
                  </a:lnTo>
                  <a:cubicBezTo>
                    <a:pt x="10954" y="16669"/>
                    <a:pt x="11906" y="17621"/>
                    <a:pt x="13811" y="17621"/>
                  </a:cubicBezTo>
                  <a:lnTo>
                    <a:pt x="13811" y="17621"/>
                  </a:lnTo>
                  <a:cubicBezTo>
                    <a:pt x="14764" y="17621"/>
                    <a:pt x="16669" y="17621"/>
                    <a:pt x="18574" y="16669"/>
                  </a:cubicBezTo>
                  <a:lnTo>
                    <a:pt x="18574" y="16669"/>
                  </a:lnTo>
                  <a:cubicBezTo>
                    <a:pt x="20479" y="14764"/>
                    <a:pt x="22384" y="12859"/>
                    <a:pt x="22384" y="10954"/>
                  </a:cubicBezTo>
                  <a:lnTo>
                    <a:pt x="22384" y="10954"/>
                  </a:lnTo>
                  <a:cubicBezTo>
                    <a:pt x="22384" y="10001"/>
                    <a:pt x="22384" y="9049"/>
                    <a:pt x="21431" y="9049"/>
                  </a:cubicBezTo>
                  <a:lnTo>
                    <a:pt x="21431" y="9049"/>
                  </a:lnTo>
                  <a:lnTo>
                    <a:pt x="21431" y="9049"/>
                  </a:lnTo>
                  <a:lnTo>
                    <a:pt x="24289" y="7144"/>
                  </a:lnTo>
                  <a:cubicBezTo>
                    <a:pt x="25241" y="8096"/>
                    <a:pt x="25241" y="10001"/>
                    <a:pt x="25241" y="11906"/>
                  </a:cubicBezTo>
                  <a:lnTo>
                    <a:pt x="25241" y="11906"/>
                  </a:lnTo>
                  <a:cubicBezTo>
                    <a:pt x="25241" y="15716"/>
                    <a:pt x="23336" y="18574"/>
                    <a:pt x="20479" y="20479"/>
                  </a:cubicBezTo>
                  <a:lnTo>
                    <a:pt x="20479" y="20479"/>
                  </a:lnTo>
                  <a:cubicBezTo>
                    <a:pt x="18574" y="21431"/>
                    <a:pt x="16669" y="22384"/>
                    <a:pt x="13811" y="22384"/>
                  </a:cubicBezTo>
                  <a:lnTo>
                    <a:pt x="13811" y="22384"/>
                  </a:lnTo>
                  <a:cubicBezTo>
                    <a:pt x="11906" y="21431"/>
                    <a:pt x="9049" y="20479"/>
                    <a:pt x="7144" y="17621"/>
                  </a:cubicBezTo>
                  <a:lnTo>
                    <a:pt x="7144" y="17621"/>
                  </a:lnTo>
                  <a:close/>
                </a:path>
              </a:pathLst>
            </a:custGeom>
            <a:solidFill>
              <a:srgbClr val="7287A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31" name="任意多边形: 形状 9830">
              <a:extLst>
                <a:ext uri="{FF2B5EF4-FFF2-40B4-BE49-F238E27FC236}">
                  <a16:creationId xmlns:a16="http://schemas.microsoft.com/office/drawing/2014/main" id="{ED9969EA-E3E9-496D-9DD1-A918F948D0E8}"/>
                </a:ext>
              </a:extLst>
            </p:cNvPr>
            <p:cNvSpPr/>
            <p:nvPr/>
          </p:nvSpPr>
          <p:spPr>
            <a:xfrm flipH="1">
              <a:off x="9252420" y="2388771"/>
              <a:ext cx="95405" cy="95405"/>
            </a:xfrm>
            <a:custGeom>
              <a:avLst/>
              <a:gdLst>
                <a:gd name="connsiteX0" fmla="*/ 7144 w 28575"/>
                <a:gd name="connsiteY0" fmla="*/ 19526 h 28575"/>
                <a:gd name="connsiteX1" fmla="*/ 10001 w 28575"/>
                <a:gd name="connsiteY1" fmla="*/ 17621 h 28575"/>
                <a:gd name="connsiteX2" fmla="*/ 13811 w 28575"/>
                <a:gd name="connsiteY2" fmla="*/ 19526 h 28575"/>
                <a:gd name="connsiteX3" fmla="*/ 13811 w 28575"/>
                <a:gd name="connsiteY3" fmla="*/ 19526 h 28575"/>
                <a:gd name="connsiteX4" fmla="*/ 19526 w 28575"/>
                <a:gd name="connsiteY4" fmla="*/ 17621 h 28575"/>
                <a:gd name="connsiteX5" fmla="*/ 19526 w 28575"/>
                <a:gd name="connsiteY5" fmla="*/ 17621 h 28575"/>
                <a:gd name="connsiteX6" fmla="*/ 23336 w 28575"/>
                <a:gd name="connsiteY6" fmla="*/ 10954 h 28575"/>
                <a:gd name="connsiteX7" fmla="*/ 23336 w 28575"/>
                <a:gd name="connsiteY7" fmla="*/ 10954 h 28575"/>
                <a:gd name="connsiteX8" fmla="*/ 22384 w 28575"/>
                <a:gd name="connsiteY8" fmla="*/ 9049 h 28575"/>
                <a:gd name="connsiteX9" fmla="*/ 22384 w 28575"/>
                <a:gd name="connsiteY9" fmla="*/ 9049 h 28575"/>
                <a:gd name="connsiteX10" fmla="*/ 25241 w 28575"/>
                <a:gd name="connsiteY10" fmla="*/ 7144 h 28575"/>
                <a:gd name="connsiteX11" fmla="*/ 26194 w 28575"/>
                <a:gd name="connsiteY11" fmla="*/ 11906 h 28575"/>
                <a:gd name="connsiteX12" fmla="*/ 26194 w 28575"/>
                <a:gd name="connsiteY12" fmla="*/ 11906 h 28575"/>
                <a:gd name="connsiteX13" fmla="*/ 20479 w 28575"/>
                <a:gd name="connsiteY13" fmla="*/ 21431 h 28575"/>
                <a:gd name="connsiteX14" fmla="*/ 20479 w 28575"/>
                <a:gd name="connsiteY14" fmla="*/ 21431 h 28575"/>
                <a:gd name="connsiteX15" fmla="*/ 12859 w 28575"/>
                <a:gd name="connsiteY15" fmla="*/ 24289 h 28575"/>
                <a:gd name="connsiteX16" fmla="*/ 12859 w 28575"/>
                <a:gd name="connsiteY16" fmla="*/ 24289 h 28575"/>
                <a:gd name="connsiteX17" fmla="*/ 12859 w 28575"/>
                <a:gd name="connsiteY17" fmla="*/ 24289 h 28575"/>
                <a:gd name="connsiteX18" fmla="*/ 12859 w 28575"/>
                <a:gd name="connsiteY18" fmla="*/ 24289 h 28575"/>
                <a:gd name="connsiteX19" fmla="*/ 7144 w 28575"/>
                <a:gd name="connsiteY19" fmla="*/ 19526 h 28575"/>
                <a:gd name="connsiteX20" fmla="*/ 7144 w 28575"/>
                <a:gd name="connsiteY20" fmla="*/ 19526 h 28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8575" h="28575">
                  <a:moveTo>
                    <a:pt x="7144" y="19526"/>
                  </a:moveTo>
                  <a:lnTo>
                    <a:pt x="10001" y="17621"/>
                  </a:lnTo>
                  <a:cubicBezTo>
                    <a:pt x="10954" y="18574"/>
                    <a:pt x="11906" y="19526"/>
                    <a:pt x="13811" y="19526"/>
                  </a:cubicBezTo>
                  <a:lnTo>
                    <a:pt x="13811" y="19526"/>
                  </a:lnTo>
                  <a:cubicBezTo>
                    <a:pt x="15716" y="19526"/>
                    <a:pt x="17621" y="18574"/>
                    <a:pt x="19526" y="17621"/>
                  </a:cubicBezTo>
                  <a:lnTo>
                    <a:pt x="19526" y="17621"/>
                  </a:lnTo>
                  <a:cubicBezTo>
                    <a:pt x="22384" y="15716"/>
                    <a:pt x="23336" y="12859"/>
                    <a:pt x="23336" y="10954"/>
                  </a:cubicBezTo>
                  <a:lnTo>
                    <a:pt x="23336" y="10954"/>
                  </a:lnTo>
                  <a:cubicBezTo>
                    <a:pt x="23336" y="10001"/>
                    <a:pt x="23336" y="9049"/>
                    <a:pt x="22384" y="9049"/>
                  </a:cubicBezTo>
                  <a:lnTo>
                    <a:pt x="22384" y="9049"/>
                  </a:lnTo>
                  <a:lnTo>
                    <a:pt x="25241" y="7144"/>
                  </a:lnTo>
                  <a:cubicBezTo>
                    <a:pt x="26194" y="8096"/>
                    <a:pt x="26194" y="10001"/>
                    <a:pt x="26194" y="11906"/>
                  </a:cubicBezTo>
                  <a:lnTo>
                    <a:pt x="26194" y="11906"/>
                  </a:lnTo>
                  <a:cubicBezTo>
                    <a:pt x="26194" y="15716"/>
                    <a:pt x="24289" y="19526"/>
                    <a:pt x="20479" y="21431"/>
                  </a:cubicBezTo>
                  <a:lnTo>
                    <a:pt x="20479" y="21431"/>
                  </a:lnTo>
                  <a:cubicBezTo>
                    <a:pt x="17621" y="23336"/>
                    <a:pt x="15716" y="24289"/>
                    <a:pt x="12859" y="24289"/>
                  </a:cubicBezTo>
                  <a:lnTo>
                    <a:pt x="12859" y="24289"/>
                  </a:lnTo>
                  <a:cubicBezTo>
                    <a:pt x="12859" y="24289"/>
                    <a:pt x="12859" y="24289"/>
                    <a:pt x="12859" y="24289"/>
                  </a:cubicBezTo>
                  <a:lnTo>
                    <a:pt x="12859" y="24289"/>
                  </a:lnTo>
                  <a:cubicBezTo>
                    <a:pt x="11906" y="22384"/>
                    <a:pt x="9049" y="21431"/>
                    <a:pt x="7144" y="19526"/>
                  </a:cubicBezTo>
                  <a:lnTo>
                    <a:pt x="7144" y="19526"/>
                  </a:lnTo>
                  <a:close/>
                </a:path>
              </a:pathLst>
            </a:custGeom>
            <a:solidFill>
              <a:srgbClr val="7287A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32" name="任意多边形: 形状 9831">
              <a:extLst>
                <a:ext uri="{FF2B5EF4-FFF2-40B4-BE49-F238E27FC236}">
                  <a16:creationId xmlns:a16="http://schemas.microsoft.com/office/drawing/2014/main" id="{6F975C10-59E6-4CBF-BCD7-D62C7777EF96}"/>
                </a:ext>
              </a:extLst>
            </p:cNvPr>
            <p:cNvSpPr/>
            <p:nvPr/>
          </p:nvSpPr>
          <p:spPr>
            <a:xfrm flipH="1">
              <a:off x="9096595" y="2395130"/>
              <a:ext cx="190810" cy="254413"/>
            </a:xfrm>
            <a:custGeom>
              <a:avLst/>
              <a:gdLst>
                <a:gd name="connsiteX0" fmla="*/ 9049 w 57150"/>
                <a:gd name="connsiteY0" fmla="*/ 7144 h 76200"/>
                <a:gd name="connsiteX1" fmla="*/ 51911 w 57150"/>
                <a:gd name="connsiteY1" fmla="*/ 70009 h 76200"/>
                <a:gd name="connsiteX2" fmla="*/ 49054 w 57150"/>
                <a:gd name="connsiteY2" fmla="*/ 70961 h 76200"/>
                <a:gd name="connsiteX3" fmla="*/ 7144 w 57150"/>
                <a:gd name="connsiteY3" fmla="*/ 15716 h 76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7150" h="76200">
                  <a:moveTo>
                    <a:pt x="9049" y="7144"/>
                  </a:moveTo>
                  <a:lnTo>
                    <a:pt x="51911" y="70009"/>
                  </a:lnTo>
                  <a:lnTo>
                    <a:pt x="49054" y="70961"/>
                  </a:lnTo>
                  <a:lnTo>
                    <a:pt x="7144" y="15716"/>
                  </a:lnTo>
                  <a:close/>
                </a:path>
              </a:pathLst>
            </a:custGeom>
            <a:solidFill>
              <a:srgbClr val="7287A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33" name="任意多边形: 形状 9832">
              <a:extLst>
                <a:ext uri="{FF2B5EF4-FFF2-40B4-BE49-F238E27FC236}">
                  <a16:creationId xmlns:a16="http://schemas.microsoft.com/office/drawing/2014/main" id="{ECCB3A0F-6768-4DCE-879A-C3B363C632B7}"/>
                </a:ext>
              </a:extLst>
            </p:cNvPr>
            <p:cNvSpPr/>
            <p:nvPr/>
          </p:nvSpPr>
          <p:spPr>
            <a:xfrm flipH="1">
              <a:off x="9099773" y="2385592"/>
              <a:ext cx="159007" cy="254413"/>
            </a:xfrm>
            <a:custGeom>
              <a:avLst/>
              <a:gdLst>
                <a:gd name="connsiteX0" fmla="*/ 7144 w 47625"/>
                <a:gd name="connsiteY0" fmla="*/ 7144 h 76200"/>
                <a:gd name="connsiteX1" fmla="*/ 42386 w 47625"/>
                <a:gd name="connsiteY1" fmla="*/ 73819 h 76200"/>
                <a:gd name="connsiteX2" fmla="*/ 44291 w 47625"/>
                <a:gd name="connsiteY2" fmla="*/ 72866 h 76200"/>
                <a:gd name="connsiteX3" fmla="*/ 14764 w 47625"/>
                <a:gd name="connsiteY3" fmla="*/ 10001 h 76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625" h="76200">
                  <a:moveTo>
                    <a:pt x="7144" y="7144"/>
                  </a:moveTo>
                  <a:lnTo>
                    <a:pt x="42386" y="73819"/>
                  </a:lnTo>
                  <a:lnTo>
                    <a:pt x="44291" y="72866"/>
                  </a:lnTo>
                  <a:lnTo>
                    <a:pt x="14764" y="10001"/>
                  </a:lnTo>
                  <a:close/>
                </a:path>
              </a:pathLst>
            </a:custGeom>
            <a:solidFill>
              <a:srgbClr val="7287A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34" name="任意多边形: 形状 9833">
              <a:extLst>
                <a:ext uri="{FF2B5EF4-FFF2-40B4-BE49-F238E27FC236}">
                  <a16:creationId xmlns:a16="http://schemas.microsoft.com/office/drawing/2014/main" id="{4063EC80-001C-4FAF-94BF-10B4B5F0BDD1}"/>
                </a:ext>
              </a:extLst>
            </p:cNvPr>
            <p:cNvSpPr/>
            <p:nvPr/>
          </p:nvSpPr>
          <p:spPr>
            <a:xfrm flipH="1">
              <a:off x="9055839" y="2478990"/>
              <a:ext cx="540624" cy="222611"/>
            </a:xfrm>
            <a:custGeom>
              <a:avLst/>
              <a:gdLst>
                <a:gd name="connsiteX0" fmla="*/ 14940 w 161925"/>
                <a:gd name="connsiteY0" fmla="*/ 20127 h 66675"/>
                <a:gd name="connsiteX1" fmla="*/ 68280 w 161925"/>
                <a:gd name="connsiteY1" fmla="*/ 18222 h 66675"/>
                <a:gd name="connsiteX2" fmla="*/ 129240 w 161925"/>
                <a:gd name="connsiteY2" fmla="*/ 8697 h 66675"/>
                <a:gd name="connsiteX3" fmla="*/ 148290 w 161925"/>
                <a:gd name="connsiteY3" fmla="*/ 24890 h 66675"/>
                <a:gd name="connsiteX4" fmla="*/ 154957 w 161925"/>
                <a:gd name="connsiteY4" fmla="*/ 45845 h 66675"/>
                <a:gd name="connsiteX5" fmla="*/ 140670 w 161925"/>
                <a:gd name="connsiteY5" fmla="*/ 29652 h 66675"/>
                <a:gd name="connsiteX6" fmla="*/ 130192 w 161925"/>
                <a:gd name="connsiteY6" fmla="*/ 23937 h 66675"/>
                <a:gd name="connsiteX7" fmla="*/ 154957 w 161925"/>
                <a:gd name="connsiteY7" fmla="*/ 56322 h 66675"/>
                <a:gd name="connsiteX8" fmla="*/ 138765 w 161925"/>
                <a:gd name="connsiteY8" fmla="*/ 42035 h 66675"/>
                <a:gd name="connsiteX9" fmla="*/ 124477 w 161925"/>
                <a:gd name="connsiteY9" fmla="*/ 33462 h 66675"/>
                <a:gd name="connsiteX10" fmla="*/ 146385 w 161925"/>
                <a:gd name="connsiteY10" fmla="*/ 62037 h 66675"/>
                <a:gd name="connsiteX11" fmla="*/ 131145 w 161925"/>
                <a:gd name="connsiteY11" fmla="*/ 49655 h 66675"/>
                <a:gd name="connsiteX12" fmla="*/ 118762 w 161925"/>
                <a:gd name="connsiteY12" fmla="*/ 42035 h 66675"/>
                <a:gd name="connsiteX13" fmla="*/ 139717 w 161925"/>
                <a:gd name="connsiteY13" fmla="*/ 66800 h 66675"/>
                <a:gd name="connsiteX14" fmla="*/ 122572 w 161925"/>
                <a:gd name="connsiteY14" fmla="*/ 56322 h 66675"/>
                <a:gd name="connsiteX15" fmla="*/ 108285 w 161925"/>
                <a:gd name="connsiteY15" fmla="*/ 53465 h 66675"/>
                <a:gd name="connsiteX16" fmla="*/ 67327 w 161925"/>
                <a:gd name="connsiteY16" fmla="*/ 59180 h 66675"/>
                <a:gd name="connsiteX17" fmla="*/ 13035 w 161925"/>
                <a:gd name="connsiteY17" fmla="*/ 64895 h 66675"/>
                <a:gd name="connsiteX18" fmla="*/ 14940 w 161925"/>
                <a:gd name="connsiteY18" fmla="*/ 20127 h 66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61925" h="66675">
                  <a:moveTo>
                    <a:pt x="14940" y="20127"/>
                  </a:moveTo>
                  <a:cubicBezTo>
                    <a:pt x="26370" y="20127"/>
                    <a:pt x="58755" y="21080"/>
                    <a:pt x="68280" y="18222"/>
                  </a:cubicBezTo>
                  <a:cubicBezTo>
                    <a:pt x="103522" y="5840"/>
                    <a:pt x="120667" y="5840"/>
                    <a:pt x="129240" y="8697"/>
                  </a:cubicBezTo>
                  <a:cubicBezTo>
                    <a:pt x="138765" y="11555"/>
                    <a:pt x="148290" y="24890"/>
                    <a:pt x="148290" y="24890"/>
                  </a:cubicBezTo>
                  <a:cubicBezTo>
                    <a:pt x="148290" y="24890"/>
                    <a:pt x="161625" y="46797"/>
                    <a:pt x="154957" y="45845"/>
                  </a:cubicBezTo>
                  <a:cubicBezTo>
                    <a:pt x="148290" y="45845"/>
                    <a:pt x="147337" y="34415"/>
                    <a:pt x="140670" y="29652"/>
                  </a:cubicBezTo>
                  <a:cubicBezTo>
                    <a:pt x="134002" y="24890"/>
                    <a:pt x="130192" y="23937"/>
                    <a:pt x="130192" y="23937"/>
                  </a:cubicBezTo>
                  <a:cubicBezTo>
                    <a:pt x="130192" y="23937"/>
                    <a:pt x="163530" y="49655"/>
                    <a:pt x="154957" y="56322"/>
                  </a:cubicBezTo>
                  <a:cubicBezTo>
                    <a:pt x="152100" y="59180"/>
                    <a:pt x="146385" y="48702"/>
                    <a:pt x="138765" y="42035"/>
                  </a:cubicBezTo>
                  <a:cubicBezTo>
                    <a:pt x="134002" y="37272"/>
                    <a:pt x="127335" y="34415"/>
                    <a:pt x="124477" y="33462"/>
                  </a:cubicBezTo>
                  <a:cubicBezTo>
                    <a:pt x="117810" y="30605"/>
                    <a:pt x="162577" y="62037"/>
                    <a:pt x="146385" y="62037"/>
                  </a:cubicBezTo>
                  <a:cubicBezTo>
                    <a:pt x="142575" y="62037"/>
                    <a:pt x="136860" y="54417"/>
                    <a:pt x="131145" y="49655"/>
                  </a:cubicBezTo>
                  <a:cubicBezTo>
                    <a:pt x="124477" y="43940"/>
                    <a:pt x="118762" y="42035"/>
                    <a:pt x="118762" y="42035"/>
                  </a:cubicBezTo>
                  <a:cubicBezTo>
                    <a:pt x="118762" y="42035"/>
                    <a:pt x="149242" y="64895"/>
                    <a:pt x="139717" y="66800"/>
                  </a:cubicBezTo>
                  <a:cubicBezTo>
                    <a:pt x="134955" y="67752"/>
                    <a:pt x="128287" y="60132"/>
                    <a:pt x="122572" y="56322"/>
                  </a:cubicBezTo>
                  <a:cubicBezTo>
                    <a:pt x="115905" y="52512"/>
                    <a:pt x="110190" y="53465"/>
                    <a:pt x="108285" y="53465"/>
                  </a:cubicBezTo>
                  <a:cubicBezTo>
                    <a:pt x="101617" y="53465"/>
                    <a:pt x="86377" y="57275"/>
                    <a:pt x="67327" y="59180"/>
                  </a:cubicBezTo>
                  <a:cubicBezTo>
                    <a:pt x="51135" y="61085"/>
                    <a:pt x="19702" y="62037"/>
                    <a:pt x="13035" y="64895"/>
                  </a:cubicBezTo>
                  <a:cubicBezTo>
                    <a:pt x="-1253" y="71562"/>
                    <a:pt x="14940" y="20127"/>
                    <a:pt x="14940" y="20127"/>
                  </a:cubicBezTo>
                  <a:close/>
                </a:path>
              </a:pathLst>
            </a:custGeom>
            <a:solidFill>
              <a:schemeClr val="accent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35" name="任意多边形: 形状 9834">
              <a:extLst>
                <a:ext uri="{FF2B5EF4-FFF2-40B4-BE49-F238E27FC236}">
                  <a16:creationId xmlns:a16="http://schemas.microsoft.com/office/drawing/2014/main" id="{56FA7AFA-0F1A-46E4-8939-43255C7C64CF}"/>
                </a:ext>
              </a:extLst>
            </p:cNvPr>
            <p:cNvSpPr/>
            <p:nvPr/>
          </p:nvSpPr>
          <p:spPr>
            <a:xfrm flipH="1">
              <a:off x="9382679" y="1802525"/>
              <a:ext cx="985847" cy="1017648"/>
            </a:xfrm>
            <a:custGeom>
              <a:avLst/>
              <a:gdLst>
                <a:gd name="connsiteX0" fmla="*/ 29012 w 295275"/>
                <a:gd name="connsiteY0" fmla="*/ 19855 h 304800"/>
                <a:gd name="connsiteX1" fmla="*/ 109975 w 295275"/>
                <a:gd name="connsiteY1" fmla="*/ 39858 h 304800"/>
                <a:gd name="connsiteX2" fmla="*/ 172840 w 295275"/>
                <a:gd name="connsiteY2" fmla="*/ 190353 h 304800"/>
                <a:gd name="connsiteX3" fmla="*/ 290950 w 295275"/>
                <a:gd name="connsiteY3" fmla="*/ 216070 h 304800"/>
                <a:gd name="connsiteX4" fmla="*/ 272852 w 295275"/>
                <a:gd name="connsiteY4" fmla="*/ 281793 h 304800"/>
                <a:gd name="connsiteX5" fmla="*/ 113785 w 295275"/>
                <a:gd name="connsiteY5" fmla="*/ 293223 h 304800"/>
                <a:gd name="connsiteX6" fmla="*/ 20440 w 295275"/>
                <a:gd name="connsiteY6" fmla="*/ 172255 h 304800"/>
                <a:gd name="connsiteX7" fmla="*/ 29012 w 295275"/>
                <a:gd name="connsiteY7" fmla="*/ 19855 h 304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95275" h="304800">
                  <a:moveTo>
                    <a:pt x="29012" y="19855"/>
                  </a:moveTo>
                  <a:cubicBezTo>
                    <a:pt x="54730" y="-1100"/>
                    <a:pt x="98545" y="2710"/>
                    <a:pt x="109975" y="39858"/>
                  </a:cubicBezTo>
                  <a:cubicBezTo>
                    <a:pt x="121405" y="77958"/>
                    <a:pt x="167125" y="174160"/>
                    <a:pt x="172840" y="190353"/>
                  </a:cubicBezTo>
                  <a:cubicBezTo>
                    <a:pt x="178555" y="206545"/>
                    <a:pt x="290950" y="216070"/>
                    <a:pt x="290950" y="216070"/>
                  </a:cubicBezTo>
                  <a:cubicBezTo>
                    <a:pt x="290950" y="216070"/>
                    <a:pt x="294760" y="273220"/>
                    <a:pt x="272852" y="281793"/>
                  </a:cubicBezTo>
                  <a:cubicBezTo>
                    <a:pt x="250945" y="290365"/>
                    <a:pt x="167125" y="307510"/>
                    <a:pt x="113785" y="293223"/>
                  </a:cubicBezTo>
                  <a:cubicBezTo>
                    <a:pt x="89020" y="286555"/>
                    <a:pt x="38537" y="222738"/>
                    <a:pt x="20440" y="172255"/>
                  </a:cubicBezTo>
                  <a:cubicBezTo>
                    <a:pt x="-13850" y="77958"/>
                    <a:pt x="29012" y="19855"/>
                    <a:pt x="29012" y="19855"/>
                  </a:cubicBez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36" name="任意多边形: 形状 9835">
              <a:extLst>
                <a:ext uri="{FF2B5EF4-FFF2-40B4-BE49-F238E27FC236}">
                  <a16:creationId xmlns:a16="http://schemas.microsoft.com/office/drawing/2014/main" id="{B1C009D0-9519-408A-A591-348D197334EC}"/>
                </a:ext>
              </a:extLst>
            </p:cNvPr>
            <p:cNvSpPr/>
            <p:nvPr/>
          </p:nvSpPr>
          <p:spPr>
            <a:xfrm flipH="1">
              <a:off x="9382679" y="1793347"/>
              <a:ext cx="985847" cy="1049449"/>
            </a:xfrm>
            <a:custGeom>
              <a:avLst/>
              <a:gdLst>
                <a:gd name="connsiteX0" fmla="*/ 29012 w 295275"/>
                <a:gd name="connsiteY0" fmla="*/ 18794 h 314325"/>
                <a:gd name="connsiteX1" fmla="*/ 20440 w 295275"/>
                <a:gd name="connsiteY1" fmla="*/ 171194 h 314325"/>
                <a:gd name="connsiteX2" fmla="*/ 111880 w 295275"/>
                <a:gd name="connsiteY2" fmla="*/ 312164 h 314325"/>
                <a:gd name="connsiteX3" fmla="*/ 271900 w 295275"/>
                <a:gd name="connsiteY3" fmla="*/ 286447 h 314325"/>
                <a:gd name="connsiteX4" fmla="*/ 289045 w 295275"/>
                <a:gd name="connsiteY4" fmla="*/ 248347 h 314325"/>
                <a:gd name="connsiteX5" fmla="*/ 131882 w 295275"/>
                <a:gd name="connsiteY5" fmla="*/ 234059 h 314325"/>
                <a:gd name="connsiteX6" fmla="*/ 79495 w 295275"/>
                <a:gd name="connsiteY6" fmla="*/ 10222 h 314325"/>
                <a:gd name="connsiteX7" fmla="*/ 29012 w 295275"/>
                <a:gd name="connsiteY7" fmla="*/ 18794 h 314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95275" h="314325">
                  <a:moveTo>
                    <a:pt x="29012" y="18794"/>
                  </a:moveTo>
                  <a:cubicBezTo>
                    <a:pt x="29012" y="18794"/>
                    <a:pt x="-13850" y="76897"/>
                    <a:pt x="20440" y="171194"/>
                  </a:cubicBezTo>
                  <a:cubicBezTo>
                    <a:pt x="38537" y="221677"/>
                    <a:pt x="87115" y="305497"/>
                    <a:pt x="111880" y="312164"/>
                  </a:cubicBezTo>
                  <a:cubicBezTo>
                    <a:pt x="164267" y="326452"/>
                    <a:pt x="249992" y="295019"/>
                    <a:pt x="271900" y="286447"/>
                  </a:cubicBezTo>
                  <a:cubicBezTo>
                    <a:pt x="283330" y="281684"/>
                    <a:pt x="287140" y="264539"/>
                    <a:pt x="289045" y="248347"/>
                  </a:cubicBezTo>
                  <a:cubicBezTo>
                    <a:pt x="215702" y="248347"/>
                    <a:pt x="178555" y="258824"/>
                    <a:pt x="131882" y="234059"/>
                  </a:cubicBezTo>
                  <a:cubicBezTo>
                    <a:pt x="94735" y="215009"/>
                    <a:pt x="60445" y="54989"/>
                    <a:pt x="79495" y="10222"/>
                  </a:cubicBezTo>
                  <a:cubicBezTo>
                    <a:pt x="62350" y="4507"/>
                    <a:pt x="43300" y="6412"/>
                    <a:pt x="29012" y="18794"/>
                  </a:cubicBezTo>
                  <a:close/>
                </a:path>
              </a:pathLst>
            </a:custGeom>
            <a:solidFill>
              <a:schemeClr val="accent1">
                <a:lumMod val="5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  <p:sp>
        <p:nvSpPr>
          <p:cNvPr id="9843" name="任意多边形: 形状 9842">
            <a:extLst>
              <a:ext uri="{FF2B5EF4-FFF2-40B4-BE49-F238E27FC236}">
                <a16:creationId xmlns:a16="http://schemas.microsoft.com/office/drawing/2014/main" id="{AB634AC3-C15A-4A20-BB5E-997283112387}"/>
              </a:ext>
            </a:extLst>
          </p:cNvPr>
          <p:cNvSpPr/>
          <p:nvPr userDrawn="1"/>
        </p:nvSpPr>
        <p:spPr>
          <a:xfrm>
            <a:off x="4816670" y="6345849"/>
            <a:ext cx="584011" cy="194670"/>
          </a:xfrm>
          <a:custGeom>
            <a:avLst/>
            <a:gdLst>
              <a:gd name="connsiteX0" fmla="*/ 554533 w 599495"/>
              <a:gd name="connsiteY0" fmla="*/ 124895 h 199831"/>
              <a:gd name="connsiteX1" fmla="*/ 314735 w 599495"/>
              <a:gd name="connsiteY1" fmla="*/ 174853 h 199831"/>
              <a:gd name="connsiteX2" fmla="*/ 74937 w 599495"/>
              <a:gd name="connsiteY2" fmla="*/ 124895 h 199831"/>
              <a:gd name="connsiteX3" fmla="*/ 314735 w 599495"/>
              <a:gd name="connsiteY3" fmla="*/ 74937 h 199831"/>
              <a:gd name="connsiteX4" fmla="*/ 554533 w 599495"/>
              <a:gd name="connsiteY4" fmla="*/ 124895 h 1998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99495" h="199831">
                <a:moveTo>
                  <a:pt x="554533" y="124895"/>
                </a:moveTo>
                <a:cubicBezTo>
                  <a:pt x="554533" y="154870"/>
                  <a:pt x="444626" y="174853"/>
                  <a:pt x="314735" y="174853"/>
                </a:cubicBezTo>
                <a:cubicBezTo>
                  <a:pt x="184844" y="174853"/>
                  <a:pt x="74937" y="154870"/>
                  <a:pt x="74937" y="124895"/>
                </a:cubicBezTo>
                <a:cubicBezTo>
                  <a:pt x="74937" y="94920"/>
                  <a:pt x="184844" y="74937"/>
                  <a:pt x="314735" y="74937"/>
                </a:cubicBezTo>
                <a:cubicBezTo>
                  <a:pt x="444626" y="74937"/>
                  <a:pt x="554533" y="84929"/>
                  <a:pt x="554533" y="124895"/>
                </a:cubicBezTo>
                <a:close/>
              </a:path>
            </a:pathLst>
          </a:custGeom>
          <a:solidFill>
            <a:srgbClr val="00679A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9844" name="任意多边形: 形状 9843">
            <a:extLst>
              <a:ext uri="{FF2B5EF4-FFF2-40B4-BE49-F238E27FC236}">
                <a16:creationId xmlns:a16="http://schemas.microsoft.com/office/drawing/2014/main" id="{CAA007E2-EF18-48B5-A061-46C34789A8AE}"/>
              </a:ext>
            </a:extLst>
          </p:cNvPr>
          <p:cNvSpPr/>
          <p:nvPr userDrawn="1"/>
        </p:nvSpPr>
        <p:spPr>
          <a:xfrm>
            <a:off x="4816670" y="6404251"/>
            <a:ext cx="584011" cy="194670"/>
          </a:xfrm>
          <a:custGeom>
            <a:avLst/>
            <a:gdLst>
              <a:gd name="connsiteX0" fmla="*/ 554533 w 599495"/>
              <a:gd name="connsiteY0" fmla="*/ 74937 h 199831"/>
              <a:gd name="connsiteX1" fmla="*/ 314735 w 599495"/>
              <a:gd name="connsiteY1" fmla="*/ 124895 h 199831"/>
              <a:gd name="connsiteX2" fmla="*/ 74937 w 599495"/>
              <a:gd name="connsiteY2" fmla="*/ 74937 h 199831"/>
              <a:gd name="connsiteX3" fmla="*/ 74937 w 599495"/>
              <a:gd name="connsiteY3" fmla="*/ 94920 h 199831"/>
              <a:gd name="connsiteX4" fmla="*/ 74937 w 599495"/>
              <a:gd name="connsiteY4" fmla="*/ 94920 h 199831"/>
              <a:gd name="connsiteX5" fmla="*/ 314735 w 599495"/>
              <a:gd name="connsiteY5" fmla="*/ 144878 h 199831"/>
              <a:gd name="connsiteX6" fmla="*/ 554533 w 599495"/>
              <a:gd name="connsiteY6" fmla="*/ 94920 h 199831"/>
              <a:gd name="connsiteX7" fmla="*/ 554533 w 599495"/>
              <a:gd name="connsiteY7" fmla="*/ 94920 h 199831"/>
              <a:gd name="connsiteX8" fmla="*/ 554533 w 599495"/>
              <a:gd name="connsiteY8" fmla="*/ 94920 h 199831"/>
              <a:gd name="connsiteX9" fmla="*/ 554533 w 599495"/>
              <a:gd name="connsiteY9" fmla="*/ 94920 h 199831"/>
              <a:gd name="connsiteX10" fmla="*/ 554533 w 599495"/>
              <a:gd name="connsiteY10" fmla="*/ 94920 h 199831"/>
              <a:gd name="connsiteX11" fmla="*/ 554533 w 599495"/>
              <a:gd name="connsiteY11" fmla="*/ 74937 h 1998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599495" h="199831">
                <a:moveTo>
                  <a:pt x="554533" y="74937"/>
                </a:moveTo>
                <a:cubicBezTo>
                  <a:pt x="534550" y="104912"/>
                  <a:pt x="434634" y="124895"/>
                  <a:pt x="314735" y="124895"/>
                </a:cubicBezTo>
                <a:cubicBezTo>
                  <a:pt x="184844" y="124895"/>
                  <a:pt x="74937" y="104912"/>
                  <a:pt x="74937" y="74937"/>
                </a:cubicBezTo>
                <a:cubicBezTo>
                  <a:pt x="74937" y="74937"/>
                  <a:pt x="74937" y="94920"/>
                  <a:pt x="74937" y="94920"/>
                </a:cubicBezTo>
                <a:lnTo>
                  <a:pt x="74937" y="94920"/>
                </a:lnTo>
                <a:cubicBezTo>
                  <a:pt x="74937" y="124895"/>
                  <a:pt x="184844" y="144878"/>
                  <a:pt x="314735" y="144878"/>
                </a:cubicBezTo>
                <a:cubicBezTo>
                  <a:pt x="444626" y="144878"/>
                  <a:pt x="554533" y="124895"/>
                  <a:pt x="554533" y="94920"/>
                </a:cubicBezTo>
                <a:lnTo>
                  <a:pt x="554533" y="94920"/>
                </a:lnTo>
                <a:lnTo>
                  <a:pt x="554533" y="94920"/>
                </a:lnTo>
                <a:cubicBezTo>
                  <a:pt x="554533" y="94920"/>
                  <a:pt x="554533" y="94920"/>
                  <a:pt x="554533" y="94920"/>
                </a:cubicBezTo>
                <a:cubicBezTo>
                  <a:pt x="554533" y="94920"/>
                  <a:pt x="554533" y="94920"/>
                  <a:pt x="554533" y="94920"/>
                </a:cubicBezTo>
                <a:cubicBezTo>
                  <a:pt x="554533" y="94920"/>
                  <a:pt x="554533" y="74937"/>
                  <a:pt x="554533" y="74937"/>
                </a:cubicBezTo>
                <a:close/>
              </a:path>
            </a:pathLst>
          </a:custGeom>
          <a:solidFill>
            <a:srgbClr val="00679A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9845" name="任意多边形: 形状 9844">
            <a:extLst>
              <a:ext uri="{FF2B5EF4-FFF2-40B4-BE49-F238E27FC236}">
                <a16:creationId xmlns:a16="http://schemas.microsoft.com/office/drawing/2014/main" id="{D50517E0-26B2-4DB0-A5DE-95E07275CD6A}"/>
              </a:ext>
            </a:extLst>
          </p:cNvPr>
          <p:cNvSpPr/>
          <p:nvPr userDrawn="1"/>
        </p:nvSpPr>
        <p:spPr>
          <a:xfrm>
            <a:off x="4914005" y="5041559"/>
            <a:ext cx="194670" cy="1460026"/>
          </a:xfrm>
          <a:custGeom>
            <a:avLst/>
            <a:gdLst>
              <a:gd name="connsiteX0" fmla="*/ 204827 w 199831"/>
              <a:gd name="connsiteY0" fmla="*/ 1463768 h 1498738"/>
              <a:gd name="connsiteX1" fmla="*/ 134886 w 199831"/>
              <a:gd name="connsiteY1" fmla="*/ 1463768 h 1498738"/>
              <a:gd name="connsiteX2" fmla="*/ 134886 w 199831"/>
              <a:gd name="connsiteY2" fmla="*/ 1193995 h 1498738"/>
              <a:gd name="connsiteX3" fmla="*/ 84928 w 199831"/>
              <a:gd name="connsiteY3" fmla="*/ 1004155 h 1498738"/>
              <a:gd name="connsiteX4" fmla="*/ 74937 w 199831"/>
              <a:gd name="connsiteY4" fmla="*/ 74937 h 1498738"/>
              <a:gd name="connsiteX5" fmla="*/ 204827 w 199831"/>
              <a:gd name="connsiteY5" fmla="*/ 74937 h 1498738"/>
              <a:gd name="connsiteX6" fmla="*/ 204827 w 199831"/>
              <a:gd name="connsiteY6" fmla="*/ 1463768 h 14987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9831" h="1498738">
                <a:moveTo>
                  <a:pt x="204827" y="1463768"/>
                </a:moveTo>
                <a:lnTo>
                  <a:pt x="134886" y="1463768"/>
                </a:lnTo>
                <a:lnTo>
                  <a:pt x="134886" y="1193995"/>
                </a:lnTo>
                <a:cubicBezTo>
                  <a:pt x="134886" y="1193995"/>
                  <a:pt x="94920" y="1084087"/>
                  <a:pt x="84928" y="1004155"/>
                </a:cubicBezTo>
                <a:cubicBezTo>
                  <a:pt x="84928" y="924222"/>
                  <a:pt x="84928" y="924222"/>
                  <a:pt x="74937" y="74937"/>
                </a:cubicBezTo>
                <a:cubicBezTo>
                  <a:pt x="74937" y="74937"/>
                  <a:pt x="144878" y="74937"/>
                  <a:pt x="204827" y="74937"/>
                </a:cubicBezTo>
                <a:cubicBezTo>
                  <a:pt x="214819" y="914230"/>
                  <a:pt x="204827" y="1463768"/>
                  <a:pt x="204827" y="1463768"/>
                </a:cubicBezTo>
                <a:close/>
              </a:path>
            </a:pathLst>
          </a:custGeom>
          <a:solidFill>
            <a:srgbClr val="00679A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9846" name="任意多边形: 形状 9845">
            <a:extLst>
              <a:ext uri="{FF2B5EF4-FFF2-40B4-BE49-F238E27FC236}">
                <a16:creationId xmlns:a16="http://schemas.microsoft.com/office/drawing/2014/main" id="{7967E5FE-5F8F-416E-A535-137B670C1389}"/>
              </a:ext>
            </a:extLst>
          </p:cNvPr>
          <p:cNvSpPr/>
          <p:nvPr userDrawn="1"/>
        </p:nvSpPr>
        <p:spPr>
          <a:xfrm>
            <a:off x="5128143" y="5061025"/>
            <a:ext cx="194670" cy="1460026"/>
          </a:xfrm>
          <a:custGeom>
            <a:avLst/>
            <a:gdLst>
              <a:gd name="connsiteX0" fmla="*/ 84928 w 199831"/>
              <a:gd name="connsiteY0" fmla="*/ 74937 h 1498738"/>
              <a:gd name="connsiteX1" fmla="*/ 94920 w 199831"/>
              <a:gd name="connsiteY1" fmla="*/ 1014146 h 1498738"/>
              <a:gd name="connsiteX2" fmla="*/ 74937 w 199831"/>
              <a:gd name="connsiteY2" fmla="*/ 1184003 h 1498738"/>
              <a:gd name="connsiteX3" fmla="*/ 74937 w 199831"/>
              <a:gd name="connsiteY3" fmla="*/ 1463768 h 1498738"/>
              <a:gd name="connsiteX4" fmla="*/ 94920 w 199831"/>
              <a:gd name="connsiteY4" fmla="*/ 1443784 h 1498738"/>
              <a:gd name="connsiteX5" fmla="*/ 94920 w 199831"/>
              <a:gd name="connsiteY5" fmla="*/ 1193995 h 1498738"/>
              <a:gd name="connsiteX6" fmla="*/ 134886 w 199831"/>
              <a:gd name="connsiteY6" fmla="*/ 1004155 h 1498738"/>
              <a:gd name="connsiteX7" fmla="*/ 134886 w 199831"/>
              <a:gd name="connsiteY7" fmla="*/ 74937 h 1498738"/>
              <a:gd name="connsiteX8" fmla="*/ 84928 w 199831"/>
              <a:gd name="connsiteY8" fmla="*/ 74937 h 14987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99831" h="1498738">
                <a:moveTo>
                  <a:pt x="84928" y="74937"/>
                </a:moveTo>
                <a:cubicBezTo>
                  <a:pt x="84928" y="94920"/>
                  <a:pt x="94920" y="964188"/>
                  <a:pt x="94920" y="1014146"/>
                </a:cubicBezTo>
                <a:cubicBezTo>
                  <a:pt x="94920" y="1064104"/>
                  <a:pt x="84928" y="1144037"/>
                  <a:pt x="74937" y="1184003"/>
                </a:cubicBezTo>
                <a:cubicBezTo>
                  <a:pt x="74937" y="1223970"/>
                  <a:pt x="74937" y="1433793"/>
                  <a:pt x="74937" y="1463768"/>
                </a:cubicBezTo>
                <a:lnTo>
                  <a:pt x="94920" y="1443784"/>
                </a:lnTo>
                <a:cubicBezTo>
                  <a:pt x="94920" y="1443784"/>
                  <a:pt x="94920" y="1273928"/>
                  <a:pt x="94920" y="1193995"/>
                </a:cubicBezTo>
                <a:cubicBezTo>
                  <a:pt x="104912" y="1154028"/>
                  <a:pt x="134886" y="1094079"/>
                  <a:pt x="134886" y="1004155"/>
                </a:cubicBezTo>
                <a:cubicBezTo>
                  <a:pt x="134886" y="944205"/>
                  <a:pt x="134886" y="74937"/>
                  <a:pt x="134886" y="74937"/>
                </a:cubicBezTo>
                <a:lnTo>
                  <a:pt x="84928" y="74937"/>
                </a:lnTo>
                <a:close/>
              </a:path>
            </a:pathLst>
          </a:custGeom>
          <a:solidFill>
            <a:srgbClr val="00679A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9847" name="任意多边形: 形状 9846">
            <a:extLst>
              <a:ext uri="{FF2B5EF4-FFF2-40B4-BE49-F238E27FC236}">
                <a16:creationId xmlns:a16="http://schemas.microsoft.com/office/drawing/2014/main" id="{DE641ACD-BE93-4A53-A280-081C301F194D}"/>
              </a:ext>
            </a:extLst>
          </p:cNvPr>
          <p:cNvSpPr/>
          <p:nvPr userDrawn="1"/>
        </p:nvSpPr>
        <p:spPr>
          <a:xfrm>
            <a:off x="5040541" y="5051292"/>
            <a:ext cx="194670" cy="1460026"/>
          </a:xfrm>
          <a:custGeom>
            <a:avLst/>
            <a:gdLst>
              <a:gd name="connsiteX0" fmla="*/ 84928 w 199831"/>
              <a:gd name="connsiteY0" fmla="*/ 84929 h 1498738"/>
              <a:gd name="connsiteX1" fmla="*/ 154870 w 199831"/>
              <a:gd name="connsiteY1" fmla="*/ 74937 h 1498738"/>
              <a:gd name="connsiteX2" fmla="*/ 164861 w 199831"/>
              <a:gd name="connsiteY2" fmla="*/ 1024138 h 1498738"/>
              <a:gd name="connsiteX3" fmla="*/ 144878 w 199831"/>
              <a:gd name="connsiteY3" fmla="*/ 1193995 h 1498738"/>
              <a:gd name="connsiteX4" fmla="*/ 144878 w 199831"/>
              <a:gd name="connsiteY4" fmla="*/ 1463768 h 1498738"/>
              <a:gd name="connsiteX5" fmla="*/ 74937 w 199831"/>
              <a:gd name="connsiteY5" fmla="*/ 1473759 h 1498738"/>
              <a:gd name="connsiteX6" fmla="*/ 84928 w 199831"/>
              <a:gd name="connsiteY6" fmla="*/ 84929 h 14987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9831" h="1498738">
                <a:moveTo>
                  <a:pt x="84928" y="84929"/>
                </a:moveTo>
                <a:lnTo>
                  <a:pt x="154870" y="74937"/>
                </a:lnTo>
                <a:cubicBezTo>
                  <a:pt x="154870" y="74937"/>
                  <a:pt x="164861" y="964188"/>
                  <a:pt x="164861" y="1024138"/>
                </a:cubicBezTo>
                <a:cubicBezTo>
                  <a:pt x="164861" y="1074096"/>
                  <a:pt x="154870" y="1154028"/>
                  <a:pt x="144878" y="1193995"/>
                </a:cubicBezTo>
                <a:cubicBezTo>
                  <a:pt x="144878" y="1233961"/>
                  <a:pt x="144878" y="1463768"/>
                  <a:pt x="144878" y="1463768"/>
                </a:cubicBezTo>
                <a:lnTo>
                  <a:pt x="74937" y="1473759"/>
                </a:lnTo>
                <a:lnTo>
                  <a:pt x="84928" y="84929"/>
                </a:lnTo>
                <a:close/>
              </a:path>
            </a:pathLst>
          </a:custGeom>
          <a:solidFill>
            <a:srgbClr val="00679A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9848" name="任意多边形: 形状 9847">
            <a:extLst>
              <a:ext uri="{FF2B5EF4-FFF2-40B4-BE49-F238E27FC236}">
                <a16:creationId xmlns:a16="http://schemas.microsoft.com/office/drawing/2014/main" id="{85B47817-7109-4BB0-A9DF-4D6309F41F43}"/>
              </a:ext>
            </a:extLst>
          </p:cNvPr>
          <p:cNvSpPr/>
          <p:nvPr userDrawn="1"/>
        </p:nvSpPr>
        <p:spPr>
          <a:xfrm>
            <a:off x="4894538" y="5041559"/>
            <a:ext cx="389340" cy="194670"/>
          </a:xfrm>
          <a:custGeom>
            <a:avLst/>
            <a:gdLst>
              <a:gd name="connsiteX0" fmla="*/ 394668 w 399663"/>
              <a:gd name="connsiteY0" fmla="*/ 74937 h 199831"/>
              <a:gd name="connsiteX1" fmla="*/ 74937 w 399663"/>
              <a:gd name="connsiteY1" fmla="*/ 74937 h 199831"/>
              <a:gd name="connsiteX2" fmla="*/ 74937 w 399663"/>
              <a:gd name="connsiteY2" fmla="*/ 84929 h 199831"/>
              <a:gd name="connsiteX3" fmla="*/ 74937 w 399663"/>
              <a:gd name="connsiteY3" fmla="*/ 94920 h 199831"/>
              <a:gd name="connsiteX4" fmla="*/ 84928 w 399663"/>
              <a:gd name="connsiteY4" fmla="*/ 94920 h 199831"/>
              <a:gd name="connsiteX5" fmla="*/ 84928 w 399663"/>
              <a:gd name="connsiteY5" fmla="*/ 124895 h 199831"/>
              <a:gd name="connsiteX6" fmla="*/ 74937 w 399663"/>
              <a:gd name="connsiteY6" fmla="*/ 124895 h 199831"/>
              <a:gd name="connsiteX7" fmla="*/ 74937 w 399663"/>
              <a:gd name="connsiteY7" fmla="*/ 134886 h 199831"/>
              <a:gd name="connsiteX8" fmla="*/ 74937 w 399663"/>
              <a:gd name="connsiteY8" fmla="*/ 144878 h 199831"/>
              <a:gd name="connsiteX9" fmla="*/ 84928 w 399663"/>
              <a:gd name="connsiteY9" fmla="*/ 144878 h 199831"/>
              <a:gd name="connsiteX10" fmla="*/ 84928 w 399663"/>
              <a:gd name="connsiteY10" fmla="*/ 164861 h 199831"/>
              <a:gd name="connsiteX11" fmla="*/ 74937 w 399663"/>
              <a:gd name="connsiteY11" fmla="*/ 164861 h 199831"/>
              <a:gd name="connsiteX12" fmla="*/ 74937 w 399663"/>
              <a:gd name="connsiteY12" fmla="*/ 174853 h 199831"/>
              <a:gd name="connsiteX13" fmla="*/ 74937 w 399663"/>
              <a:gd name="connsiteY13" fmla="*/ 184844 h 199831"/>
              <a:gd name="connsiteX14" fmla="*/ 394668 w 399663"/>
              <a:gd name="connsiteY14" fmla="*/ 184844 h 199831"/>
              <a:gd name="connsiteX15" fmla="*/ 394668 w 399663"/>
              <a:gd name="connsiteY15" fmla="*/ 174853 h 199831"/>
              <a:gd name="connsiteX16" fmla="*/ 394668 w 399663"/>
              <a:gd name="connsiteY16" fmla="*/ 164861 h 199831"/>
              <a:gd name="connsiteX17" fmla="*/ 384676 w 399663"/>
              <a:gd name="connsiteY17" fmla="*/ 164861 h 199831"/>
              <a:gd name="connsiteX18" fmla="*/ 384676 w 399663"/>
              <a:gd name="connsiteY18" fmla="*/ 144878 h 199831"/>
              <a:gd name="connsiteX19" fmla="*/ 394668 w 399663"/>
              <a:gd name="connsiteY19" fmla="*/ 144878 h 199831"/>
              <a:gd name="connsiteX20" fmla="*/ 394668 w 399663"/>
              <a:gd name="connsiteY20" fmla="*/ 134886 h 199831"/>
              <a:gd name="connsiteX21" fmla="*/ 394668 w 399663"/>
              <a:gd name="connsiteY21" fmla="*/ 124895 h 199831"/>
              <a:gd name="connsiteX22" fmla="*/ 384676 w 399663"/>
              <a:gd name="connsiteY22" fmla="*/ 124895 h 199831"/>
              <a:gd name="connsiteX23" fmla="*/ 384676 w 399663"/>
              <a:gd name="connsiteY23" fmla="*/ 94920 h 199831"/>
              <a:gd name="connsiteX24" fmla="*/ 394668 w 399663"/>
              <a:gd name="connsiteY24" fmla="*/ 94920 h 199831"/>
              <a:gd name="connsiteX25" fmla="*/ 394668 w 399663"/>
              <a:gd name="connsiteY25" fmla="*/ 74937 h 199831"/>
              <a:gd name="connsiteX26" fmla="*/ 394668 w 399663"/>
              <a:gd name="connsiteY26" fmla="*/ 74937 h 1998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399663" h="199831">
                <a:moveTo>
                  <a:pt x="394668" y="74937"/>
                </a:moveTo>
                <a:lnTo>
                  <a:pt x="74937" y="74937"/>
                </a:lnTo>
                <a:cubicBezTo>
                  <a:pt x="74937" y="74937"/>
                  <a:pt x="74937" y="74937"/>
                  <a:pt x="74937" y="84929"/>
                </a:cubicBezTo>
                <a:cubicBezTo>
                  <a:pt x="74937" y="84929"/>
                  <a:pt x="74937" y="94920"/>
                  <a:pt x="74937" y="94920"/>
                </a:cubicBezTo>
                <a:lnTo>
                  <a:pt x="84928" y="94920"/>
                </a:lnTo>
                <a:lnTo>
                  <a:pt x="84928" y="124895"/>
                </a:lnTo>
                <a:lnTo>
                  <a:pt x="74937" y="124895"/>
                </a:lnTo>
                <a:cubicBezTo>
                  <a:pt x="74937" y="124895"/>
                  <a:pt x="74937" y="124895"/>
                  <a:pt x="74937" y="134886"/>
                </a:cubicBezTo>
                <a:cubicBezTo>
                  <a:pt x="74937" y="134886"/>
                  <a:pt x="74937" y="144878"/>
                  <a:pt x="74937" y="144878"/>
                </a:cubicBezTo>
                <a:lnTo>
                  <a:pt x="84928" y="144878"/>
                </a:lnTo>
                <a:lnTo>
                  <a:pt x="84928" y="164861"/>
                </a:lnTo>
                <a:lnTo>
                  <a:pt x="74937" y="164861"/>
                </a:lnTo>
                <a:cubicBezTo>
                  <a:pt x="74937" y="164861"/>
                  <a:pt x="74937" y="164861"/>
                  <a:pt x="74937" y="174853"/>
                </a:cubicBezTo>
                <a:cubicBezTo>
                  <a:pt x="74937" y="174853"/>
                  <a:pt x="74937" y="184844"/>
                  <a:pt x="74937" y="184844"/>
                </a:cubicBezTo>
                <a:lnTo>
                  <a:pt x="394668" y="184844"/>
                </a:lnTo>
                <a:cubicBezTo>
                  <a:pt x="394668" y="184844"/>
                  <a:pt x="394668" y="184844"/>
                  <a:pt x="394668" y="174853"/>
                </a:cubicBezTo>
                <a:cubicBezTo>
                  <a:pt x="394668" y="174853"/>
                  <a:pt x="394668" y="164861"/>
                  <a:pt x="394668" y="164861"/>
                </a:cubicBezTo>
                <a:lnTo>
                  <a:pt x="384676" y="164861"/>
                </a:lnTo>
                <a:lnTo>
                  <a:pt x="384676" y="144878"/>
                </a:lnTo>
                <a:lnTo>
                  <a:pt x="394668" y="144878"/>
                </a:lnTo>
                <a:cubicBezTo>
                  <a:pt x="394668" y="144878"/>
                  <a:pt x="394668" y="144878"/>
                  <a:pt x="394668" y="134886"/>
                </a:cubicBezTo>
                <a:cubicBezTo>
                  <a:pt x="394668" y="134886"/>
                  <a:pt x="394668" y="124895"/>
                  <a:pt x="394668" y="124895"/>
                </a:cubicBezTo>
                <a:lnTo>
                  <a:pt x="384676" y="124895"/>
                </a:lnTo>
                <a:lnTo>
                  <a:pt x="384676" y="94920"/>
                </a:lnTo>
                <a:lnTo>
                  <a:pt x="394668" y="94920"/>
                </a:lnTo>
                <a:cubicBezTo>
                  <a:pt x="394668" y="94920"/>
                  <a:pt x="404659" y="94920"/>
                  <a:pt x="394668" y="74937"/>
                </a:cubicBezTo>
                <a:cubicBezTo>
                  <a:pt x="404659" y="84929"/>
                  <a:pt x="394668" y="74937"/>
                  <a:pt x="394668" y="74937"/>
                </a:cubicBezTo>
                <a:close/>
              </a:path>
            </a:pathLst>
          </a:custGeom>
          <a:solidFill>
            <a:srgbClr val="00679A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9849" name="任意多边形: 形状 9848">
            <a:extLst>
              <a:ext uri="{FF2B5EF4-FFF2-40B4-BE49-F238E27FC236}">
                <a16:creationId xmlns:a16="http://schemas.microsoft.com/office/drawing/2014/main" id="{B8F59108-87C3-4EBC-97C8-7673072047F2}"/>
              </a:ext>
            </a:extLst>
          </p:cNvPr>
          <p:cNvSpPr/>
          <p:nvPr userDrawn="1"/>
        </p:nvSpPr>
        <p:spPr>
          <a:xfrm>
            <a:off x="4845870" y="4360213"/>
            <a:ext cx="486676" cy="1654698"/>
          </a:xfrm>
          <a:custGeom>
            <a:avLst/>
            <a:gdLst>
              <a:gd name="connsiteX0" fmla="*/ 74937 w 499579"/>
              <a:gd name="connsiteY0" fmla="*/ 1663599 h 1698569"/>
              <a:gd name="connsiteX1" fmla="*/ 74937 w 499579"/>
              <a:gd name="connsiteY1" fmla="*/ 84929 h 1698569"/>
              <a:gd name="connsiteX2" fmla="*/ 84929 w 499579"/>
              <a:gd name="connsiteY2" fmla="*/ 74937 h 1698569"/>
              <a:gd name="connsiteX3" fmla="*/ 84929 w 499579"/>
              <a:gd name="connsiteY3" fmla="*/ 74937 h 1698569"/>
              <a:gd name="connsiteX4" fmla="*/ 474600 w 499579"/>
              <a:gd name="connsiteY4" fmla="*/ 74937 h 1698569"/>
              <a:gd name="connsiteX5" fmla="*/ 484592 w 499579"/>
              <a:gd name="connsiteY5" fmla="*/ 74937 h 1698569"/>
              <a:gd name="connsiteX6" fmla="*/ 484592 w 499579"/>
              <a:gd name="connsiteY6" fmla="*/ 74937 h 1698569"/>
              <a:gd name="connsiteX7" fmla="*/ 484592 w 499579"/>
              <a:gd name="connsiteY7" fmla="*/ 84929 h 1698569"/>
              <a:gd name="connsiteX8" fmla="*/ 484592 w 499579"/>
              <a:gd name="connsiteY8" fmla="*/ 84929 h 1698569"/>
              <a:gd name="connsiteX9" fmla="*/ 484592 w 499579"/>
              <a:gd name="connsiteY9" fmla="*/ 1663599 h 1698569"/>
              <a:gd name="connsiteX10" fmla="*/ 484592 w 499579"/>
              <a:gd name="connsiteY10" fmla="*/ 1673591 h 1698569"/>
              <a:gd name="connsiteX11" fmla="*/ 484592 w 499579"/>
              <a:gd name="connsiteY11" fmla="*/ 1673591 h 1698569"/>
              <a:gd name="connsiteX12" fmla="*/ 414651 w 499579"/>
              <a:gd name="connsiteY12" fmla="*/ 1693574 h 1698569"/>
              <a:gd name="connsiteX13" fmla="*/ 414651 w 499579"/>
              <a:gd name="connsiteY13" fmla="*/ 1693574 h 1698569"/>
              <a:gd name="connsiteX14" fmla="*/ 284760 w 499579"/>
              <a:gd name="connsiteY14" fmla="*/ 1703566 h 1698569"/>
              <a:gd name="connsiteX15" fmla="*/ 284760 w 499579"/>
              <a:gd name="connsiteY15" fmla="*/ 1703566 h 1698569"/>
              <a:gd name="connsiteX16" fmla="*/ 154870 w 499579"/>
              <a:gd name="connsiteY16" fmla="*/ 1693574 h 1698569"/>
              <a:gd name="connsiteX17" fmla="*/ 154870 w 499579"/>
              <a:gd name="connsiteY17" fmla="*/ 1693574 h 1698569"/>
              <a:gd name="connsiteX18" fmla="*/ 84929 w 499579"/>
              <a:gd name="connsiteY18" fmla="*/ 1683583 h 1698569"/>
              <a:gd name="connsiteX19" fmla="*/ 84929 w 499579"/>
              <a:gd name="connsiteY19" fmla="*/ 1683583 h 1698569"/>
              <a:gd name="connsiteX20" fmla="*/ 74937 w 499579"/>
              <a:gd name="connsiteY20" fmla="*/ 1663599 h 1698569"/>
              <a:gd name="connsiteX21" fmla="*/ 74937 w 499579"/>
              <a:gd name="connsiteY21" fmla="*/ 1663599 h 1698569"/>
              <a:gd name="connsiteX22" fmla="*/ 74937 w 499579"/>
              <a:gd name="connsiteY22" fmla="*/ 1663599 h 1698569"/>
              <a:gd name="connsiteX23" fmla="*/ 74937 w 499579"/>
              <a:gd name="connsiteY23" fmla="*/ 1663599 h 1698569"/>
              <a:gd name="connsiteX24" fmla="*/ 104912 w 499579"/>
              <a:gd name="connsiteY24" fmla="*/ 1653608 h 1698569"/>
              <a:gd name="connsiteX25" fmla="*/ 154870 w 499579"/>
              <a:gd name="connsiteY25" fmla="*/ 1663599 h 1698569"/>
              <a:gd name="connsiteX26" fmla="*/ 154870 w 499579"/>
              <a:gd name="connsiteY26" fmla="*/ 1663599 h 1698569"/>
              <a:gd name="connsiteX27" fmla="*/ 284760 w 499579"/>
              <a:gd name="connsiteY27" fmla="*/ 1673591 h 1698569"/>
              <a:gd name="connsiteX28" fmla="*/ 284760 w 499579"/>
              <a:gd name="connsiteY28" fmla="*/ 1673591 h 1698569"/>
              <a:gd name="connsiteX29" fmla="*/ 404659 w 499579"/>
              <a:gd name="connsiteY29" fmla="*/ 1663599 h 1698569"/>
              <a:gd name="connsiteX30" fmla="*/ 404659 w 499579"/>
              <a:gd name="connsiteY30" fmla="*/ 1663599 h 1698569"/>
              <a:gd name="connsiteX31" fmla="*/ 454617 w 499579"/>
              <a:gd name="connsiteY31" fmla="*/ 1653608 h 1698569"/>
              <a:gd name="connsiteX32" fmla="*/ 454617 w 499579"/>
              <a:gd name="connsiteY32" fmla="*/ 1653608 h 1698569"/>
              <a:gd name="connsiteX33" fmla="*/ 464609 w 499579"/>
              <a:gd name="connsiteY33" fmla="*/ 1653608 h 1698569"/>
              <a:gd name="connsiteX34" fmla="*/ 464609 w 499579"/>
              <a:gd name="connsiteY34" fmla="*/ 1653608 h 1698569"/>
              <a:gd name="connsiteX35" fmla="*/ 464609 w 499579"/>
              <a:gd name="connsiteY35" fmla="*/ 94920 h 1698569"/>
              <a:gd name="connsiteX36" fmla="*/ 104912 w 499579"/>
              <a:gd name="connsiteY36" fmla="*/ 94920 h 1698569"/>
              <a:gd name="connsiteX37" fmla="*/ 104912 w 499579"/>
              <a:gd name="connsiteY37" fmla="*/ 1653608 h 1698569"/>
              <a:gd name="connsiteX38" fmla="*/ 104912 w 499579"/>
              <a:gd name="connsiteY38" fmla="*/ 1653608 h 16985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</a:cxnLst>
            <a:rect l="l" t="t" r="r" b="b"/>
            <a:pathLst>
              <a:path w="499579" h="1698569">
                <a:moveTo>
                  <a:pt x="74937" y="1663599"/>
                </a:moveTo>
                <a:lnTo>
                  <a:pt x="74937" y="84929"/>
                </a:lnTo>
                <a:cubicBezTo>
                  <a:pt x="74937" y="74937"/>
                  <a:pt x="74937" y="74937"/>
                  <a:pt x="84929" y="74937"/>
                </a:cubicBezTo>
                <a:lnTo>
                  <a:pt x="84929" y="74937"/>
                </a:lnTo>
                <a:lnTo>
                  <a:pt x="474600" y="74937"/>
                </a:lnTo>
                <a:cubicBezTo>
                  <a:pt x="474600" y="74937"/>
                  <a:pt x="484592" y="74937"/>
                  <a:pt x="484592" y="74937"/>
                </a:cubicBezTo>
                <a:lnTo>
                  <a:pt x="484592" y="74937"/>
                </a:lnTo>
                <a:cubicBezTo>
                  <a:pt x="484592" y="74937"/>
                  <a:pt x="484592" y="74937"/>
                  <a:pt x="484592" y="84929"/>
                </a:cubicBezTo>
                <a:lnTo>
                  <a:pt x="484592" y="84929"/>
                </a:lnTo>
                <a:lnTo>
                  <a:pt x="484592" y="1663599"/>
                </a:lnTo>
                <a:cubicBezTo>
                  <a:pt x="484592" y="1663599"/>
                  <a:pt x="484592" y="1673591"/>
                  <a:pt x="484592" y="1673591"/>
                </a:cubicBezTo>
                <a:lnTo>
                  <a:pt x="484592" y="1673591"/>
                </a:lnTo>
                <a:cubicBezTo>
                  <a:pt x="484592" y="1673591"/>
                  <a:pt x="464609" y="1683583"/>
                  <a:pt x="414651" y="1693574"/>
                </a:cubicBezTo>
                <a:lnTo>
                  <a:pt x="414651" y="1693574"/>
                </a:lnTo>
                <a:cubicBezTo>
                  <a:pt x="384676" y="1693574"/>
                  <a:pt x="344710" y="1703566"/>
                  <a:pt x="284760" y="1703566"/>
                </a:cubicBezTo>
                <a:lnTo>
                  <a:pt x="284760" y="1703566"/>
                </a:lnTo>
                <a:cubicBezTo>
                  <a:pt x="234802" y="1703566"/>
                  <a:pt x="184844" y="1703566"/>
                  <a:pt x="154870" y="1693574"/>
                </a:cubicBezTo>
                <a:lnTo>
                  <a:pt x="154870" y="1693574"/>
                </a:lnTo>
                <a:cubicBezTo>
                  <a:pt x="114903" y="1683583"/>
                  <a:pt x="84929" y="1683583"/>
                  <a:pt x="84929" y="1683583"/>
                </a:cubicBezTo>
                <a:lnTo>
                  <a:pt x="84929" y="1683583"/>
                </a:lnTo>
                <a:cubicBezTo>
                  <a:pt x="84929" y="1673591"/>
                  <a:pt x="84929" y="1673591"/>
                  <a:pt x="74937" y="1663599"/>
                </a:cubicBezTo>
                <a:lnTo>
                  <a:pt x="74937" y="1663599"/>
                </a:lnTo>
                <a:cubicBezTo>
                  <a:pt x="74937" y="1673591"/>
                  <a:pt x="74937" y="1663599"/>
                  <a:pt x="74937" y="1663599"/>
                </a:cubicBezTo>
                <a:lnTo>
                  <a:pt x="74937" y="1663599"/>
                </a:lnTo>
                <a:close/>
                <a:moveTo>
                  <a:pt x="104912" y="1653608"/>
                </a:moveTo>
                <a:cubicBezTo>
                  <a:pt x="114903" y="1653608"/>
                  <a:pt x="134886" y="1663599"/>
                  <a:pt x="154870" y="1663599"/>
                </a:cubicBezTo>
                <a:lnTo>
                  <a:pt x="154870" y="1663599"/>
                </a:lnTo>
                <a:cubicBezTo>
                  <a:pt x="184844" y="1663599"/>
                  <a:pt x="234802" y="1673591"/>
                  <a:pt x="284760" y="1673591"/>
                </a:cubicBezTo>
                <a:lnTo>
                  <a:pt x="284760" y="1673591"/>
                </a:lnTo>
                <a:cubicBezTo>
                  <a:pt x="334718" y="1673591"/>
                  <a:pt x="374685" y="1673591"/>
                  <a:pt x="404659" y="1663599"/>
                </a:cubicBezTo>
                <a:lnTo>
                  <a:pt x="404659" y="1663599"/>
                </a:lnTo>
                <a:cubicBezTo>
                  <a:pt x="424642" y="1663599"/>
                  <a:pt x="444626" y="1653608"/>
                  <a:pt x="454617" y="1653608"/>
                </a:cubicBezTo>
                <a:lnTo>
                  <a:pt x="454617" y="1653608"/>
                </a:lnTo>
                <a:cubicBezTo>
                  <a:pt x="454617" y="1653608"/>
                  <a:pt x="464609" y="1653608"/>
                  <a:pt x="464609" y="1653608"/>
                </a:cubicBezTo>
                <a:lnTo>
                  <a:pt x="464609" y="1653608"/>
                </a:lnTo>
                <a:lnTo>
                  <a:pt x="464609" y="94920"/>
                </a:lnTo>
                <a:lnTo>
                  <a:pt x="104912" y="94920"/>
                </a:lnTo>
                <a:lnTo>
                  <a:pt x="104912" y="1653608"/>
                </a:lnTo>
                <a:lnTo>
                  <a:pt x="104912" y="1653608"/>
                </a:lnTo>
                <a:close/>
              </a:path>
            </a:pathLst>
          </a:custGeom>
          <a:solidFill>
            <a:srgbClr val="00679A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9850" name="任意多边形: 形状 9849">
            <a:extLst>
              <a:ext uri="{FF2B5EF4-FFF2-40B4-BE49-F238E27FC236}">
                <a16:creationId xmlns:a16="http://schemas.microsoft.com/office/drawing/2014/main" id="{C242ED40-A9C6-402A-A5DD-CBB6956282F1}"/>
              </a:ext>
            </a:extLst>
          </p:cNvPr>
          <p:cNvSpPr/>
          <p:nvPr userDrawn="1"/>
        </p:nvSpPr>
        <p:spPr>
          <a:xfrm>
            <a:off x="4845870" y="4194743"/>
            <a:ext cx="486676" cy="973352"/>
          </a:xfrm>
          <a:custGeom>
            <a:avLst/>
            <a:gdLst>
              <a:gd name="connsiteX0" fmla="*/ 74937 w 499579"/>
              <a:gd name="connsiteY0" fmla="*/ 254786 h 999158"/>
              <a:gd name="connsiteX1" fmla="*/ 74937 w 499579"/>
              <a:gd name="connsiteY1" fmla="*/ 254786 h 999158"/>
              <a:gd name="connsiteX2" fmla="*/ 74937 w 499579"/>
              <a:gd name="connsiteY2" fmla="*/ 254786 h 999158"/>
              <a:gd name="connsiteX3" fmla="*/ 84929 w 499579"/>
              <a:gd name="connsiteY3" fmla="*/ 234802 h 999158"/>
              <a:gd name="connsiteX4" fmla="*/ 84929 w 499579"/>
              <a:gd name="connsiteY4" fmla="*/ 234802 h 999158"/>
              <a:gd name="connsiteX5" fmla="*/ 114903 w 499579"/>
              <a:gd name="connsiteY5" fmla="*/ 224811 h 999158"/>
              <a:gd name="connsiteX6" fmla="*/ 114903 w 499579"/>
              <a:gd name="connsiteY6" fmla="*/ 224811 h 999158"/>
              <a:gd name="connsiteX7" fmla="*/ 214819 w 499579"/>
              <a:gd name="connsiteY7" fmla="*/ 204828 h 999158"/>
              <a:gd name="connsiteX8" fmla="*/ 214819 w 499579"/>
              <a:gd name="connsiteY8" fmla="*/ 204828 h 999158"/>
              <a:gd name="connsiteX9" fmla="*/ 224811 w 499579"/>
              <a:gd name="connsiteY9" fmla="*/ 204828 h 999158"/>
              <a:gd name="connsiteX10" fmla="*/ 224811 w 499579"/>
              <a:gd name="connsiteY10" fmla="*/ 204828 h 999158"/>
              <a:gd name="connsiteX11" fmla="*/ 224811 w 499579"/>
              <a:gd name="connsiteY11" fmla="*/ 94920 h 999158"/>
              <a:gd name="connsiteX12" fmla="*/ 224811 w 499579"/>
              <a:gd name="connsiteY12" fmla="*/ 94920 h 999158"/>
              <a:gd name="connsiteX13" fmla="*/ 224811 w 499579"/>
              <a:gd name="connsiteY13" fmla="*/ 74937 h 999158"/>
              <a:gd name="connsiteX14" fmla="*/ 354701 w 499579"/>
              <a:gd name="connsiteY14" fmla="*/ 74937 h 999158"/>
              <a:gd name="connsiteX15" fmla="*/ 354701 w 499579"/>
              <a:gd name="connsiteY15" fmla="*/ 84929 h 999158"/>
              <a:gd name="connsiteX16" fmla="*/ 354701 w 499579"/>
              <a:gd name="connsiteY16" fmla="*/ 194836 h 999158"/>
              <a:gd name="connsiteX17" fmla="*/ 354701 w 499579"/>
              <a:gd name="connsiteY17" fmla="*/ 194836 h 999158"/>
              <a:gd name="connsiteX18" fmla="*/ 354701 w 499579"/>
              <a:gd name="connsiteY18" fmla="*/ 194836 h 999158"/>
              <a:gd name="connsiteX19" fmla="*/ 354701 w 499579"/>
              <a:gd name="connsiteY19" fmla="*/ 194836 h 999158"/>
              <a:gd name="connsiteX20" fmla="*/ 364693 w 499579"/>
              <a:gd name="connsiteY20" fmla="*/ 194836 h 999158"/>
              <a:gd name="connsiteX21" fmla="*/ 364693 w 499579"/>
              <a:gd name="connsiteY21" fmla="*/ 194836 h 999158"/>
              <a:gd name="connsiteX22" fmla="*/ 404659 w 499579"/>
              <a:gd name="connsiteY22" fmla="*/ 204828 h 999158"/>
              <a:gd name="connsiteX23" fmla="*/ 404659 w 499579"/>
              <a:gd name="connsiteY23" fmla="*/ 204828 h 999158"/>
              <a:gd name="connsiteX24" fmla="*/ 484592 w 499579"/>
              <a:gd name="connsiteY24" fmla="*/ 224811 h 999158"/>
              <a:gd name="connsiteX25" fmla="*/ 484592 w 499579"/>
              <a:gd name="connsiteY25" fmla="*/ 224811 h 999158"/>
              <a:gd name="connsiteX26" fmla="*/ 494584 w 499579"/>
              <a:gd name="connsiteY26" fmla="*/ 234802 h 999158"/>
              <a:gd name="connsiteX27" fmla="*/ 494584 w 499579"/>
              <a:gd name="connsiteY27" fmla="*/ 234802 h 999158"/>
              <a:gd name="connsiteX28" fmla="*/ 494584 w 499579"/>
              <a:gd name="connsiteY28" fmla="*/ 234802 h 999158"/>
              <a:gd name="connsiteX29" fmla="*/ 494584 w 499579"/>
              <a:gd name="connsiteY29" fmla="*/ 934213 h 999158"/>
              <a:gd name="connsiteX30" fmla="*/ 484592 w 499579"/>
              <a:gd name="connsiteY30" fmla="*/ 934213 h 999158"/>
              <a:gd name="connsiteX31" fmla="*/ 494584 w 499579"/>
              <a:gd name="connsiteY31" fmla="*/ 934213 h 999158"/>
              <a:gd name="connsiteX32" fmla="*/ 494584 w 499579"/>
              <a:gd name="connsiteY32" fmla="*/ 944205 h 999158"/>
              <a:gd name="connsiteX33" fmla="*/ 84929 w 499579"/>
              <a:gd name="connsiteY33" fmla="*/ 944205 h 999158"/>
              <a:gd name="connsiteX34" fmla="*/ 74937 w 499579"/>
              <a:gd name="connsiteY34" fmla="*/ 254786 h 999158"/>
              <a:gd name="connsiteX35" fmla="*/ 74937 w 499579"/>
              <a:gd name="connsiteY35" fmla="*/ 254786 h 999158"/>
              <a:gd name="connsiteX36" fmla="*/ 104912 w 499579"/>
              <a:gd name="connsiteY36" fmla="*/ 944205 h 999158"/>
              <a:gd name="connsiteX37" fmla="*/ 464609 w 499579"/>
              <a:gd name="connsiteY37" fmla="*/ 944205 h 999158"/>
              <a:gd name="connsiteX38" fmla="*/ 464609 w 499579"/>
              <a:gd name="connsiteY38" fmla="*/ 254786 h 999158"/>
              <a:gd name="connsiteX39" fmla="*/ 464609 w 499579"/>
              <a:gd name="connsiteY39" fmla="*/ 254786 h 999158"/>
              <a:gd name="connsiteX40" fmla="*/ 394668 w 499579"/>
              <a:gd name="connsiteY40" fmla="*/ 234802 h 999158"/>
              <a:gd name="connsiteX41" fmla="*/ 394668 w 499579"/>
              <a:gd name="connsiteY41" fmla="*/ 234802 h 999158"/>
              <a:gd name="connsiteX42" fmla="*/ 334718 w 499579"/>
              <a:gd name="connsiteY42" fmla="*/ 214819 h 999158"/>
              <a:gd name="connsiteX43" fmla="*/ 334718 w 499579"/>
              <a:gd name="connsiteY43" fmla="*/ 214819 h 999158"/>
              <a:gd name="connsiteX44" fmla="*/ 334718 w 499579"/>
              <a:gd name="connsiteY44" fmla="*/ 214819 h 999158"/>
              <a:gd name="connsiteX45" fmla="*/ 334718 w 499579"/>
              <a:gd name="connsiteY45" fmla="*/ 214819 h 999158"/>
              <a:gd name="connsiteX46" fmla="*/ 334718 w 499579"/>
              <a:gd name="connsiteY46" fmla="*/ 204828 h 999158"/>
              <a:gd name="connsiteX47" fmla="*/ 334718 w 499579"/>
              <a:gd name="connsiteY47" fmla="*/ 204828 h 999158"/>
              <a:gd name="connsiteX48" fmla="*/ 334718 w 499579"/>
              <a:gd name="connsiteY48" fmla="*/ 94920 h 999158"/>
              <a:gd name="connsiteX49" fmla="*/ 334718 w 499579"/>
              <a:gd name="connsiteY49" fmla="*/ 94920 h 999158"/>
              <a:gd name="connsiteX50" fmla="*/ 244794 w 499579"/>
              <a:gd name="connsiteY50" fmla="*/ 94920 h 999158"/>
              <a:gd name="connsiteX51" fmla="*/ 244794 w 499579"/>
              <a:gd name="connsiteY51" fmla="*/ 204828 h 999158"/>
              <a:gd name="connsiteX52" fmla="*/ 244794 w 499579"/>
              <a:gd name="connsiteY52" fmla="*/ 204828 h 999158"/>
              <a:gd name="connsiteX53" fmla="*/ 244794 w 499579"/>
              <a:gd name="connsiteY53" fmla="*/ 214819 h 999158"/>
              <a:gd name="connsiteX54" fmla="*/ 244794 w 499579"/>
              <a:gd name="connsiteY54" fmla="*/ 214819 h 999158"/>
              <a:gd name="connsiteX55" fmla="*/ 194836 w 499579"/>
              <a:gd name="connsiteY55" fmla="*/ 234802 h 999158"/>
              <a:gd name="connsiteX56" fmla="*/ 194836 w 499579"/>
              <a:gd name="connsiteY56" fmla="*/ 234802 h 999158"/>
              <a:gd name="connsiteX57" fmla="*/ 124895 w 499579"/>
              <a:gd name="connsiteY57" fmla="*/ 244794 h 999158"/>
              <a:gd name="connsiteX58" fmla="*/ 124895 w 499579"/>
              <a:gd name="connsiteY58" fmla="*/ 244794 h 999158"/>
              <a:gd name="connsiteX59" fmla="*/ 114903 w 499579"/>
              <a:gd name="connsiteY59" fmla="*/ 254786 h 999158"/>
              <a:gd name="connsiteX60" fmla="*/ 114903 w 499579"/>
              <a:gd name="connsiteY60" fmla="*/ 254786 h 999158"/>
              <a:gd name="connsiteX61" fmla="*/ 104912 w 499579"/>
              <a:gd name="connsiteY61" fmla="*/ 944205 h 999158"/>
              <a:gd name="connsiteX62" fmla="*/ 104912 w 499579"/>
              <a:gd name="connsiteY62" fmla="*/ 944205 h 9991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</a:cxnLst>
            <a:rect l="l" t="t" r="r" b="b"/>
            <a:pathLst>
              <a:path w="499579" h="999158">
                <a:moveTo>
                  <a:pt x="74937" y="254786"/>
                </a:moveTo>
                <a:lnTo>
                  <a:pt x="74937" y="254786"/>
                </a:lnTo>
                <a:lnTo>
                  <a:pt x="74937" y="254786"/>
                </a:lnTo>
                <a:cubicBezTo>
                  <a:pt x="74937" y="244794"/>
                  <a:pt x="74937" y="244794"/>
                  <a:pt x="84929" y="234802"/>
                </a:cubicBezTo>
                <a:lnTo>
                  <a:pt x="84929" y="234802"/>
                </a:lnTo>
                <a:cubicBezTo>
                  <a:pt x="94920" y="224811"/>
                  <a:pt x="94920" y="224811"/>
                  <a:pt x="114903" y="224811"/>
                </a:cubicBezTo>
                <a:lnTo>
                  <a:pt x="114903" y="224811"/>
                </a:lnTo>
                <a:cubicBezTo>
                  <a:pt x="144878" y="214819"/>
                  <a:pt x="184844" y="214819"/>
                  <a:pt x="214819" y="204828"/>
                </a:cubicBezTo>
                <a:lnTo>
                  <a:pt x="214819" y="204828"/>
                </a:lnTo>
                <a:cubicBezTo>
                  <a:pt x="214819" y="204828"/>
                  <a:pt x="224811" y="204828"/>
                  <a:pt x="224811" y="204828"/>
                </a:cubicBezTo>
                <a:lnTo>
                  <a:pt x="224811" y="204828"/>
                </a:lnTo>
                <a:cubicBezTo>
                  <a:pt x="224811" y="184844"/>
                  <a:pt x="224811" y="94920"/>
                  <a:pt x="224811" y="94920"/>
                </a:cubicBezTo>
                <a:lnTo>
                  <a:pt x="224811" y="94920"/>
                </a:lnTo>
                <a:lnTo>
                  <a:pt x="224811" y="74937"/>
                </a:lnTo>
                <a:lnTo>
                  <a:pt x="354701" y="74937"/>
                </a:lnTo>
                <a:lnTo>
                  <a:pt x="354701" y="84929"/>
                </a:lnTo>
                <a:cubicBezTo>
                  <a:pt x="354701" y="84929"/>
                  <a:pt x="354701" y="174853"/>
                  <a:pt x="354701" y="194836"/>
                </a:cubicBezTo>
                <a:lnTo>
                  <a:pt x="354701" y="194836"/>
                </a:lnTo>
                <a:lnTo>
                  <a:pt x="354701" y="194836"/>
                </a:lnTo>
                <a:lnTo>
                  <a:pt x="354701" y="194836"/>
                </a:lnTo>
                <a:cubicBezTo>
                  <a:pt x="354701" y="194836"/>
                  <a:pt x="364693" y="194836"/>
                  <a:pt x="364693" y="194836"/>
                </a:cubicBezTo>
                <a:lnTo>
                  <a:pt x="364693" y="194836"/>
                </a:lnTo>
                <a:cubicBezTo>
                  <a:pt x="374685" y="194836"/>
                  <a:pt x="384676" y="204828"/>
                  <a:pt x="404659" y="204828"/>
                </a:cubicBezTo>
                <a:lnTo>
                  <a:pt x="404659" y="204828"/>
                </a:lnTo>
                <a:cubicBezTo>
                  <a:pt x="434634" y="214819"/>
                  <a:pt x="464609" y="214819"/>
                  <a:pt x="484592" y="224811"/>
                </a:cubicBezTo>
                <a:lnTo>
                  <a:pt x="484592" y="224811"/>
                </a:lnTo>
                <a:cubicBezTo>
                  <a:pt x="484592" y="224811"/>
                  <a:pt x="494584" y="234802"/>
                  <a:pt x="494584" y="234802"/>
                </a:cubicBezTo>
                <a:lnTo>
                  <a:pt x="494584" y="234802"/>
                </a:lnTo>
                <a:lnTo>
                  <a:pt x="494584" y="234802"/>
                </a:lnTo>
                <a:lnTo>
                  <a:pt x="494584" y="934213"/>
                </a:lnTo>
                <a:lnTo>
                  <a:pt x="484592" y="934213"/>
                </a:lnTo>
                <a:lnTo>
                  <a:pt x="494584" y="934213"/>
                </a:lnTo>
                <a:lnTo>
                  <a:pt x="494584" y="944205"/>
                </a:lnTo>
                <a:lnTo>
                  <a:pt x="84929" y="944205"/>
                </a:lnTo>
                <a:lnTo>
                  <a:pt x="74937" y="254786"/>
                </a:lnTo>
                <a:lnTo>
                  <a:pt x="74937" y="254786"/>
                </a:lnTo>
                <a:close/>
                <a:moveTo>
                  <a:pt x="104912" y="944205"/>
                </a:moveTo>
                <a:lnTo>
                  <a:pt x="464609" y="944205"/>
                </a:lnTo>
                <a:lnTo>
                  <a:pt x="464609" y="254786"/>
                </a:lnTo>
                <a:lnTo>
                  <a:pt x="464609" y="254786"/>
                </a:lnTo>
                <a:cubicBezTo>
                  <a:pt x="454617" y="254786"/>
                  <a:pt x="424642" y="244794"/>
                  <a:pt x="394668" y="234802"/>
                </a:cubicBezTo>
                <a:lnTo>
                  <a:pt x="394668" y="234802"/>
                </a:lnTo>
                <a:cubicBezTo>
                  <a:pt x="364693" y="224811"/>
                  <a:pt x="344710" y="224811"/>
                  <a:pt x="334718" y="214819"/>
                </a:cubicBezTo>
                <a:lnTo>
                  <a:pt x="334718" y="214819"/>
                </a:lnTo>
                <a:cubicBezTo>
                  <a:pt x="334718" y="214819"/>
                  <a:pt x="334718" y="214819"/>
                  <a:pt x="334718" y="214819"/>
                </a:cubicBezTo>
                <a:lnTo>
                  <a:pt x="334718" y="214819"/>
                </a:lnTo>
                <a:cubicBezTo>
                  <a:pt x="334718" y="214819"/>
                  <a:pt x="334718" y="214819"/>
                  <a:pt x="334718" y="204828"/>
                </a:cubicBezTo>
                <a:lnTo>
                  <a:pt x="334718" y="204828"/>
                </a:lnTo>
                <a:cubicBezTo>
                  <a:pt x="334718" y="194836"/>
                  <a:pt x="334718" y="124895"/>
                  <a:pt x="334718" y="94920"/>
                </a:cubicBezTo>
                <a:lnTo>
                  <a:pt x="334718" y="94920"/>
                </a:lnTo>
                <a:lnTo>
                  <a:pt x="244794" y="94920"/>
                </a:lnTo>
                <a:cubicBezTo>
                  <a:pt x="244794" y="124895"/>
                  <a:pt x="244794" y="194836"/>
                  <a:pt x="244794" y="204828"/>
                </a:cubicBezTo>
                <a:lnTo>
                  <a:pt x="244794" y="204828"/>
                </a:lnTo>
                <a:cubicBezTo>
                  <a:pt x="244794" y="204828"/>
                  <a:pt x="244794" y="214819"/>
                  <a:pt x="244794" y="214819"/>
                </a:cubicBezTo>
                <a:lnTo>
                  <a:pt x="244794" y="214819"/>
                </a:lnTo>
                <a:cubicBezTo>
                  <a:pt x="234802" y="224811"/>
                  <a:pt x="214819" y="224811"/>
                  <a:pt x="194836" y="234802"/>
                </a:cubicBezTo>
                <a:lnTo>
                  <a:pt x="194836" y="234802"/>
                </a:lnTo>
                <a:cubicBezTo>
                  <a:pt x="174853" y="234802"/>
                  <a:pt x="144878" y="244794"/>
                  <a:pt x="124895" y="244794"/>
                </a:cubicBezTo>
                <a:lnTo>
                  <a:pt x="124895" y="244794"/>
                </a:lnTo>
                <a:cubicBezTo>
                  <a:pt x="114903" y="244794"/>
                  <a:pt x="114903" y="244794"/>
                  <a:pt x="114903" y="254786"/>
                </a:cubicBezTo>
                <a:lnTo>
                  <a:pt x="114903" y="254786"/>
                </a:lnTo>
                <a:lnTo>
                  <a:pt x="104912" y="944205"/>
                </a:lnTo>
                <a:lnTo>
                  <a:pt x="104912" y="944205"/>
                </a:lnTo>
                <a:close/>
              </a:path>
            </a:pathLst>
          </a:custGeom>
          <a:solidFill>
            <a:srgbClr val="00679A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9851" name="任意多边形: 形状 9850">
            <a:extLst>
              <a:ext uri="{FF2B5EF4-FFF2-40B4-BE49-F238E27FC236}">
                <a16:creationId xmlns:a16="http://schemas.microsoft.com/office/drawing/2014/main" id="{6FC75C46-D2A1-4D4D-9F9F-BDEA3791F15B}"/>
              </a:ext>
            </a:extLst>
          </p:cNvPr>
          <p:cNvSpPr/>
          <p:nvPr userDrawn="1"/>
        </p:nvSpPr>
        <p:spPr>
          <a:xfrm>
            <a:off x="5040541" y="3250592"/>
            <a:ext cx="97335" cy="778681"/>
          </a:xfrm>
          <a:custGeom>
            <a:avLst/>
            <a:gdLst>
              <a:gd name="connsiteX0" fmla="*/ 94920 w 99915"/>
              <a:gd name="connsiteY0" fmla="*/ 764357 h 799327"/>
              <a:gd name="connsiteX1" fmla="*/ 74937 w 99915"/>
              <a:gd name="connsiteY1" fmla="*/ 764357 h 799327"/>
              <a:gd name="connsiteX2" fmla="*/ 74937 w 99915"/>
              <a:gd name="connsiteY2" fmla="*/ 74937 h 799327"/>
              <a:gd name="connsiteX3" fmla="*/ 94920 w 99915"/>
              <a:gd name="connsiteY3" fmla="*/ 134886 h 799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9915" h="799327">
                <a:moveTo>
                  <a:pt x="94920" y="764357"/>
                </a:moveTo>
                <a:lnTo>
                  <a:pt x="74937" y="764357"/>
                </a:lnTo>
                <a:lnTo>
                  <a:pt x="74937" y="74937"/>
                </a:lnTo>
                <a:lnTo>
                  <a:pt x="94920" y="134886"/>
                </a:lnTo>
                <a:close/>
              </a:path>
            </a:pathLst>
          </a:custGeom>
          <a:solidFill>
            <a:srgbClr val="00679A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9852" name="任意多边形: 形状 9851">
            <a:extLst>
              <a:ext uri="{FF2B5EF4-FFF2-40B4-BE49-F238E27FC236}">
                <a16:creationId xmlns:a16="http://schemas.microsoft.com/office/drawing/2014/main" id="{4B249AF8-B42A-4355-8746-B63ADACF1F31}"/>
              </a:ext>
            </a:extLst>
          </p:cNvPr>
          <p:cNvSpPr/>
          <p:nvPr userDrawn="1"/>
        </p:nvSpPr>
        <p:spPr>
          <a:xfrm>
            <a:off x="4962673" y="3931938"/>
            <a:ext cx="292005" cy="389341"/>
          </a:xfrm>
          <a:custGeom>
            <a:avLst/>
            <a:gdLst>
              <a:gd name="connsiteX0" fmla="*/ 194836 w 299747"/>
              <a:gd name="connsiteY0" fmla="*/ 94920 h 399663"/>
              <a:gd name="connsiteX1" fmla="*/ 184844 w 299747"/>
              <a:gd name="connsiteY1" fmla="*/ 74937 h 399663"/>
              <a:gd name="connsiteX2" fmla="*/ 174853 w 299747"/>
              <a:gd name="connsiteY2" fmla="*/ 74937 h 399663"/>
              <a:gd name="connsiteX3" fmla="*/ 164861 w 299747"/>
              <a:gd name="connsiteY3" fmla="*/ 84928 h 399663"/>
              <a:gd name="connsiteX4" fmla="*/ 164861 w 299747"/>
              <a:gd name="connsiteY4" fmla="*/ 204828 h 399663"/>
              <a:gd name="connsiteX5" fmla="*/ 154870 w 299747"/>
              <a:gd name="connsiteY5" fmla="*/ 214819 h 399663"/>
              <a:gd name="connsiteX6" fmla="*/ 144878 w 299747"/>
              <a:gd name="connsiteY6" fmla="*/ 204828 h 399663"/>
              <a:gd name="connsiteX7" fmla="*/ 144878 w 299747"/>
              <a:gd name="connsiteY7" fmla="*/ 84928 h 399663"/>
              <a:gd name="connsiteX8" fmla="*/ 144878 w 299747"/>
              <a:gd name="connsiteY8" fmla="*/ 74937 h 399663"/>
              <a:gd name="connsiteX9" fmla="*/ 134886 w 299747"/>
              <a:gd name="connsiteY9" fmla="*/ 74937 h 399663"/>
              <a:gd name="connsiteX10" fmla="*/ 124895 w 299747"/>
              <a:gd name="connsiteY10" fmla="*/ 94920 h 399663"/>
              <a:gd name="connsiteX11" fmla="*/ 114903 w 299747"/>
              <a:gd name="connsiteY11" fmla="*/ 94920 h 399663"/>
              <a:gd name="connsiteX12" fmla="*/ 114903 w 299747"/>
              <a:gd name="connsiteY12" fmla="*/ 194836 h 399663"/>
              <a:gd name="connsiteX13" fmla="*/ 94920 w 299747"/>
              <a:gd name="connsiteY13" fmla="*/ 234802 h 399663"/>
              <a:gd name="connsiteX14" fmla="*/ 74937 w 299747"/>
              <a:gd name="connsiteY14" fmla="*/ 394668 h 399663"/>
              <a:gd name="connsiteX15" fmla="*/ 154870 w 299747"/>
              <a:gd name="connsiteY15" fmla="*/ 394668 h 399663"/>
              <a:gd name="connsiteX16" fmla="*/ 234802 w 299747"/>
              <a:gd name="connsiteY16" fmla="*/ 394668 h 399663"/>
              <a:gd name="connsiteX17" fmla="*/ 214819 w 299747"/>
              <a:gd name="connsiteY17" fmla="*/ 234802 h 399663"/>
              <a:gd name="connsiteX18" fmla="*/ 204827 w 299747"/>
              <a:gd name="connsiteY18" fmla="*/ 194836 h 399663"/>
              <a:gd name="connsiteX19" fmla="*/ 204827 w 299747"/>
              <a:gd name="connsiteY19" fmla="*/ 94920 h 399663"/>
              <a:gd name="connsiteX20" fmla="*/ 194836 w 299747"/>
              <a:gd name="connsiteY20" fmla="*/ 94920 h 3996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299747" h="399663">
                <a:moveTo>
                  <a:pt x="194836" y="94920"/>
                </a:moveTo>
                <a:cubicBezTo>
                  <a:pt x="194836" y="94920"/>
                  <a:pt x="194836" y="74937"/>
                  <a:pt x="184844" y="74937"/>
                </a:cubicBezTo>
                <a:cubicBezTo>
                  <a:pt x="184844" y="74937"/>
                  <a:pt x="174853" y="74937"/>
                  <a:pt x="174853" y="74937"/>
                </a:cubicBezTo>
                <a:lnTo>
                  <a:pt x="164861" y="84928"/>
                </a:lnTo>
                <a:lnTo>
                  <a:pt x="164861" y="204828"/>
                </a:lnTo>
                <a:cubicBezTo>
                  <a:pt x="164861" y="214819"/>
                  <a:pt x="154870" y="214819"/>
                  <a:pt x="154870" y="214819"/>
                </a:cubicBezTo>
                <a:cubicBezTo>
                  <a:pt x="144878" y="214819"/>
                  <a:pt x="144878" y="214819"/>
                  <a:pt x="144878" y="204828"/>
                </a:cubicBezTo>
                <a:lnTo>
                  <a:pt x="144878" y="84928"/>
                </a:lnTo>
                <a:lnTo>
                  <a:pt x="144878" y="74937"/>
                </a:lnTo>
                <a:cubicBezTo>
                  <a:pt x="144878" y="74937"/>
                  <a:pt x="134886" y="74937"/>
                  <a:pt x="134886" y="74937"/>
                </a:cubicBezTo>
                <a:cubicBezTo>
                  <a:pt x="134886" y="74937"/>
                  <a:pt x="124895" y="94920"/>
                  <a:pt x="124895" y="94920"/>
                </a:cubicBezTo>
                <a:cubicBezTo>
                  <a:pt x="124895" y="94920"/>
                  <a:pt x="114903" y="94920"/>
                  <a:pt x="114903" y="94920"/>
                </a:cubicBezTo>
                <a:cubicBezTo>
                  <a:pt x="114903" y="94920"/>
                  <a:pt x="114903" y="184844"/>
                  <a:pt x="114903" y="194836"/>
                </a:cubicBezTo>
                <a:cubicBezTo>
                  <a:pt x="114903" y="204828"/>
                  <a:pt x="104912" y="224811"/>
                  <a:pt x="94920" y="234802"/>
                </a:cubicBezTo>
                <a:cubicBezTo>
                  <a:pt x="84928" y="244794"/>
                  <a:pt x="74937" y="394668"/>
                  <a:pt x="74937" y="394668"/>
                </a:cubicBezTo>
                <a:cubicBezTo>
                  <a:pt x="74937" y="394668"/>
                  <a:pt x="84928" y="394668"/>
                  <a:pt x="154870" y="394668"/>
                </a:cubicBezTo>
                <a:cubicBezTo>
                  <a:pt x="214819" y="394668"/>
                  <a:pt x="234802" y="394668"/>
                  <a:pt x="234802" y="394668"/>
                </a:cubicBezTo>
                <a:cubicBezTo>
                  <a:pt x="234802" y="394668"/>
                  <a:pt x="224811" y="244794"/>
                  <a:pt x="214819" y="234802"/>
                </a:cubicBezTo>
                <a:cubicBezTo>
                  <a:pt x="214819" y="224811"/>
                  <a:pt x="204827" y="214819"/>
                  <a:pt x="204827" y="194836"/>
                </a:cubicBezTo>
                <a:cubicBezTo>
                  <a:pt x="204827" y="184844"/>
                  <a:pt x="214819" y="94920"/>
                  <a:pt x="204827" y="94920"/>
                </a:cubicBezTo>
                <a:cubicBezTo>
                  <a:pt x="204827" y="94920"/>
                  <a:pt x="194836" y="94920"/>
                  <a:pt x="194836" y="94920"/>
                </a:cubicBezTo>
                <a:close/>
              </a:path>
            </a:pathLst>
          </a:custGeom>
          <a:solidFill>
            <a:srgbClr val="00679A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9853" name="任意多边形: 形状 9852">
            <a:extLst>
              <a:ext uri="{FF2B5EF4-FFF2-40B4-BE49-F238E27FC236}">
                <a16:creationId xmlns:a16="http://schemas.microsoft.com/office/drawing/2014/main" id="{72A70AFC-F2C4-4E76-A745-6DD5D1348B41}"/>
              </a:ext>
            </a:extLst>
          </p:cNvPr>
          <p:cNvSpPr/>
          <p:nvPr userDrawn="1"/>
        </p:nvSpPr>
        <p:spPr>
          <a:xfrm>
            <a:off x="5030807" y="3912471"/>
            <a:ext cx="97335" cy="97335"/>
          </a:xfrm>
          <a:custGeom>
            <a:avLst/>
            <a:gdLst>
              <a:gd name="connsiteX0" fmla="*/ 74937 w 99915"/>
              <a:gd name="connsiteY0" fmla="*/ 94920 h 99915"/>
              <a:gd name="connsiteX1" fmla="*/ 94920 w 99915"/>
              <a:gd name="connsiteY1" fmla="*/ 74937 h 99915"/>
              <a:gd name="connsiteX2" fmla="*/ 114903 w 99915"/>
              <a:gd name="connsiteY2" fmla="*/ 94920 h 99915"/>
              <a:gd name="connsiteX3" fmla="*/ 94920 w 99915"/>
              <a:gd name="connsiteY3" fmla="*/ 94920 h 99915"/>
              <a:gd name="connsiteX4" fmla="*/ 74937 w 99915"/>
              <a:gd name="connsiteY4" fmla="*/ 94920 h 999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9915" h="99915">
                <a:moveTo>
                  <a:pt x="74937" y="94920"/>
                </a:moveTo>
                <a:cubicBezTo>
                  <a:pt x="74937" y="84928"/>
                  <a:pt x="84928" y="74937"/>
                  <a:pt x="94920" y="74937"/>
                </a:cubicBezTo>
                <a:cubicBezTo>
                  <a:pt x="104912" y="74937"/>
                  <a:pt x="114903" y="84928"/>
                  <a:pt x="114903" y="94920"/>
                </a:cubicBezTo>
                <a:cubicBezTo>
                  <a:pt x="114903" y="94920"/>
                  <a:pt x="104912" y="94920"/>
                  <a:pt x="94920" y="94920"/>
                </a:cubicBezTo>
                <a:cubicBezTo>
                  <a:pt x="74937" y="94920"/>
                  <a:pt x="74937" y="94920"/>
                  <a:pt x="74937" y="94920"/>
                </a:cubicBezTo>
                <a:close/>
              </a:path>
            </a:pathLst>
          </a:custGeom>
          <a:solidFill>
            <a:srgbClr val="00679A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9854" name="任意多边形: 形状 9853">
            <a:extLst>
              <a:ext uri="{FF2B5EF4-FFF2-40B4-BE49-F238E27FC236}">
                <a16:creationId xmlns:a16="http://schemas.microsoft.com/office/drawing/2014/main" id="{3135A885-4D90-44E6-A875-6BEDED9BE156}"/>
              </a:ext>
            </a:extLst>
          </p:cNvPr>
          <p:cNvSpPr/>
          <p:nvPr userDrawn="1"/>
        </p:nvSpPr>
        <p:spPr>
          <a:xfrm>
            <a:off x="4952939" y="4233678"/>
            <a:ext cx="292005" cy="97335"/>
          </a:xfrm>
          <a:custGeom>
            <a:avLst/>
            <a:gdLst>
              <a:gd name="connsiteX0" fmla="*/ 264777 w 299747"/>
              <a:gd name="connsiteY0" fmla="*/ 84928 h 99915"/>
              <a:gd name="connsiteX1" fmla="*/ 264777 w 299747"/>
              <a:gd name="connsiteY1" fmla="*/ 84928 h 99915"/>
              <a:gd name="connsiteX2" fmla="*/ 84929 w 299747"/>
              <a:gd name="connsiteY2" fmla="*/ 94920 h 99915"/>
              <a:gd name="connsiteX3" fmla="*/ 74937 w 299747"/>
              <a:gd name="connsiteY3" fmla="*/ 84928 h 99915"/>
              <a:gd name="connsiteX4" fmla="*/ 74937 w 299747"/>
              <a:gd name="connsiteY4" fmla="*/ 84928 h 99915"/>
              <a:gd name="connsiteX5" fmla="*/ 84929 w 299747"/>
              <a:gd name="connsiteY5" fmla="*/ 74937 h 99915"/>
              <a:gd name="connsiteX6" fmla="*/ 264777 w 299747"/>
              <a:gd name="connsiteY6" fmla="*/ 84928 h 99915"/>
              <a:gd name="connsiteX7" fmla="*/ 264777 w 299747"/>
              <a:gd name="connsiteY7" fmla="*/ 84928 h 99915"/>
              <a:gd name="connsiteX8" fmla="*/ 264777 w 299747"/>
              <a:gd name="connsiteY8" fmla="*/ 84928 h 999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99747" h="99915">
                <a:moveTo>
                  <a:pt x="264777" y="84928"/>
                </a:moveTo>
                <a:cubicBezTo>
                  <a:pt x="264777" y="94920"/>
                  <a:pt x="264777" y="94920"/>
                  <a:pt x="264777" y="84928"/>
                </a:cubicBezTo>
                <a:lnTo>
                  <a:pt x="84929" y="94920"/>
                </a:lnTo>
                <a:cubicBezTo>
                  <a:pt x="84929" y="94920"/>
                  <a:pt x="74937" y="94920"/>
                  <a:pt x="74937" y="84928"/>
                </a:cubicBezTo>
                <a:lnTo>
                  <a:pt x="74937" y="84928"/>
                </a:lnTo>
                <a:cubicBezTo>
                  <a:pt x="74937" y="84928"/>
                  <a:pt x="74937" y="74937"/>
                  <a:pt x="84929" y="74937"/>
                </a:cubicBezTo>
                <a:lnTo>
                  <a:pt x="264777" y="84928"/>
                </a:lnTo>
                <a:cubicBezTo>
                  <a:pt x="264777" y="84928"/>
                  <a:pt x="264777" y="84928"/>
                  <a:pt x="264777" y="84928"/>
                </a:cubicBezTo>
                <a:lnTo>
                  <a:pt x="264777" y="84928"/>
                </a:lnTo>
                <a:close/>
              </a:path>
            </a:pathLst>
          </a:custGeom>
          <a:solidFill>
            <a:srgbClr val="00679A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9855" name="任意多边形: 形状 9854">
            <a:extLst>
              <a:ext uri="{FF2B5EF4-FFF2-40B4-BE49-F238E27FC236}">
                <a16:creationId xmlns:a16="http://schemas.microsoft.com/office/drawing/2014/main" id="{1601624E-EB26-48D0-B508-DC952BBA19C3}"/>
              </a:ext>
            </a:extLst>
          </p:cNvPr>
          <p:cNvSpPr/>
          <p:nvPr userDrawn="1"/>
        </p:nvSpPr>
        <p:spPr>
          <a:xfrm>
            <a:off x="4916439" y="4438081"/>
            <a:ext cx="292005" cy="97335"/>
          </a:xfrm>
          <a:custGeom>
            <a:avLst/>
            <a:gdLst>
              <a:gd name="connsiteX0" fmla="*/ 82430 w 299747"/>
              <a:gd name="connsiteY0" fmla="*/ 84929 h 99915"/>
              <a:gd name="connsiteX1" fmla="*/ 82430 w 299747"/>
              <a:gd name="connsiteY1" fmla="*/ 84929 h 99915"/>
              <a:gd name="connsiteX2" fmla="*/ 82430 w 299747"/>
              <a:gd name="connsiteY2" fmla="*/ 84929 h 99915"/>
              <a:gd name="connsiteX3" fmla="*/ 82430 w 299747"/>
              <a:gd name="connsiteY3" fmla="*/ 84929 h 99915"/>
              <a:gd name="connsiteX4" fmla="*/ 82430 w 299747"/>
              <a:gd name="connsiteY4" fmla="*/ 84929 h 99915"/>
              <a:gd name="connsiteX5" fmla="*/ 282262 w 299747"/>
              <a:gd name="connsiteY5" fmla="*/ 74937 h 99915"/>
              <a:gd name="connsiteX6" fmla="*/ 282262 w 299747"/>
              <a:gd name="connsiteY6" fmla="*/ 74937 h 99915"/>
              <a:gd name="connsiteX7" fmla="*/ 282262 w 299747"/>
              <a:gd name="connsiteY7" fmla="*/ 74937 h 99915"/>
              <a:gd name="connsiteX8" fmla="*/ 282262 w 299747"/>
              <a:gd name="connsiteY8" fmla="*/ 74937 h 99915"/>
              <a:gd name="connsiteX9" fmla="*/ 282262 w 299747"/>
              <a:gd name="connsiteY9" fmla="*/ 74937 h 99915"/>
              <a:gd name="connsiteX10" fmla="*/ 82430 w 299747"/>
              <a:gd name="connsiteY10" fmla="*/ 84929 h 99915"/>
              <a:gd name="connsiteX11" fmla="*/ 82430 w 299747"/>
              <a:gd name="connsiteY11" fmla="*/ 84929 h 999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99747" h="99915">
                <a:moveTo>
                  <a:pt x="82430" y="84929"/>
                </a:moveTo>
                <a:cubicBezTo>
                  <a:pt x="72439" y="84929"/>
                  <a:pt x="72439" y="84929"/>
                  <a:pt x="82430" y="84929"/>
                </a:cubicBezTo>
                <a:lnTo>
                  <a:pt x="82430" y="84929"/>
                </a:lnTo>
                <a:cubicBezTo>
                  <a:pt x="72439" y="84929"/>
                  <a:pt x="72439" y="84929"/>
                  <a:pt x="82430" y="84929"/>
                </a:cubicBezTo>
                <a:lnTo>
                  <a:pt x="82430" y="84929"/>
                </a:lnTo>
                <a:lnTo>
                  <a:pt x="282262" y="74937"/>
                </a:lnTo>
                <a:cubicBezTo>
                  <a:pt x="282262" y="74937"/>
                  <a:pt x="282262" y="74937"/>
                  <a:pt x="282262" y="74937"/>
                </a:cubicBezTo>
                <a:lnTo>
                  <a:pt x="282262" y="74937"/>
                </a:lnTo>
                <a:cubicBezTo>
                  <a:pt x="282262" y="74937"/>
                  <a:pt x="282262" y="74937"/>
                  <a:pt x="282262" y="74937"/>
                </a:cubicBezTo>
                <a:lnTo>
                  <a:pt x="282262" y="74937"/>
                </a:lnTo>
                <a:lnTo>
                  <a:pt x="82430" y="84929"/>
                </a:lnTo>
                <a:lnTo>
                  <a:pt x="82430" y="84929"/>
                </a:lnTo>
                <a:close/>
              </a:path>
            </a:pathLst>
          </a:custGeom>
          <a:solidFill>
            <a:srgbClr val="00679A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9856" name="任意多边形: 形状 9855">
            <a:extLst>
              <a:ext uri="{FF2B5EF4-FFF2-40B4-BE49-F238E27FC236}">
                <a16:creationId xmlns:a16="http://schemas.microsoft.com/office/drawing/2014/main" id="{BC892C74-9F84-44C5-BAFD-D90A6B457CA6}"/>
              </a:ext>
            </a:extLst>
          </p:cNvPr>
          <p:cNvSpPr/>
          <p:nvPr userDrawn="1"/>
        </p:nvSpPr>
        <p:spPr>
          <a:xfrm>
            <a:off x="4919412" y="4700886"/>
            <a:ext cx="292005" cy="97335"/>
          </a:xfrm>
          <a:custGeom>
            <a:avLst/>
            <a:gdLst>
              <a:gd name="connsiteX0" fmla="*/ 79378 w 299747"/>
              <a:gd name="connsiteY0" fmla="*/ 84929 h 99915"/>
              <a:gd name="connsiteX1" fmla="*/ 79378 w 299747"/>
              <a:gd name="connsiteY1" fmla="*/ 84929 h 99915"/>
              <a:gd name="connsiteX2" fmla="*/ 79378 w 299747"/>
              <a:gd name="connsiteY2" fmla="*/ 84929 h 99915"/>
              <a:gd name="connsiteX3" fmla="*/ 79378 w 299747"/>
              <a:gd name="connsiteY3" fmla="*/ 84929 h 99915"/>
              <a:gd name="connsiteX4" fmla="*/ 79378 w 299747"/>
              <a:gd name="connsiteY4" fmla="*/ 84929 h 99915"/>
              <a:gd name="connsiteX5" fmla="*/ 279209 w 299747"/>
              <a:gd name="connsiteY5" fmla="*/ 74937 h 99915"/>
              <a:gd name="connsiteX6" fmla="*/ 279209 w 299747"/>
              <a:gd name="connsiteY6" fmla="*/ 74937 h 99915"/>
              <a:gd name="connsiteX7" fmla="*/ 279209 w 299747"/>
              <a:gd name="connsiteY7" fmla="*/ 74937 h 99915"/>
              <a:gd name="connsiteX8" fmla="*/ 279209 w 299747"/>
              <a:gd name="connsiteY8" fmla="*/ 74937 h 99915"/>
              <a:gd name="connsiteX9" fmla="*/ 279209 w 299747"/>
              <a:gd name="connsiteY9" fmla="*/ 74937 h 99915"/>
              <a:gd name="connsiteX10" fmla="*/ 79378 w 299747"/>
              <a:gd name="connsiteY10" fmla="*/ 84929 h 99915"/>
              <a:gd name="connsiteX11" fmla="*/ 79378 w 299747"/>
              <a:gd name="connsiteY11" fmla="*/ 84929 h 999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99747" h="99915">
                <a:moveTo>
                  <a:pt x="79378" y="84929"/>
                </a:moveTo>
                <a:cubicBezTo>
                  <a:pt x="79378" y="84929"/>
                  <a:pt x="69386" y="84929"/>
                  <a:pt x="79378" y="84929"/>
                </a:cubicBezTo>
                <a:lnTo>
                  <a:pt x="79378" y="84929"/>
                </a:lnTo>
                <a:cubicBezTo>
                  <a:pt x="69386" y="84929"/>
                  <a:pt x="79378" y="84929"/>
                  <a:pt x="79378" y="84929"/>
                </a:cubicBezTo>
                <a:lnTo>
                  <a:pt x="79378" y="84929"/>
                </a:lnTo>
                <a:lnTo>
                  <a:pt x="279209" y="74937"/>
                </a:lnTo>
                <a:cubicBezTo>
                  <a:pt x="279209" y="74937"/>
                  <a:pt x="279209" y="74937"/>
                  <a:pt x="279209" y="74937"/>
                </a:cubicBezTo>
                <a:lnTo>
                  <a:pt x="279209" y="74937"/>
                </a:lnTo>
                <a:cubicBezTo>
                  <a:pt x="279209" y="74937"/>
                  <a:pt x="279209" y="74937"/>
                  <a:pt x="279209" y="74937"/>
                </a:cubicBezTo>
                <a:lnTo>
                  <a:pt x="279209" y="74937"/>
                </a:lnTo>
                <a:lnTo>
                  <a:pt x="79378" y="84929"/>
                </a:lnTo>
                <a:lnTo>
                  <a:pt x="79378" y="84929"/>
                </a:lnTo>
                <a:close/>
              </a:path>
            </a:pathLst>
          </a:custGeom>
          <a:solidFill>
            <a:srgbClr val="00679A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9857" name="任意多边形: 形状 9856">
            <a:extLst>
              <a:ext uri="{FF2B5EF4-FFF2-40B4-BE49-F238E27FC236}">
                <a16:creationId xmlns:a16="http://schemas.microsoft.com/office/drawing/2014/main" id="{2CA7B1F6-08DD-4CA0-A8CB-809A0F989306}"/>
              </a:ext>
            </a:extLst>
          </p:cNvPr>
          <p:cNvSpPr/>
          <p:nvPr userDrawn="1"/>
        </p:nvSpPr>
        <p:spPr>
          <a:xfrm>
            <a:off x="4919412" y="4973424"/>
            <a:ext cx="292005" cy="97335"/>
          </a:xfrm>
          <a:custGeom>
            <a:avLst/>
            <a:gdLst>
              <a:gd name="connsiteX0" fmla="*/ 79378 w 299747"/>
              <a:gd name="connsiteY0" fmla="*/ 84928 h 99915"/>
              <a:gd name="connsiteX1" fmla="*/ 79378 w 299747"/>
              <a:gd name="connsiteY1" fmla="*/ 84928 h 99915"/>
              <a:gd name="connsiteX2" fmla="*/ 79378 w 299747"/>
              <a:gd name="connsiteY2" fmla="*/ 84928 h 99915"/>
              <a:gd name="connsiteX3" fmla="*/ 79378 w 299747"/>
              <a:gd name="connsiteY3" fmla="*/ 84928 h 99915"/>
              <a:gd name="connsiteX4" fmla="*/ 79378 w 299747"/>
              <a:gd name="connsiteY4" fmla="*/ 84928 h 99915"/>
              <a:gd name="connsiteX5" fmla="*/ 279209 w 299747"/>
              <a:gd name="connsiteY5" fmla="*/ 74937 h 99915"/>
              <a:gd name="connsiteX6" fmla="*/ 279209 w 299747"/>
              <a:gd name="connsiteY6" fmla="*/ 74937 h 99915"/>
              <a:gd name="connsiteX7" fmla="*/ 279209 w 299747"/>
              <a:gd name="connsiteY7" fmla="*/ 74937 h 99915"/>
              <a:gd name="connsiteX8" fmla="*/ 279209 w 299747"/>
              <a:gd name="connsiteY8" fmla="*/ 74937 h 99915"/>
              <a:gd name="connsiteX9" fmla="*/ 279209 w 299747"/>
              <a:gd name="connsiteY9" fmla="*/ 74937 h 99915"/>
              <a:gd name="connsiteX10" fmla="*/ 79378 w 299747"/>
              <a:gd name="connsiteY10" fmla="*/ 84928 h 99915"/>
              <a:gd name="connsiteX11" fmla="*/ 79378 w 299747"/>
              <a:gd name="connsiteY11" fmla="*/ 84928 h 999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99747" h="99915">
                <a:moveTo>
                  <a:pt x="79378" y="84928"/>
                </a:moveTo>
                <a:cubicBezTo>
                  <a:pt x="79378" y="84928"/>
                  <a:pt x="69386" y="84928"/>
                  <a:pt x="79378" y="84928"/>
                </a:cubicBezTo>
                <a:lnTo>
                  <a:pt x="79378" y="84928"/>
                </a:lnTo>
                <a:cubicBezTo>
                  <a:pt x="69386" y="84928"/>
                  <a:pt x="79378" y="84928"/>
                  <a:pt x="79378" y="84928"/>
                </a:cubicBezTo>
                <a:lnTo>
                  <a:pt x="79378" y="84928"/>
                </a:lnTo>
                <a:lnTo>
                  <a:pt x="279209" y="74937"/>
                </a:lnTo>
                <a:cubicBezTo>
                  <a:pt x="279209" y="74937"/>
                  <a:pt x="279209" y="74937"/>
                  <a:pt x="279209" y="74937"/>
                </a:cubicBezTo>
                <a:lnTo>
                  <a:pt x="279209" y="74937"/>
                </a:lnTo>
                <a:cubicBezTo>
                  <a:pt x="279209" y="74937"/>
                  <a:pt x="279209" y="74937"/>
                  <a:pt x="279209" y="74937"/>
                </a:cubicBezTo>
                <a:lnTo>
                  <a:pt x="279209" y="74937"/>
                </a:lnTo>
                <a:lnTo>
                  <a:pt x="79378" y="84928"/>
                </a:lnTo>
                <a:lnTo>
                  <a:pt x="79378" y="84928"/>
                </a:lnTo>
                <a:close/>
              </a:path>
            </a:pathLst>
          </a:custGeom>
          <a:solidFill>
            <a:srgbClr val="00679A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9858" name="任意多边形: 形状 9857">
            <a:extLst>
              <a:ext uri="{FF2B5EF4-FFF2-40B4-BE49-F238E27FC236}">
                <a16:creationId xmlns:a16="http://schemas.microsoft.com/office/drawing/2014/main" id="{79BDACBB-B75D-45EC-8261-272AD2B3D5FB}"/>
              </a:ext>
            </a:extLst>
          </p:cNvPr>
          <p:cNvSpPr/>
          <p:nvPr userDrawn="1"/>
        </p:nvSpPr>
        <p:spPr>
          <a:xfrm>
            <a:off x="4916439" y="4486748"/>
            <a:ext cx="194670" cy="97335"/>
          </a:xfrm>
          <a:custGeom>
            <a:avLst/>
            <a:gdLst>
              <a:gd name="connsiteX0" fmla="*/ 82430 w 199831"/>
              <a:gd name="connsiteY0" fmla="*/ 84929 h 99915"/>
              <a:gd name="connsiteX1" fmla="*/ 82430 w 199831"/>
              <a:gd name="connsiteY1" fmla="*/ 84929 h 99915"/>
              <a:gd name="connsiteX2" fmla="*/ 82430 w 199831"/>
              <a:gd name="connsiteY2" fmla="*/ 84929 h 99915"/>
              <a:gd name="connsiteX3" fmla="*/ 82430 w 199831"/>
              <a:gd name="connsiteY3" fmla="*/ 84929 h 99915"/>
              <a:gd name="connsiteX4" fmla="*/ 82430 w 199831"/>
              <a:gd name="connsiteY4" fmla="*/ 84929 h 99915"/>
              <a:gd name="connsiteX5" fmla="*/ 172355 w 199831"/>
              <a:gd name="connsiteY5" fmla="*/ 74937 h 99915"/>
              <a:gd name="connsiteX6" fmla="*/ 172355 w 199831"/>
              <a:gd name="connsiteY6" fmla="*/ 74937 h 99915"/>
              <a:gd name="connsiteX7" fmla="*/ 172355 w 199831"/>
              <a:gd name="connsiteY7" fmla="*/ 74937 h 99915"/>
              <a:gd name="connsiteX8" fmla="*/ 172355 w 199831"/>
              <a:gd name="connsiteY8" fmla="*/ 74937 h 99915"/>
              <a:gd name="connsiteX9" fmla="*/ 172355 w 199831"/>
              <a:gd name="connsiteY9" fmla="*/ 74937 h 99915"/>
              <a:gd name="connsiteX10" fmla="*/ 82430 w 199831"/>
              <a:gd name="connsiteY10" fmla="*/ 84929 h 99915"/>
              <a:gd name="connsiteX11" fmla="*/ 82430 w 199831"/>
              <a:gd name="connsiteY11" fmla="*/ 84929 h 999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99831" h="99915">
                <a:moveTo>
                  <a:pt x="82430" y="84929"/>
                </a:moveTo>
                <a:cubicBezTo>
                  <a:pt x="72439" y="84929"/>
                  <a:pt x="72439" y="84929"/>
                  <a:pt x="82430" y="84929"/>
                </a:cubicBezTo>
                <a:lnTo>
                  <a:pt x="82430" y="84929"/>
                </a:lnTo>
                <a:cubicBezTo>
                  <a:pt x="72439" y="84929"/>
                  <a:pt x="72439" y="84929"/>
                  <a:pt x="82430" y="84929"/>
                </a:cubicBezTo>
                <a:lnTo>
                  <a:pt x="82430" y="84929"/>
                </a:lnTo>
                <a:lnTo>
                  <a:pt x="172355" y="74937"/>
                </a:lnTo>
                <a:cubicBezTo>
                  <a:pt x="172355" y="74937"/>
                  <a:pt x="172355" y="74937"/>
                  <a:pt x="172355" y="74937"/>
                </a:cubicBezTo>
                <a:lnTo>
                  <a:pt x="172355" y="74937"/>
                </a:lnTo>
                <a:cubicBezTo>
                  <a:pt x="172355" y="74937"/>
                  <a:pt x="172355" y="74937"/>
                  <a:pt x="172355" y="74937"/>
                </a:cubicBezTo>
                <a:lnTo>
                  <a:pt x="172355" y="74937"/>
                </a:lnTo>
                <a:lnTo>
                  <a:pt x="82430" y="84929"/>
                </a:lnTo>
                <a:lnTo>
                  <a:pt x="82430" y="84929"/>
                </a:lnTo>
                <a:close/>
              </a:path>
            </a:pathLst>
          </a:custGeom>
          <a:solidFill>
            <a:srgbClr val="00679A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9859" name="任意多边形: 形状 9858">
            <a:extLst>
              <a:ext uri="{FF2B5EF4-FFF2-40B4-BE49-F238E27FC236}">
                <a16:creationId xmlns:a16="http://schemas.microsoft.com/office/drawing/2014/main" id="{3E0BFA46-CAFD-4A0E-B0F1-6DBA59E29A9A}"/>
              </a:ext>
            </a:extLst>
          </p:cNvPr>
          <p:cNvSpPr/>
          <p:nvPr userDrawn="1"/>
        </p:nvSpPr>
        <p:spPr>
          <a:xfrm>
            <a:off x="4916439" y="4545149"/>
            <a:ext cx="194670" cy="97335"/>
          </a:xfrm>
          <a:custGeom>
            <a:avLst/>
            <a:gdLst>
              <a:gd name="connsiteX0" fmla="*/ 82430 w 199831"/>
              <a:gd name="connsiteY0" fmla="*/ 84928 h 99915"/>
              <a:gd name="connsiteX1" fmla="*/ 82430 w 199831"/>
              <a:gd name="connsiteY1" fmla="*/ 84928 h 99915"/>
              <a:gd name="connsiteX2" fmla="*/ 82430 w 199831"/>
              <a:gd name="connsiteY2" fmla="*/ 84928 h 99915"/>
              <a:gd name="connsiteX3" fmla="*/ 82430 w 199831"/>
              <a:gd name="connsiteY3" fmla="*/ 84928 h 99915"/>
              <a:gd name="connsiteX4" fmla="*/ 82430 w 199831"/>
              <a:gd name="connsiteY4" fmla="*/ 84928 h 99915"/>
              <a:gd name="connsiteX5" fmla="*/ 172355 w 199831"/>
              <a:gd name="connsiteY5" fmla="*/ 74937 h 99915"/>
              <a:gd name="connsiteX6" fmla="*/ 172355 w 199831"/>
              <a:gd name="connsiteY6" fmla="*/ 74937 h 99915"/>
              <a:gd name="connsiteX7" fmla="*/ 172355 w 199831"/>
              <a:gd name="connsiteY7" fmla="*/ 74937 h 99915"/>
              <a:gd name="connsiteX8" fmla="*/ 172355 w 199831"/>
              <a:gd name="connsiteY8" fmla="*/ 74937 h 99915"/>
              <a:gd name="connsiteX9" fmla="*/ 172355 w 199831"/>
              <a:gd name="connsiteY9" fmla="*/ 74937 h 99915"/>
              <a:gd name="connsiteX10" fmla="*/ 82430 w 199831"/>
              <a:gd name="connsiteY10" fmla="*/ 84928 h 99915"/>
              <a:gd name="connsiteX11" fmla="*/ 82430 w 199831"/>
              <a:gd name="connsiteY11" fmla="*/ 84928 h 999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99831" h="99915">
                <a:moveTo>
                  <a:pt x="82430" y="84928"/>
                </a:moveTo>
                <a:cubicBezTo>
                  <a:pt x="72439" y="84928"/>
                  <a:pt x="72439" y="84928"/>
                  <a:pt x="82430" y="84928"/>
                </a:cubicBezTo>
                <a:lnTo>
                  <a:pt x="82430" y="84928"/>
                </a:lnTo>
                <a:cubicBezTo>
                  <a:pt x="72439" y="74937"/>
                  <a:pt x="72439" y="74937"/>
                  <a:pt x="82430" y="84928"/>
                </a:cubicBezTo>
                <a:lnTo>
                  <a:pt x="82430" y="84928"/>
                </a:lnTo>
                <a:lnTo>
                  <a:pt x="172355" y="74937"/>
                </a:lnTo>
                <a:cubicBezTo>
                  <a:pt x="172355" y="74937"/>
                  <a:pt x="172355" y="74937"/>
                  <a:pt x="172355" y="74937"/>
                </a:cubicBezTo>
                <a:lnTo>
                  <a:pt x="172355" y="74937"/>
                </a:lnTo>
                <a:cubicBezTo>
                  <a:pt x="172355" y="74937"/>
                  <a:pt x="172355" y="74937"/>
                  <a:pt x="172355" y="74937"/>
                </a:cubicBezTo>
                <a:lnTo>
                  <a:pt x="172355" y="74937"/>
                </a:lnTo>
                <a:lnTo>
                  <a:pt x="82430" y="84928"/>
                </a:lnTo>
                <a:lnTo>
                  <a:pt x="82430" y="84928"/>
                </a:lnTo>
                <a:close/>
              </a:path>
            </a:pathLst>
          </a:custGeom>
          <a:solidFill>
            <a:srgbClr val="00679A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9860" name="任意多边形: 形状 9859">
            <a:extLst>
              <a:ext uri="{FF2B5EF4-FFF2-40B4-BE49-F238E27FC236}">
                <a16:creationId xmlns:a16="http://schemas.microsoft.com/office/drawing/2014/main" id="{8DDF52F7-2760-4B9F-881C-5AD009986CB0}"/>
              </a:ext>
            </a:extLst>
          </p:cNvPr>
          <p:cNvSpPr/>
          <p:nvPr userDrawn="1"/>
        </p:nvSpPr>
        <p:spPr>
          <a:xfrm>
            <a:off x="4919412" y="4593817"/>
            <a:ext cx="194670" cy="97335"/>
          </a:xfrm>
          <a:custGeom>
            <a:avLst/>
            <a:gdLst>
              <a:gd name="connsiteX0" fmla="*/ 79378 w 199831"/>
              <a:gd name="connsiteY0" fmla="*/ 84928 h 99915"/>
              <a:gd name="connsiteX1" fmla="*/ 79378 w 199831"/>
              <a:gd name="connsiteY1" fmla="*/ 84928 h 99915"/>
              <a:gd name="connsiteX2" fmla="*/ 79378 w 199831"/>
              <a:gd name="connsiteY2" fmla="*/ 84928 h 99915"/>
              <a:gd name="connsiteX3" fmla="*/ 79378 w 199831"/>
              <a:gd name="connsiteY3" fmla="*/ 84928 h 99915"/>
              <a:gd name="connsiteX4" fmla="*/ 79378 w 199831"/>
              <a:gd name="connsiteY4" fmla="*/ 84928 h 99915"/>
              <a:gd name="connsiteX5" fmla="*/ 169302 w 199831"/>
              <a:gd name="connsiteY5" fmla="*/ 74937 h 99915"/>
              <a:gd name="connsiteX6" fmla="*/ 169302 w 199831"/>
              <a:gd name="connsiteY6" fmla="*/ 74937 h 99915"/>
              <a:gd name="connsiteX7" fmla="*/ 169302 w 199831"/>
              <a:gd name="connsiteY7" fmla="*/ 74937 h 99915"/>
              <a:gd name="connsiteX8" fmla="*/ 169302 w 199831"/>
              <a:gd name="connsiteY8" fmla="*/ 74937 h 99915"/>
              <a:gd name="connsiteX9" fmla="*/ 169302 w 199831"/>
              <a:gd name="connsiteY9" fmla="*/ 74937 h 99915"/>
              <a:gd name="connsiteX10" fmla="*/ 79378 w 199831"/>
              <a:gd name="connsiteY10" fmla="*/ 84928 h 99915"/>
              <a:gd name="connsiteX11" fmla="*/ 79378 w 199831"/>
              <a:gd name="connsiteY11" fmla="*/ 84928 h 999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99831" h="99915">
                <a:moveTo>
                  <a:pt x="79378" y="84928"/>
                </a:moveTo>
                <a:cubicBezTo>
                  <a:pt x="79378" y="84928"/>
                  <a:pt x="69386" y="84928"/>
                  <a:pt x="79378" y="84928"/>
                </a:cubicBezTo>
                <a:lnTo>
                  <a:pt x="79378" y="84928"/>
                </a:lnTo>
                <a:cubicBezTo>
                  <a:pt x="69386" y="84928"/>
                  <a:pt x="79378" y="84928"/>
                  <a:pt x="79378" y="84928"/>
                </a:cubicBezTo>
                <a:lnTo>
                  <a:pt x="79378" y="84928"/>
                </a:lnTo>
                <a:lnTo>
                  <a:pt x="169302" y="74937"/>
                </a:lnTo>
                <a:cubicBezTo>
                  <a:pt x="169302" y="74937"/>
                  <a:pt x="169302" y="74937"/>
                  <a:pt x="169302" y="74937"/>
                </a:cubicBezTo>
                <a:lnTo>
                  <a:pt x="169302" y="74937"/>
                </a:lnTo>
                <a:cubicBezTo>
                  <a:pt x="169302" y="74937"/>
                  <a:pt x="169302" y="74937"/>
                  <a:pt x="169302" y="74937"/>
                </a:cubicBezTo>
                <a:lnTo>
                  <a:pt x="169302" y="74937"/>
                </a:lnTo>
                <a:lnTo>
                  <a:pt x="79378" y="84928"/>
                </a:lnTo>
                <a:lnTo>
                  <a:pt x="79378" y="84928"/>
                </a:lnTo>
                <a:close/>
              </a:path>
            </a:pathLst>
          </a:custGeom>
          <a:solidFill>
            <a:srgbClr val="00679A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9861" name="任意多边形: 形状 9860">
            <a:extLst>
              <a:ext uri="{FF2B5EF4-FFF2-40B4-BE49-F238E27FC236}">
                <a16:creationId xmlns:a16="http://schemas.microsoft.com/office/drawing/2014/main" id="{64482779-7357-49EB-A989-6E5ABEAF4139}"/>
              </a:ext>
            </a:extLst>
          </p:cNvPr>
          <p:cNvSpPr/>
          <p:nvPr userDrawn="1"/>
        </p:nvSpPr>
        <p:spPr>
          <a:xfrm>
            <a:off x="4919412" y="4652218"/>
            <a:ext cx="194670" cy="97335"/>
          </a:xfrm>
          <a:custGeom>
            <a:avLst/>
            <a:gdLst>
              <a:gd name="connsiteX0" fmla="*/ 79378 w 199831"/>
              <a:gd name="connsiteY0" fmla="*/ 84929 h 99915"/>
              <a:gd name="connsiteX1" fmla="*/ 79378 w 199831"/>
              <a:gd name="connsiteY1" fmla="*/ 84929 h 99915"/>
              <a:gd name="connsiteX2" fmla="*/ 79378 w 199831"/>
              <a:gd name="connsiteY2" fmla="*/ 84929 h 99915"/>
              <a:gd name="connsiteX3" fmla="*/ 79378 w 199831"/>
              <a:gd name="connsiteY3" fmla="*/ 84929 h 99915"/>
              <a:gd name="connsiteX4" fmla="*/ 79378 w 199831"/>
              <a:gd name="connsiteY4" fmla="*/ 84929 h 99915"/>
              <a:gd name="connsiteX5" fmla="*/ 169302 w 199831"/>
              <a:gd name="connsiteY5" fmla="*/ 74937 h 99915"/>
              <a:gd name="connsiteX6" fmla="*/ 169302 w 199831"/>
              <a:gd name="connsiteY6" fmla="*/ 74937 h 99915"/>
              <a:gd name="connsiteX7" fmla="*/ 169302 w 199831"/>
              <a:gd name="connsiteY7" fmla="*/ 74937 h 99915"/>
              <a:gd name="connsiteX8" fmla="*/ 169302 w 199831"/>
              <a:gd name="connsiteY8" fmla="*/ 74937 h 99915"/>
              <a:gd name="connsiteX9" fmla="*/ 169302 w 199831"/>
              <a:gd name="connsiteY9" fmla="*/ 74937 h 99915"/>
              <a:gd name="connsiteX10" fmla="*/ 79378 w 199831"/>
              <a:gd name="connsiteY10" fmla="*/ 84929 h 99915"/>
              <a:gd name="connsiteX11" fmla="*/ 79378 w 199831"/>
              <a:gd name="connsiteY11" fmla="*/ 84929 h 999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99831" h="99915">
                <a:moveTo>
                  <a:pt x="79378" y="84929"/>
                </a:moveTo>
                <a:cubicBezTo>
                  <a:pt x="79378" y="84929"/>
                  <a:pt x="69386" y="84929"/>
                  <a:pt x="79378" y="84929"/>
                </a:cubicBezTo>
                <a:lnTo>
                  <a:pt x="79378" y="84929"/>
                </a:lnTo>
                <a:cubicBezTo>
                  <a:pt x="69386" y="74937"/>
                  <a:pt x="79378" y="74937"/>
                  <a:pt x="79378" y="84929"/>
                </a:cubicBezTo>
                <a:lnTo>
                  <a:pt x="79378" y="84929"/>
                </a:lnTo>
                <a:lnTo>
                  <a:pt x="169302" y="74937"/>
                </a:lnTo>
                <a:cubicBezTo>
                  <a:pt x="169302" y="74937"/>
                  <a:pt x="169302" y="74937"/>
                  <a:pt x="169302" y="74937"/>
                </a:cubicBezTo>
                <a:lnTo>
                  <a:pt x="169302" y="74937"/>
                </a:lnTo>
                <a:cubicBezTo>
                  <a:pt x="169302" y="74937"/>
                  <a:pt x="169302" y="74937"/>
                  <a:pt x="169302" y="74937"/>
                </a:cubicBezTo>
                <a:lnTo>
                  <a:pt x="169302" y="74937"/>
                </a:lnTo>
                <a:lnTo>
                  <a:pt x="79378" y="84929"/>
                </a:lnTo>
                <a:lnTo>
                  <a:pt x="79378" y="84929"/>
                </a:lnTo>
                <a:close/>
              </a:path>
            </a:pathLst>
          </a:custGeom>
          <a:solidFill>
            <a:srgbClr val="00679A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9862" name="任意多边形: 形状 9861">
            <a:extLst>
              <a:ext uri="{FF2B5EF4-FFF2-40B4-BE49-F238E27FC236}">
                <a16:creationId xmlns:a16="http://schemas.microsoft.com/office/drawing/2014/main" id="{F1F43CA8-854F-435C-9F49-D1AB347EC3F7}"/>
              </a:ext>
            </a:extLst>
          </p:cNvPr>
          <p:cNvSpPr/>
          <p:nvPr userDrawn="1"/>
        </p:nvSpPr>
        <p:spPr>
          <a:xfrm>
            <a:off x="4919412" y="4759286"/>
            <a:ext cx="194670" cy="97335"/>
          </a:xfrm>
          <a:custGeom>
            <a:avLst/>
            <a:gdLst>
              <a:gd name="connsiteX0" fmla="*/ 79378 w 199831"/>
              <a:gd name="connsiteY0" fmla="*/ 84929 h 99915"/>
              <a:gd name="connsiteX1" fmla="*/ 79378 w 199831"/>
              <a:gd name="connsiteY1" fmla="*/ 84929 h 99915"/>
              <a:gd name="connsiteX2" fmla="*/ 79378 w 199831"/>
              <a:gd name="connsiteY2" fmla="*/ 84929 h 99915"/>
              <a:gd name="connsiteX3" fmla="*/ 79378 w 199831"/>
              <a:gd name="connsiteY3" fmla="*/ 84929 h 99915"/>
              <a:gd name="connsiteX4" fmla="*/ 79378 w 199831"/>
              <a:gd name="connsiteY4" fmla="*/ 84929 h 99915"/>
              <a:gd name="connsiteX5" fmla="*/ 169302 w 199831"/>
              <a:gd name="connsiteY5" fmla="*/ 74937 h 99915"/>
              <a:gd name="connsiteX6" fmla="*/ 169302 w 199831"/>
              <a:gd name="connsiteY6" fmla="*/ 74937 h 99915"/>
              <a:gd name="connsiteX7" fmla="*/ 169302 w 199831"/>
              <a:gd name="connsiteY7" fmla="*/ 74937 h 99915"/>
              <a:gd name="connsiteX8" fmla="*/ 169302 w 199831"/>
              <a:gd name="connsiteY8" fmla="*/ 74937 h 99915"/>
              <a:gd name="connsiteX9" fmla="*/ 169302 w 199831"/>
              <a:gd name="connsiteY9" fmla="*/ 74937 h 99915"/>
              <a:gd name="connsiteX10" fmla="*/ 79378 w 199831"/>
              <a:gd name="connsiteY10" fmla="*/ 84929 h 99915"/>
              <a:gd name="connsiteX11" fmla="*/ 79378 w 199831"/>
              <a:gd name="connsiteY11" fmla="*/ 84929 h 999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99831" h="99915">
                <a:moveTo>
                  <a:pt x="79378" y="84929"/>
                </a:moveTo>
                <a:cubicBezTo>
                  <a:pt x="79378" y="84929"/>
                  <a:pt x="69386" y="84929"/>
                  <a:pt x="79378" y="84929"/>
                </a:cubicBezTo>
                <a:lnTo>
                  <a:pt x="79378" y="84929"/>
                </a:lnTo>
                <a:cubicBezTo>
                  <a:pt x="69386" y="74937"/>
                  <a:pt x="79378" y="74937"/>
                  <a:pt x="79378" y="84929"/>
                </a:cubicBezTo>
                <a:lnTo>
                  <a:pt x="79378" y="84929"/>
                </a:lnTo>
                <a:lnTo>
                  <a:pt x="169302" y="74937"/>
                </a:lnTo>
                <a:cubicBezTo>
                  <a:pt x="169302" y="74937"/>
                  <a:pt x="169302" y="74937"/>
                  <a:pt x="169302" y="74937"/>
                </a:cubicBezTo>
                <a:lnTo>
                  <a:pt x="169302" y="74937"/>
                </a:lnTo>
                <a:cubicBezTo>
                  <a:pt x="169302" y="74937"/>
                  <a:pt x="169302" y="74937"/>
                  <a:pt x="169302" y="74937"/>
                </a:cubicBezTo>
                <a:lnTo>
                  <a:pt x="169302" y="74937"/>
                </a:lnTo>
                <a:lnTo>
                  <a:pt x="79378" y="84929"/>
                </a:lnTo>
                <a:lnTo>
                  <a:pt x="79378" y="84929"/>
                </a:lnTo>
                <a:close/>
              </a:path>
            </a:pathLst>
          </a:custGeom>
          <a:solidFill>
            <a:srgbClr val="00679A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9863" name="任意多边形: 形状 9862">
            <a:extLst>
              <a:ext uri="{FF2B5EF4-FFF2-40B4-BE49-F238E27FC236}">
                <a16:creationId xmlns:a16="http://schemas.microsoft.com/office/drawing/2014/main" id="{56E8F0FF-B66B-4D40-AE4E-4901259C9B8C}"/>
              </a:ext>
            </a:extLst>
          </p:cNvPr>
          <p:cNvSpPr/>
          <p:nvPr userDrawn="1"/>
        </p:nvSpPr>
        <p:spPr>
          <a:xfrm>
            <a:off x="4919412" y="4807954"/>
            <a:ext cx="194670" cy="97335"/>
          </a:xfrm>
          <a:custGeom>
            <a:avLst/>
            <a:gdLst>
              <a:gd name="connsiteX0" fmla="*/ 79378 w 199831"/>
              <a:gd name="connsiteY0" fmla="*/ 84929 h 99915"/>
              <a:gd name="connsiteX1" fmla="*/ 79378 w 199831"/>
              <a:gd name="connsiteY1" fmla="*/ 84929 h 99915"/>
              <a:gd name="connsiteX2" fmla="*/ 79378 w 199831"/>
              <a:gd name="connsiteY2" fmla="*/ 84929 h 99915"/>
              <a:gd name="connsiteX3" fmla="*/ 79378 w 199831"/>
              <a:gd name="connsiteY3" fmla="*/ 84929 h 99915"/>
              <a:gd name="connsiteX4" fmla="*/ 79378 w 199831"/>
              <a:gd name="connsiteY4" fmla="*/ 84929 h 99915"/>
              <a:gd name="connsiteX5" fmla="*/ 169302 w 199831"/>
              <a:gd name="connsiteY5" fmla="*/ 74937 h 99915"/>
              <a:gd name="connsiteX6" fmla="*/ 169302 w 199831"/>
              <a:gd name="connsiteY6" fmla="*/ 74937 h 99915"/>
              <a:gd name="connsiteX7" fmla="*/ 169302 w 199831"/>
              <a:gd name="connsiteY7" fmla="*/ 74937 h 99915"/>
              <a:gd name="connsiteX8" fmla="*/ 169302 w 199831"/>
              <a:gd name="connsiteY8" fmla="*/ 74937 h 99915"/>
              <a:gd name="connsiteX9" fmla="*/ 169302 w 199831"/>
              <a:gd name="connsiteY9" fmla="*/ 74937 h 99915"/>
              <a:gd name="connsiteX10" fmla="*/ 79378 w 199831"/>
              <a:gd name="connsiteY10" fmla="*/ 84929 h 99915"/>
              <a:gd name="connsiteX11" fmla="*/ 79378 w 199831"/>
              <a:gd name="connsiteY11" fmla="*/ 84929 h 999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99831" h="99915">
                <a:moveTo>
                  <a:pt x="79378" y="84929"/>
                </a:moveTo>
                <a:cubicBezTo>
                  <a:pt x="79378" y="84929"/>
                  <a:pt x="69386" y="84929"/>
                  <a:pt x="79378" y="84929"/>
                </a:cubicBezTo>
                <a:lnTo>
                  <a:pt x="79378" y="84929"/>
                </a:lnTo>
                <a:cubicBezTo>
                  <a:pt x="69386" y="84929"/>
                  <a:pt x="79378" y="84929"/>
                  <a:pt x="79378" y="84929"/>
                </a:cubicBezTo>
                <a:lnTo>
                  <a:pt x="79378" y="84929"/>
                </a:lnTo>
                <a:lnTo>
                  <a:pt x="169302" y="74937"/>
                </a:lnTo>
                <a:cubicBezTo>
                  <a:pt x="169302" y="74937"/>
                  <a:pt x="169302" y="74937"/>
                  <a:pt x="169302" y="74937"/>
                </a:cubicBezTo>
                <a:lnTo>
                  <a:pt x="169302" y="74937"/>
                </a:lnTo>
                <a:cubicBezTo>
                  <a:pt x="169302" y="74937"/>
                  <a:pt x="169302" y="74937"/>
                  <a:pt x="169302" y="74937"/>
                </a:cubicBezTo>
                <a:lnTo>
                  <a:pt x="169302" y="74937"/>
                </a:lnTo>
                <a:lnTo>
                  <a:pt x="79378" y="84929"/>
                </a:lnTo>
                <a:lnTo>
                  <a:pt x="79378" y="84929"/>
                </a:lnTo>
                <a:close/>
              </a:path>
            </a:pathLst>
          </a:custGeom>
          <a:solidFill>
            <a:srgbClr val="00679A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9864" name="任意多边形: 形状 9863">
            <a:extLst>
              <a:ext uri="{FF2B5EF4-FFF2-40B4-BE49-F238E27FC236}">
                <a16:creationId xmlns:a16="http://schemas.microsoft.com/office/drawing/2014/main" id="{0F1D6100-2E50-46F4-8729-E1F9ECF009CC}"/>
              </a:ext>
            </a:extLst>
          </p:cNvPr>
          <p:cNvSpPr/>
          <p:nvPr userDrawn="1"/>
        </p:nvSpPr>
        <p:spPr>
          <a:xfrm>
            <a:off x="4919412" y="4866356"/>
            <a:ext cx="194670" cy="97335"/>
          </a:xfrm>
          <a:custGeom>
            <a:avLst/>
            <a:gdLst>
              <a:gd name="connsiteX0" fmla="*/ 79378 w 199831"/>
              <a:gd name="connsiteY0" fmla="*/ 84929 h 99915"/>
              <a:gd name="connsiteX1" fmla="*/ 79378 w 199831"/>
              <a:gd name="connsiteY1" fmla="*/ 84929 h 99915"/>
              <a:gd name="connsiteX2" fmla="*/ 79378 w 199831"/>
              <a:gd name="connsiteY2" fmla="*/ 84929 h 99915"/>
              <a:gd name="connsiteX3" fmla="*/ 79378 w 199831"/>
              <a:gd name="connsiteY3" fmla="*/ 84929 h 99915"/>
              <a:gd name="connsiteX4" fmla="*/ 79378 w 199831"/>
              <a:gd name="connsiteY4" fmla="*/ 84929 h 99915"/>
              <a:gd name="connsiteX5" fmla="*/ 169302 w 199831"/>
              <a:gd name="connsiteY5" fmla="*/ 74937 h 99915"/>
              <a:gd name="connsiteX6" fmla="*/ 169302 w 199831"/>
              <a:gd name="connsiteY6" fmla="*/ 74937 h 99915"/>
              <a:gd name="connsiteX7" fmla="*/ 169302 w 199831"/>
              <a:gd name="connsiteY7" fmla="*/ 74937 h 99915"/>
              <a:gd name="connsiteX8" fmla="*/ 169302 w 199831"/>
              <a:gd name="connsiteY8" fmla="*/ 74937 h 99915"/>
              <a:gd name="connsiteX9" fmla="*/ 169302 w 199831"/>
              <a:gd name="connsiteY9" fmla="*/ 74937 h 99915"/>
              <a:gd name="connsiteX10" fmla="*/ 79378 w 199831"/>
              <a:gd name="connsiteY10" fmla="*/ 84929 h 99915"/>
              <a:gd name="connsiteX11" fmla="*/ 79378 w 199831"/>
              <a:gd name="connsiteY11" fmla="*/ 84929 h 999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99831" h="99915">
                <a:moveTo>
                  <a:pt x="79378" y="84929"/>
                </a:moveTo>
                <a:cubicBezTo>
                  <a:pt x="79378" y="84929"/>
                  <a:pt x="69386" y="84929"/>
                  <a:pt x="79378" y="84929"/>
                </a:cubicBezTo>
                <a:lnTo>
                  <a:pt x="79378" y="84929"/>
                </a:lnTo>
                <a:cubicBezTo>
                  <a:pt x="69386" y="84929"/>
                  <a:pt x="79378" y="74937"/>
                  <a:pt x="79378" y="84929"/>
                </a:cubicBezTo>
                <a:lnTo>
                  <a:pt x="79378" y="84929"/>
                </a:lnTo>
                <a:lnTo>
                  <a:pt x="169302" y="74937"/>
                </a:lnTo>
                <a:cubicBezTo>
                  <a:pt x="169302" y="74937"/>
                  <a:pt x="169302" y="74937"/>
                  <a:pt x="169302" y="74937"/>
                </a:cubicBezTo>
                <a:lnTo>
                  <a:pt x="169302" y="74937"/>
                </a:lnTo>
                <a:cubicBezTo>
                  <a:pt x="169302" y="74937"/>
                  <a:pt x="169302" y="74937"/>
                  <a:pt x="169302" y="74937"/>
                </a:cubicBezTo>
                <a:lnTo>
                  <a:pt x="169302" y="74937"/>
                </a:lnTo>
                <a:lnTo>
                  <a:pt x="79378" y="84929"/>
                </a:lnTo>
                <a:lnTo>
                  <a:pt x="79378" y="84929"/>
                </a:lnTo>
                <a:close/>
              </a:path>
            </a:pathLst>
          </a:custGeom>
          <a:solidFill>
            <a:srgbClr val="00679A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9865" name="任意多边形: 形状 9864">
            <a:extLst>
              <a:ext uri="{FF2B5EF4-FFF2-40B4-BE49-F238E27FC236}">
                <a16:creationId xmlns:a16="http://schemas.microsoft.com/office/drawing/2014/main" id="{DF2E0389-3D6D-44BE-A28E-5BB84126AAF0}"/>
              </a:ext>
            </a:extLst>
          </p:cNvPr>
          <p:cNvSpPr/>
          <p:nvPr userDrawn="1"/>
        </p:nvSpPr>
        <p:spPr>
          <a:xfrm>
            <a:off x="4919412" y="4924756"/>
            <a:ext cx="194670" cy="97335"/>
          </a:xfrm>
          <a:custGeom>
            <a:avLst/>
            <a:gdLst>
              <a:gd name="connsiteX0" fmla="*/ 79378 w 199831"/>
              <a:gd name="connsiteY0" fmla="*/ 84928 h 99915"/>
              <a:gd name="connsiteX1" fmla="*/ 79378 w 199831"/>
              <a:gd name="connsiteY1" fmla="*/ 84928 h 99915"/>
              <a:gd name="connsiteX2" fmla="*/ 79378 w 199831"/>
              <a:gd name="connsiteY2" fmla="*/ 84928 h 99915"/>
              <a:gd name="connsiteX3" fmla="*/ 79378 w 199831"/>
              <a:gd name="connsiteY3" fmla="*/ 84928 h 99915"/>
              <a:gd name="connsiteX4" fmla="*/ 79378 w 199831"/>
              <a:gd name="connsiteY4" fmla="*/ 84928 h 99915"/>
              <a:gd name="connsiteX5" fmla="*/ 169302 w 199831"/>
              <a:gd name="connsiteY5" fmla="*/ 74937 h 99915"/>
              <a:gd name="connsiteX6" fmla="*/ 169302 w 199831"/>
              <a:gd name="connsiteY6" fmla="*/ 74937 h 99915"/>
              <a:gd name="connsiteX7" fmla="*/ 169302 w 199831"/>
              <a:gd name="connsiteY7" fmla="*/ 74937 h 99915"/>
              <a:gd name="connsiteX8" fmla="*/ 169302 w 199831"/>
              <a:gd name="connsiteY8" fmla="*/ 74937 h 99915"/>
              <a:gd name="connsiteX9" fmla="*/ 169302 w 199831"/>
              <a:gd name="connsiteY9" fmla="*/ 74937 h 99915"/>
              <a:gd name="connsiteX10" fmla="*/ 79378 w 199831"/>
              <a:gd name="connsiteY10" fmla="*/ 84928 h 99915"/>
              <a:gd name="connsiteX11" fmla="*/ 79378 w 199831"/>
              <a:gd name="connsiteY11" fmla="*/ 84928 h 999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99831" h="99915">
                <a:moveTo>
                  <a:pt x="79378" y="84928"/>
                </a:moveTo>
                <a:cubicBezTo>
                  <a:pt x="79378" y="84928"/>
                  <a:pt x="69386" y="74937"/>
                  <a:pt x="79378" y="84928"/>
                </a:cubicBezTo>
                <a:lnTo>
                  <a:pt x="79378" y="84928"/>
                </a:lnTo>
                <a:cubicBezTo>
                  <a:pt x="69386" y="74937"/>
                  <a:pt x="79378" y="74937"/>
                  <a:pt x="79378" y="84928"/>
                </a:cubicBezTo>
                <a:lnTo>
                  <a:pt x="79378" y="84928"/>
                </a:lnTo>
                <a:lnTo>
                  <a:pt x="169302" y="74937"/>
                </a:lnTo>
                <a:cubicBezTo>
                  <a:pt x="169302" y="74937"/>
                  <a:pt x="169302" y="74937"/>
                  <a:pt x="169302" y="74937"/>
                </a:cubicBezTo>
                <a:lnTo>
                  <a:pt x="169302" y="74937"/>
                </a:lnTo>
                <a:cubicBezTo>
                  <a:pt x="169302" y="74937"/>
                  <a:pt x="169302" y="74937"/>
                  <a:pt x="169302" y="74937"/>
                </a:cubicBezTo>
                <a:lnTo>
                  <a:pt x="169302" y="74937"/>
                </a:lnTo>
                <a:lnTo>
                  <a:pt x="79378" y="84928"/>
                </a:lnTo>
                <a:lnTo>
                  <a:pt x="79378" y="84928"/>
                </a:lnTo>
                <a:close/>
              </a:path>
            </a:pathLst>
          </a:custGeom>
          <a:solidFill>
            <a:srgbClr val="00679A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9866" name="任意多边形: 形状 9865">
            <a:extLst>
              <a:ext uri="{FF2B5EF4-FFF2-40B4-BE49-F238E27FC236}">
                <a16:creationId xmlns:a16="http://schemas.microsoft.com/office/drawing/2014/main" id="{2CD4E4B6-9346-40BC-9289-2768CBBD0C88}"/>
              </a:ext>
            </a:extLst>
          </p:cNvPr>
          <p:cNvSpPr/>
          <p:nvPr userDrawn="1"/>
        </p:nvSpPr>
        <p:spPr>
          <a:xfrm>
            <a:off x="5147609" y="4438081"/>
            <a:ext cx="97335" cy="97335"/>
          </a:xfrm>
          <a:custGeom>
            <a:avLst/>
            <a:gdLst>
              <a:gd name="connsiteX0" fmla="*/ 94920 w 99915"/>
              <a:gd name="connsiteY0" fmla="*/ 104912 h 99915"/>
              <a:gd name="connsiteX1" fmla="*/ 94920 w 99915"/>
              <a:gd name="connsiteY1" fmla="*/ 74937 h 99915"/>
              <a:gd name="connsiteX2" fmla="*/ 84929 w 99915"/>
              <a:gd name="connsiteY2" fmla="*/ 84929 h 99915"/>
              <a:gd name="connsiteX3" fmla="*/ 74937 w 99915"/>
              <a:gd name="connsiteY3" fmla="*/ 84929 h 99915"/>
              <a:gd name="connsiteX4" fmla="*/ 84929 w 99915"/>
              <a:gd name="connsiteY4" fmla="*/ 74937 h 99915"/>
              <a:gd name="connsiteX5" fmla="*/ 94920 w 99915"/>
              <a:gd name="connsiteY5" fmla="*/ 74937 h 99915"/>
              <a:gd name="connsiteX6" fmla="*/ 94920 w 99915"/>
              <a:gd name="connsiteY6" fmla="*/ 104912 h 99915"/>
              <a:gd name="connsiteX7" fmla="*/ 94920 w 99915"/>
              <a:gd name="connsiteY7" fmla="*/ 104912 h 999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9915" h="99915">
                <a:moveTo>
                  <a:pt x="94920" y="104912"/>
                </a:moveTo>
                <a:lnTo>
                  <a:pt x="94920" y="74937"/>
                </a:lnTo>
                <a:lnTo>
                  <a:pt x="84929" y="84929"/>
                </a:lnTo>
                <a:lnTo>
                  <a:pt x="74937" y="84929"/>
                </a:lnTo>
                <a:lnTo>
                  <a:pt x="84929" y="74937"/>
                </a:lnTo>
                <a:lnTo>
                  <a:pt x="94920" y="74937"/>
                </a:lnTo>
                <a:lnTo>
                  <a:pt x="94920" y="104912"/>
                </a:lnTo>
                <a:lnTo>
                  <a:pt x="94920" y="104912"/>
                </a:lnTo>
                <a:close/>
              </a:path>
            </a:pathLst>
          </a:custGeom>
          <a:solidFill>
            <a:srgbClr val="00679A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9867" name="任意多边形: 形状 9866">
            <a:extLst>
              <a:ext uri="{FF2B5EF4-FFF2-40B4-BE49-F238E27FC236}">
                <a16:creationId xmlns:a16="http://schemas.microsoft.com/office/drawing/2014/main" id="{1D57C636-1A75-4072-B9A8-53FB11BF8869}"/>
              </a:ext>
            </a:extLst>
          </p:cNvPr>
          <p:cNvSpPr/>
          <p:nvPr userDrawn="1"/>
        </p:nvSpPr>
        <p:spPr>
          <a:xfrm>
            <a:off x="5157343" y="4691152"/>
            <a:ext cx="97335" cy="97335"/>
          </a:xfrm>
          <a:custGeom>
            <a:avLst/>
            <a:gdLst>
              <a:gd name="connsiteX0" fmla="*/ 74937 w 99915"/>
              <a:gd name="connsiteY0" fmla="*/ 84928 h 99915"/>
              <a:gd name="connsiteX1" fmla="*/ 94920 w 99915"/>
              <a:gd name="connsiteY1" fmla="*/ 74937 h 99915"/>
              <a:gd name="connsiteX2" fmla="*/ 104912 w 99915"/>
              <a:gd name="connsiteY2" fmla="*/ 94920 h 99915"/>
              <a:gd name="connsiteX3" fmla="*/ 94920 w 99915"/>
              <a:gd name="connsiteY3" fmla="*/ 104912 h 99915"/>
              <a:gd name="connsiteX4" fmla="*/ 114903 w 99915"/>
              <a:gd name="connsiteY4" fmla="*/ 104912 h 99915"/>
              <a:gd name="connsiteX5" fmla="*/ 114903 w 99915"/>
              <a:gd name="connsiteY5" fmla="*/ 104912 h 99915"/>
              <a:gd name="connsiteX6" fmla="*/ 84928 w 99915"/>
              <a:gd name="connsiteY6" fmla="*/ 104912 h 99915"/>
              <a:gd name="connsiteX7" fmla="*/ 84928 w 99915"/>
              <a:gd name="connsiteY7" fmla="*/ 104912 h 99915"/>
              <a:gd name="connsiteX8" fmla="*/ 104912 w 99915"/>
              <a:gd name="connsiteY8" fmla="*/ 94920 h 99915"/>
              <a:gd name="connsiteX9" fmla="*/ 104912 w 99915"/>
              <a:gd name="connsiteY9" fmla="*/ 94920 h 99915"/>
              <a:gd name="connsiteX10" fmla="*/ 94920 w 99915"/>
              <a:gd name="connsiteY10" fmla="*/ 84928 h 99915"/>
              <a:gd name="connsiteX11" fmla="*/ 74937 w 99915"/>
              <a:gd name="connsiteY11" fmla="*/ 84928 h 99915"/>
              <a:gd name="connsiteX12" fmla="*/ 74937 w 99915"/>
              <a:gd name="connsiteY12" fmla="*/ 84928 h 999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99915" h="99915">
                <a:moveTo>
                  <a:pt x="74937" y="84928"/>
                </a:moveTo>
                <a:cubicBezTo>
                  <a:pt x="74937" y="74937"/>
                  <a:pt x="84928" y="74937"/>
                  <a:pt x="94920" y="74937"/>
                </a:cubicBezTo>
                <a:cubicBezTo>
                  <a:pt x="114903" y="74937"/>
                  <a:pt x="114903" y="94920"/>
                  <a:pt x="104912" y="94920"/>
                </a:cubicBezTo>
                <a:cubicBezTo>
                  <a:pt x="94920" y="94920"/>
                  <a:pt x="94920" y="104912"/>
                  <a:pt x="94920" y="104912"/>
                </a:cubicBezTo>
                <a:lnTo>
                  <a:pt x="114903" y="104912"/>
                </a:lnTo>
                <a:lnTo>
                  <a:pt x="114903" y="104912"/>
                </a:lnTo>
                <a:lnTo>
                  <a:pt x="84928" y="104912"/>
                </a:lnTo>
                <a:lnTo>
                  <a:pt x="84928" y="104912"/>
                </a:lnTo>
                <a:lnTo>
                  <a:pt x="104912" y="94920"/>
                </a:lnTo>
                <a:lnTo>
                  <a:pt x="104912" y="94920"/>
                </a:lnTo>
                <a:cubicBezTo>
                  <a:pt x="114903" y="94920"/>
                  <a:pt x="114903" y="84928"/>
                  <a:pt x="94920" y="84928"/>
                </a:cubicBezTo>
                <a:cubicBezTo>
                  <a:pt x="84928" y="84928"/>
                  <a:pt x="74937" y="84928"/>
                  <a:pt x="74937" y="84928"/>
                </a:cubicBezTo>
                <a:lnTo>
                  <a:pt x="74937" y="84928"/>
                </a:lnTo>
                <a:close/>
              </a:path>
            </a:pathLst>
          </a:custGeom>
          <a:solidFill>
            <a:srgbClr val="00679A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9868" name="任意多边形: 形状 9867">
            <a:extLst>
              <a:ext uri="{FF2B5EF4-FFF2-40B4-BE49-F238E27FC236}">
                <a16:creationId xmlns:a16="http://schemas.microsoft.com/office/drawing/2014/main" id="{D53C1484-CFD7-4041-A95B-AE5EE8F21521}"/>
              </a:ext>
            </a:extLst>
          </p:cNvPr>
          <p:cNvSpPr/>
          <p:nvPr userDrawn="1"/>
        </p:nvSpPr>
        <p:spPr>
          <a:xfrm>
            <a:off x="5157343" y="4953957"/>
            <a:ext cx="97335" cy="97335"/>
          </a:xfrm>
          <a:custGeom>
            <a:avLst/>
            <a:gdLst>
              <a:gd name="connsiteX0" fmla="*/ 84928 w 99915"/>
              <a:gd name="connsiteY0" fmla="*/ 94920 h 99915"/>
              <a:gd name="connsiteX1" fmla="*/ 84928 w 99915"/>
              <a:gd name="connsiteY1" fmla="*/ 94920 h 99915"/>
              <a:gd name="connsiteX2" fmla="*/ 94920 w 99915"/>
              <a:gd name="connsiteY2" fmla="*/ 84929 h 99915"/>
              <a:gd name="connsiteX3" fmla="*/ 84928 w 99915"/>
              <a:gd name="connsiteY3" fmla="*/ 74937 h 99915"/>
              <a:gd name="connsiteX4" fmla="*/ 84928 w 99915"/>
              <a:gd name="connsiteY4" fmla="*/ 94920 h 99915"/>
              <a:gd name="connsiteX5" fmla="*/ 84928 w 99915"/>
              <a:gd name="connsiteY5" fmla="*/ 94920 h 99915"/>
              <a:gd name="connsiteX6" fmla="*/ 84928 w 99915"/>
              <a:gd name="connsiteY6" fmla="*/ 74937 h 99915"/>
              <a:gd name="connsiteX7" fmla="*/ 104912 w 99915"/>
              <a:gd name="connsiteY7" fmla="*/ 84929 h 99915"/>
              <a:gd name="connsiteX8" fmla="*/ 104912 w 99915"/>
              <a:gd name="connsiteY8" fmla="*/ 94920 h 99915"/>
              <a:gd name="connsiteX9" fmla="*/ 114903 w 99915"/>
              <a:gd name="connsiteY9" fmla="*/ 104912 h 99915"/>
              <a:gd name="connsiteX10" fmla="*/ 94920 w 99915"/>
              <a:gd name="connsiteY10" fmla="*/ 114903 h 99915"/>
              <a:gd name="connsiteX11" fmla="*/ 74937 w 99915"/>
              <a:gd name="connsiteY11" fmla="*/ 104912 h 99915"/>
              <a:gd name="connsiteX12" fmla="*/ 84928 w 99915"/>
              <a:gd name="connsiteY12" fmla="*/ 104912 h 99915"/>
              <a:gd name="connsiteX13" fmla="*/ 94920 w 99915"/>
              <a:gd name="connsiteY13" fmla="*/ 114903 h 99915"/>
              <a:gd name="connsiteX14" fmla="*/ 104912 w 99915"/>
              <a:gd name="connsiteY14" fmla="*/ 104912 h 99915"/>
              <a:gd name="connsiteX15" fmla="*/ 84928 w 99915"/>
              <a:gd name="connsiteY15" fmla="*/ 94920 h 99915"/>
              <a:gd name="connsiteX16" fmla="*/ 84928 w 99915"/>
              <a:gd name="connsiteY16" fmla="*/ 94920 h 99915"/>
              <a:gd name="connsiteX17" fmla="*/ 84928 w 99915"/>
              <a:gd name="connsiteY17" fmla="*/ 94920 h 999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99915" h="99915">
                <a:moveTo>
                  <a:pt x="84928" y="94920"/>
                </a:moveTo>
                <a:lnTo>
                  <a:pt x="84928" y="94920"/>
                </a:lnTo>
                <a:cubicBezTo>
                  <a:pt x="94920" y="94920"/>
                  <a:pt x="94920" y="94920"/>
                  <a:pt x="94920" y="84929"/>
                </a:cubicBezTo>
                <a:cubicBezTo>
                  <a:pt x="94920" y="84929"/>
                  <a:pt x="94920" y="74937"/>
                  <a:pt x="84928" y="74937"/>
                </a:cubicBezTo>
                <a:cubicBezTo>
                  <a:pt x="84928" y="84929"/>
                  <a:pt x="74937" y="84929"/>
                  <a:pt x="84928" y="94920"/>
                </a:cubicBezTo>
                <a:lnTo>
                  <a:pt x="84928" y="94920"/>
                </a:lnTo>
                <a:cubicBezTo>
                  <a:pt x="74937" y="84929"/>
                  <a:pt x="84928" y="74937"/>
                  <a:pt x="84928" y="74937"/>
                </a:cubicBezTo>
                <a:cubicBezTo>
                  <a:pt x="94920" y="74937"/>
                  <a:pt x="104912" y="74937"/>
                  <a:pt x="104912" y="84929"/>
                </a:cubicBezTo>
                <a:cubicBezTo>
                  <a:pt x="104912" y="84929"/>
                  <a:pt x="104912" y="94920"/>
                  <a:pt x="104912" y="94920"/>
                </a:cubicBezTo>
                <a:cubicBezTo>
                  <a:pt x="104912" y="94920"/>
                  <a:pt x="114903" y="94920"/>
                  <a:pt x="114903" y="104912"/>
                </a:cubicBezTo>
                <a:cubicBezTo>
                  <a:pt x="114903" y="114903"/>
                  <a:pt x="104912" y="114903"/>
                  <a:pt x="94920" y="114903"/>
                </a:cubicBezTo>
                <a:cubicBezTo>
                  <a:pt x="84928" y="114903"/>
                  <a:pt x="84928" y="114903"/>
                  <a:pt x="74937" y="104912"/>
                </a:cubicBezTo>
                <a:lnTo>
                  <a:pt x="84928" y="104912"/>
                </a:lnTo>
                <a:cubicBezTo>
                  <a:pt x="84928" y="104912"/>
                  <a:pt x="84928" y="114903"/>
                  <a:pt x="94920" y="114903"/>
                </a:cubicBezTo>
                <a:cubicBezTo>
                  <a:pt x="104912" y="114903"/>
                  <a:pt x="104912" y="114903"/>
                  <a:pt x="104912" y="104912"/>
                </a:cubicBezTo>
                <a:cubicBezTo>
                  <a:pt x="94920" y="104912"/>
                  <a:pt x="94920" y="94920"/>
                  <a:pt x="84928" y="94920"/>
                </a:cubicBezTo>
                <a:lnTo>
                  <a:pt x="84928" y="94920"/>
                </a:lnTo>
                <a:lnTo>
                  <a:pt x="84928" y="94920"/>
                </a:lnTo>
                <a:close/>
              </a:path>
            </a:pathLst>
          </a:custGeom>
          <a:solidFill>
            <a:srgbClr val="00679A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9869" name="任意多边形: 形状 9868">
            <a:extLst>
              <a:ext uri="{FF2B5EF4-FFF2-40B4-BE49-F238E27FC236}">
                <a16:creationId xmlns:a16="http://schemas.microsoft.com/office/drawing/2014/main" id="{1832AA47-EE16-447D-99BE-6E7F29D6FA76}"/>
              </a:ext>
            </a:extLst>
          </p:cNvPr>
          <p:cNvSpPr/>
          <p:nvPr userDrawn="1"/>
        </p:nvSpPr>
        <p:spPr>
          <a:xfrm>
            <a:off x="4738801" y="5868907"/>
            <a:ext cx="681346" cy="194670"/>
          </a:xfrm>
          <a:custGeom>
            <a:avLst/>
            <a:gdLst>
              <a:gd name="connsiteX0" fmla="*/ 74937 w 699411"/>
              <a:gd name="connsiteY0" fmla="*/ 114903 h 199831"/>
              <a:gd name="connsiteX1" fmla="*/ 394668 w 699411"/>
              <a:gd name="connsiteY1" fmla="*/ 144878 h 199831"/>
              <a:gd name="connsiteX2" fmla="*/ 714398 w 699411"/>
              <a:gd name="connsiteY2" fmla="*/ 104912 h 199831"/>
              <a:gd name="connsiteX3" fmla="*/ 394668 w 699411"/>
              <a:gd name="connsiteY3" fmla="*/ 74937 h 199831"/>
              <a:gd name="connsiteX4" fmla="*/ 74937 w 699411"/>
              <a:gd name="connsiteY4" fmla="*/ 114903 h 199831"/>
              <a:gd name="connsiteX5" fmla="*/ 224811 w 699411"/>
              <a:gd name="connsiteY5" fmla="*/ 104912 h 199831"/>
              <a:gd name="connsiteX6" fmla="*/ 394668 w 699411"/>
              <a:gd name="connsiteY6" fmla="*/ 84929 h 199831"/>
              <a:gd name="connsiteX7" fmla="*/ 564525 w 699411"/>
              <a:gd name="connsiteY7" fmla="*/ 104912 h 199831"/>
              <a:gd name="connsiteX8" fmla="*/ 394668 w 699411"/>
              <a:gd name="connsiteY8" fmla="*/ 124895 h 199831"/>
              <a:gd name="connsiteX9" fmla="*/ 224811 w 699411"/>
              <a:gd name="connsiteY9" fmla="*/ 104912 h 1998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99411" h="199831">
                <a:moveTo>
                  <a:pt x="74937" y="114903"/>
                </a:moveTo>
                <a:cubicBezTo>
                  <a:pt x="74937" y="134886"/>
                  <a:pt x="214819" y="144878"/>
                  <a:pt x="394668" y="144878"/>
                </a:cubicBezTo>
                <a:cubicBezTo>
                  <a:pt x="574516" y="144878"/>
                  <a:pt x="714398" y="124895"/>
                  <a:pt x="714398" y="104912"/>
                </a:cubicBezTo>
                <a:cubicBezTo>
                  <a:pt x="714398" y="84929"/>
                  <a:pt x="574516" y="74937"/>
                  <a:pt x="394668" y="74937"/>
                </a:cubicBezTo>
                <a:cubicBezTo>
                  <a:pt x="214819" y="74937"/>
                  <a:pt x="74937" y="94920"/>
                  <a:pt x="74937" y="114903"/>
                </a:cubicBezTo>
                <a:close/>
                <a:moveTo>
                  <a:pt x="224811" y="104912"/>
                </a:moveTo>
                <a:cubicBezTo>
                  <a:pt x="224811" y="94920"/>
                  <a:pt x="294752" y="84929"/>
                  <a:pt x="394668" y="84929"/>
                </a:cubicBezTo>
                <a:cubicBezTo>
                  <a:pt x="494583" y="84929"/>
                  <a:pt x="564525" y="94920"/>
                  <a:pt x="564525" y="104912"/>
                </a:cubicBezTo>
                <a:cubicBezTo>
                  <a:pt x="564525" y="114903"/>
                  <a:pt x="494583" y="124895"/>
                  <a:pt x="394668" y="124895"/>
                </a:cubicBezTo>
                <a:cubicBezTo>
                  <a:pt x="304744" y="124895"/>
                  <a:pt x="224811" y="114903"/>
                  <a:pt x="224811" y="104912"/>
                </a:cubicBezTo>
                <a:close/>
              </a:path>
            </a:pathLst>
          </a:custGeom>
          <a:solidFill>
            <a:srgbClr val="00679A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9870" name="任意多边形: 形状 9869">
            <a:extLst>
              <a:ext uri="{FF2B5EF4-FFF2-40B4-BE49-F238E27FC236}">
                <a16:creationId xmlns:a16="http://schemas.microsoft.com/office/drawing/2014/main" id="{0FBD6214-08E1-45C2-AA9F-8F9B7975FCE1}"/>
              </a:ext>
            </a:extLst>
          </p:cNvPr>
          <p:cNvSpPr/>
          <p:nvPr userDrawn="1"/>
        </p:nvSpPr>
        <p:spPr>
          <a:xfrm>
            <a:off x="4738801" y="5907842"/>
            <a:ext cx="681346" cy="194670"/>
          </a:xfrm>
          <a:custGeom>
            <a:avLst/>
            <a:gdLst>
              <a:gd name="connsiteX0" fmla="*/ 394668 w 699411"/>
              <a:gd name="connsiteY0" fmla="*/ 114903 h 199831"/>
              <a:gd name="connsiteX1" fmla="*/ 74937 w 699411"/>
              <a:gd name="connsiteY1" fmla="*/ 84929 h 199831"/>
              <a:gd name="connsiteX2" fmla="*/ 74937 w 699411"/>
              <a:gd name="connsiteY2" fmla="*/ 104912 h 199831"/>
              <a:gd name="connsiteX3" fmla="*/ 74937 w 699411"/>
              <a:gd name="connsiteY3" fmla="*/ 104912 h 199831"/>
              <a:gd name="connsiteX4" fmla="*/ 74937 w 699411"/>
              <a:gd name="connsiteY4" fmla="*/ 104912 h 199831"/>
              <a:gd name="connsiteX5" fmla="*/ 74937 w 699411"/>
              <a:gd name="connsiteY5" fmla="*/ 104912 h 199831"/>
              <a:gd name="connsiteX6" fmla="*/ 74937 w 699411"/>
              <a:gd name="connsiteY6" fmla="*/ 104912 h 199831"/>
              <a:gd name="connsiteX7" fmla="*/ 394668 w 699411"/>
              <a:gd name="connsiteY7" fmla="*/ 134886 h 199831"/>
              <a:gd name="connsiteX8" fmla="*/ 714398 w 699411"/>
              <a:gd name="connsiteY8" fmla="*/ 94920 h 199831"/>
              <a:gd name="connsiteX9" fmla="*/ 714398 w 699411"/>
              <a:gd name="connsiteY9" fmla="*/ 94920 h 199831"/>
              <a:gd name="connsiteX10" fmla="*/ 714398 w 699411"/>
              <a:gd name="connsiteY10" fmla="*/ 74937 h 199831"/>
              <a:gd name="connsiteX11" fmla="*/ 394668 w 699411"/>
              <a:gd name="connsiteY11" fmla="*/ 114903 h 199831"/>
              <a:gd name="connsiteX12" fmla="*/ 74937 w 699411"/>
              <a:gd name="connsiteY12" fmla="*/ 84929 h 199831"/>
              <a:gd name="connsiteX13" fmla="*/ 74937 w 699411"/>
              <a:gd name="connsiteY13" fmla="*/ 84929 h 199831"/>
              <a:gd name="connsiteX14" fmla="*/ 74937 w 699411"/>
              <a:gd name="connsiteY14" fmla="*/ 84929 h 199831"/>
              <a:gd name="connsiteX15" fmla="*/ 74937 w 699411"/>
              <a:gd name="connsiteY15" fmla="*/ 84929 h 199831"/>
              <a:gd name="connsiteX16" fmla="*/ 74937 w 699411"/>
              <a:gd name="connsiteY16" fmla="*/ 84929 h 199831"/>
              <a:gd name="connsiteX17" fmla="*/ 74937 w 699411"/>
              <a:gd name="connsiteY17" fmla="*/ 84929 h 199831"/>
              <a:gd name="connsiteX18" fmla="*/ 74937 w 699411"/>
              <a:gd name="connsiteY18" fmla="*/ 84929 h 199831"/>
              <a:gd name="connsiteX19" fmla="*/ 74937 w 699411"/>
              <a:gd name="connsiteY19" fmla="*/ 84929 h 1998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699411" h="199831">
                <a:moveTo>
                  <a:pt x="394668" y="114903"/>
                </a:moveTo>
                <a:cubicBezTo>
                  <a:pt x="214819" y="114903"/>
                  <a:pt x="74937" y="104912"/>
                  <a:pt x="74937" y="84929"/>
                </a:cubicBezTo>
                <a:lnTo>
                  <a:pt x="74937" y="104912"/>
                </a:lnTo>
                <a:lnTo>
                  <a:pt x="74937" y="104912"/>
                </a:lnTo>
                <a:cubicBezTo>
                  <a:pt x="74937" y="104912"/>
                  <a:pt x="74937" y="104912"/>
                  <a:pt x="74937" y="104912"/>
                </a:cubicBezTo>
                <a:lnTo>
                  <a:pt x="74937" y="104912"/>
                </a:lnTo>
                <a:lnTo>
                  <a:pt x="74937" y="104912"/>
                </a:lnTo>
                <a:cubicBezTo>
                  <a:pt x="74937" y="124895"/>
                  <a:pt x="214819" y="134886"/>
                  <a:pt x="394668" y="134886"/>
                </a:cubicBezTo>
                <a:cubicBezTo>
                  <a:pt x="574516" y="134886"/>
                  <a:pt x="714398" y="114903"/>
                  <a:pt x="714398" y="94920"/>
                </a:cubicBezTo>
                <a:lnTo>
                  <a:pt x="714398" y="94920"/>
                </a:lnTo>
                <a:lnTo>
                  <a:pt x="714398" y="74937"/>
                </a:lnTo>
                <a:cubicBezTo>
                  <a:pt x="704407" y="94920"/>
                  <a:pt x="564525" y="114903"/>
                  <a:pt x="394668" y="114903"/>
                </a:cubicBezTo>
                <a:close/>
                <a:moveTo>
                  <a:pt x="74937" y="84929"/>
                </a:moveTo>
                <a:lnTo>
                  <a:pt x="74937" y="84929"/>
                </a:lnTo>
                <a:cubicBezTo>
                  <a:pt x="74937" y="84929"/>
                  <a:pt x="74937" y="84929"/>
                  <a:pt x="74937" y="84929"/>
                </a:cubicBezTo>
                <a:lnTo>
                  <a:pt x="74937" y="84929"/>
                </a:lnTo>
                <a:close/>
                <a:moveTo>
                  <a:pt x="74937" y="84929"/>
                </a:moveTo>
                <a:lnTo>
                  <a:pt x="74937" y="84929"/>
                </a:lnTo>
                <a:lnTo>
                  <a:pt x="74937" y="84929"/>
                </a:lnTo>
                <a:cubicBezTo>
                  <a:pt x="74937" y="84929"/>
                  <a:pt x="74937" y="84929"/>
                  <a:pt x="74937" y="84929"/>
                </a:cubicBezTo>
                <a:close/>
              </a:path>
            </a:pathLst>
          </a:custGeom>
          <a:solidFill>
            <a:srgbClr val="00679A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9871" name="任意多边形: 形状 9870">
            <a:extLst>
              <a:ext uri="{FF2B5EF4-FFF2-40B4-BE49-F238E27FC236}">
                <a16:creationId xmlns:a16="http://schemas.microsoft.com/office/drawing/2014/main" id="{1C56135A-2511-43D8-8182-BD0C94D4A2E7}"/>
              </a:ext>
            </a:extLst>
          </p:cNvPr>
          <p:cNvSpPr/>
          <p:nvPr userDrawn="1"/>
        </p:nvSpPr>
        <p:spPr>
          <a:xfrm>
            <a:off x="1797294" y="4029273"/>
            <a:ext cx="292005" cy="681346"/>
          </a:xfrm>
          <a:custGeom>
            <a:avLst/>
            <a:gdLst>
              <a:gd name="connsiteX0" fmla="*/ 216858 w 299747"/>
              <a:gd name="connsiteY0" fmla="*/ 684424 h 699411"/>
              <a:gd name="connsiteX1" fmla="*/ 96959 w 299747"/>
              <a:gd name="connsiteY1" fmla="*/ 704407 h 699411"/>
              <a:gd name="connsiteX2" fmla="*/ 76976 w 299747"/>
              <a:gd name="connsiteY2" fmla="*/ 354701 h 699411"/>
              <a:gd name="connsiteX3" fmla="*/ 136926 w 299747"/>
              <a:gd name="connsiteY3" fmla="*/ 104912 h 699411"/>
              <a:gd name="connsiteX4" fmla="*/ 146917 w 299747"/>
              <a:gd name="connsiteY4" fmla="*/ 74937 h 699411"/>
              <a:gd name="connsiteX5" fmla="*/ 206867 w 299747"/>
              <a:gd name="connsiteY5" fmla="*/ 174853 h 699411"/>
              <a:gd name="connsiteX6" fmla="*/ 236841 w 299747"/>
              <a:gd name="connsiteY6" fmla="*/ 534550 h 699411"/>
              <a:gd name="connsiteX7" fmla="*/ 216858 w 299747"/>
              <a:gd name="connsiteY7" fmla="*/ 684424 h 6994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99747" h="699411">
                <a:moveTo>
                  <a:pt x="216858" y="684424"/>
                </a:moveTo>
                <a:cubicBezTo>
                  <a:pt x="216858" y="694415"/>
                  <a:pt x="96959" y="704407"/>
                  <a:pt x="96959" y="704407"/>
                </a:cubicBezTo>
                <a:cubicBezTo>
                  <a:pt x="96959" y="704407"/>
                  <a:pt x="66984" y="494584"/>
                  <a:pt x="76976" y="354701"/>
                </a:cubicBezTo>
                <a:cubicBezTo>
                  <a:pt x="86968" y="214819"/>
                  <a:pt x="96959" y="174853"/>
                  <a:pt x="136926" y="104912"/>
                </a:cubicBezTo>
                <a:lnTo>
                  <a:pt x="146917" y="74937"/>
                </a:lnTo>
                <a:cubicBezTo>
                  <a:pt x="146917" y="74937"/>
                  <a:pt x="176892" y="104912"/>
                  <a:pt x="206867" y="174853"/>
                </a:cubicBezTo>
                <a:cubicBezTo>
                  <a:pt x="246833" y="284760"/>
                  <a:pt x="246833" y="434634"/>
                  <a:pt x="236841" y="534550"/>
                </a:cubicBezTo>
                <a:cubicBezTo>
                  <a:pt x="226850" y="644457"/>
                  <a:pt x="216858" y="684424"/>
                  <a:pt x="216858" y="684424"/>
                </a:cubicBezTo>
                <a:close/>
              </a:path>
            </a:pathLst>
          </a:custGeom>
          <a:solidFill>
            <a:srgbClr val="00679A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9872" name="任意多边形: 形状 9871">
            <a:extLst>
              <a:ext uri="{FF2B5EF4-FFF2-40B4-BE49-F238E27FC236}">
                <a16:creationId xmlns:a16="http://schemas.microsoft.com/office/drawing/2014/main" id="{757C8D66-5FD3-4ACC-9FE2-7EB7AB4202F4}"/>
              </a:ext>
            </a:extLst>
          </p:cNvPr>
          <p:cNvSpPr/>
          <p:nvPr userDrawn="1"/>
        </p:nvSpPr>
        <p:spPr>
          <a:xfrm>
            <a:off x="1828482" y="4623017"/>
            <a:ext cx="194670" cy="97335"/>
          </a:xfrm>
          <a:custGeom>
            <a:avLst/>
            <a:gdLst>
              <a:gd name="connsiteX0" fmla="*/ 74937 w 199831"/>
              <a:gd name="connsiteY0" fmla="*/ 94920 h 99915"/>
              <a:gd name="connsiteX1" fmla="*/ 184844 w 199831"/>
              <a:gd name="connsiteY1" fmla="*/ 74937 h 99915"/>
              <a:gd name="connsiteX2" fmla="*/ 174853 w 199831"/>
              <a:gd name="connsiteY2" fmla="*/ 94920 h 99915"/>
              <a:gd name="connsiteX3" fmla="*/ 114903 w 199831"/>
              <a:gd name="connsiteY3" fmla="*/ 114903 h 99915"/>
              <a:gd name="connsiteX4" fmla="*/ 84928 w 199831"/>
              <a:gd name="connsiteY4" fmla="*/ 104912 h 99915"/>
              <a:gd name="connsiteX5" fmla="*/ 74937 w 199831"/>
              <a:gd name="connsiteY5" fmla="*/ 94920 h 999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99831" h="99915">
                <a:moveTo>
                  <a:pt x="74937" y="94920"/>
                </a:moveTo>
                <a:lnTo>
                  <a:pt x="184844" y="74937"/>
                </a:lnTo>
                <a:cubicBezTo>
                  <a:pt x="184844" y="74937"/>
                  <a:pt x="184844" y="94920"/>
                  <a:pt x="174853" y="94920"/>
                </a:cubicBezTo>
                <a:cubicBezTo>
                  <a:pt x="164861" y="104912"/>
                  <a:pt x="124895" y="114903"/>
                  <a:pt x="114903" y="114903"/>
                </a:cubicBezTo>
                <a:cubicBezTo>
                  <a:pt x="94920" y="114903"/>
                  <a:pt x="84928" y="114903"/>
                  <a:pt x="84928" y="104912"/>
                </a:cubicBezTo>
                <a:cubicBezTo>
                  <a:pt x="74937" y="104912"/>
                  <a:pt x="74937" y="94920"/>
                  <a:pt x="74937" y="94920"/>
                </a:cubicBezTo>
                <a:close/>
              </a:path>
            </a:pathLst>
          </a:custGeom>
          <a:solidFill>
            <a:srgbClr val="00679A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9873" name="任意多边形: 形状 9872">
            <a:extLst>
              <a:ext uri="{FF2B5EF4-FFF2-40B4-BE49-F238E27FC236}">
                <a16:creationId xmlns:a16="http://schemas.microsoft.com/office/drawing/2014/main" id="{437E2D28-C910-4ED0-9FCC-11E01EFA1BDA}"/>
              </a:ext>
            </a:extLst>
          </p:cNvPr>
          <p:cNvSpPr/>
          <p:nvPr userDrawn="1"/>
        </p:nvSpPr>
        <p:spPr>
          <a:xfrm>
            <a:off x="1828482" y="4603551"/>
            <a:ext cx="194670" cy="389341"/>
          </a:xfrm>
          <a:custGeom>
            <a:avLst/>
            <a:gdLst>
              <a:gd name="connsiteX0" fmla="*/ 74937 w 199831"/>
              <a:gd name="connsiteY0" fmla="*/ 314735 h 399663"/>
              <a:gd name="connsiteX1" fmla="*/ 84928 w 199831"/>
              <a:gd name="connsiteY1" fmla="*/ 244794 h 399663"/>
              <a:gd name="connsiteX2" fmla="*/ 74937 w 199831"/>
              <a:gd name="connsiteY2" fmla="*/ 124895 h 399663"/>
              <a:gd name="connsiteX3" fmla="*/ 124895 w 199831"/>
              <a:gd name="connsiteY3" fmla="*/ 134886 h 399663"/>
              <a:gd name="connsiteX4" fmla="*/ 194836 w 199831"/>
              <a:gd name="connsiteY4" fmla="*/ 74937 h 399663"/>
              <a:gd name="connsiteX5" fmla="*/ 174853 w 199831"/>
              <a:gd name="connsiteY5" fmla="*/ 294752 h 399663"/>
              <a:gd name="connsiteX6" fmla="*/ 184844 w 199831"/>
              <a:gd name="connsiteY6" fmla="*/ 324727 h 399663"/>
              <a:gd name="connsiteX7" fmla="*/ 74937 w 199831"/>
              <a:gd name="connsiteY7" fmla="*/ 314735 h 3996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99831" h="399663">
                <a:moveTo>
                  <a:pt x="74937" y="314735"/>
                </a:moveTo>
                <a:cubicBezTo>
                  <a:pt x="84928" y="304744"/>
                  <a:pt x="84928" y="284760"/>
                  <a:pt x="84928" y="244794"/>
                </a:cubicBezTo>
                <a:cubicBezTo>
                  <a:pt x="84928" y="204828"/>
                  <a:pt x="74937" y="124895"/>
                  <a:pt x="74937" y="124895"/>
                </a:cubicBezTo>
                <a:cubicBezTo>
                  <a:pt x="74937" y="124895"/>
                  <a:pt x="94920" y="134886"/>
                  <a:pt x="124895" y="134886"/>
                </a:cubicBezTo>
                <a:cubicBezTo>
                  <a:pt x="154870" y="134886"/>
                  <a:pt x="174853" y="124895"/>
                  <a:pt x="194836" y="74937"/>
                </a:cubicBezTo>
                <a:cubicBezTo>
                  <a:pt x="184844" y="114903"/>
                  <a:pt x="174853" y="284760"/>
                  <a:pt x="174853" y="294752"/>
                </a:cubicBezTo>
                <a:cubicBezTo>
                  <a:pt x="174853" y="304744"/>
                  <a:pt x="184844" y="324727"/>
                  <a:pt x="184844" y="324727"/>
                </a:cubicBezTo>
                <a:lnTo>
                  <a:pt x="74937" y="314735"/>
                </a:lnTo>
                <a:close/>
              </a:path>
            </a:pathLst>
          </a:custGeom>
          <a:solidFill>
            <a:schemeClr val="accent6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9874" name="任意多边形: 形状 9873">
            <a:extLst>
              <a:ext uri="{FF2B5EF4-FFF2-40B4-BE49-F238E27FC236}">
                <a16:creationId xmlns:a16="http://schemas.microsoft.com/office/drawing/2014/main" id="{646FB816-4B2B-42BE-A88D-F0187207D22C}"/>
              </a:ext>
            </a:extLst>
          </p:cNvPr>
          <p:cNvSpPr/>
          <p:nvPr userDrawn="1"/>
        </p:nvSpPr>
        <p:spPr>
          <a:xfrm>
            <a:off x="1867416" y="4009806"/>
            <a:ext cx="194670" cy="973352"/>
          </a:xfrm>
          <a:custGeom>
            <a:avLst/>
            <a:gdLst>
              <a:gd name="connsiteX0" fmla="*/ 74937 w 199831"/>
              <a:gd name="connsiteY0" fmla="*/ 104912 h 999158"/>
              <a:gd name="connsiteX1" fmla="*/ 94920 w 199831"/>
              <a:gd name="connsiteY1" fmla="*/ 74937 h 999158"/>
              <a:gd name="connsiteX2" fmla="*/ 174853 w 199831"/>
              <a:gd name="connsiteY2" fmla="*/ 374685 h 999158"/>
              <a:gd name="connsiteX3" fmla="*/ 154870 w 199831"/>
              <a:gd name="connsiteY3" fmla="*/ 694415 h 999158"/>
              <a:gd name="connsiteX4" fmla="*/ 144878 w 199831"/>
              <a:gd name="connsiteY4" fmla="*/ 884256 h 999158"/>
              <a:gd name="connsiteX5" fmla="*/ 154870 w 199831"/>
              <a:gd name="connsiteY5" fmla="*/ 924222 h 999158"/>
              <a:gd name="connsiteX6" fmla="*/ 134886 w 199831"/>
              <a:gd name="connsiteY6" fmla="*/ 924222 h 999158"/>
              <a:gd name="connsiteX7" fmla="*/ 144878 w 199831"/>
              <a:gd name="connsiteY7" fmla="*/ 734382 h 999158"/>
              <a:gd name="connsiteX8" fmla="*/ 164861 w 199831"/>
              <a:gd name="connsiteY8" fmla="*/ 344710 h 999158"/>
              <a:gd name="connsiteX9" fmla="*/ 114903 w 199831"/>
              <a:gd name="connsiteY9" fmla="*/ 144878 h 999158"/>
              <a:gd name="connsiteX10" fmla="*/ 74937 w 199831"/>
              <a:gd name="connsiteY10" fmla="*/ 104912 h 9991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99831" h="999158">
                <a:moveTo>
                  <a:pt x="74937" y="104912"/>
                </a:moveTo>
                <a:lnTo>
                  <a:pt x="94920" y="74937"/>
                </a:lnTo>
                <a:cubicBezTo>
                  <a:pt x="94920" y="74937"/>
                  <a:pt x="174853" y="194836"/>
                  <a:pt x="174853" y="374685"/>
                </a:cubicBezTo>
                <a:cubicBezTo>
                  <a:pt x="174853" y="554533"/>
                  <a:pt x="154870" y="674432"/>
                  <a:pt x="154870" y="694415"/>
                </a:cubicBezTo>
                <a:cubicBezTo>
                  <a:pt x="154870" y="714399"/>
                  <a:pt x="144878" y="874264"/>
                  <a:pt x="144878" y="884256"/>
                </a:cubicBezTo>
                <a:cubicBezTo>
                  <a:pt x="144878" y="894247"/>
                  <a:pt x="144878" y="914230"/>
                  <a:pt x="154870" y="924222"/>
                </a:cubicBezTo>
                <a:cubicBezTo>
                  <a:pt x="144878" y="934213"/>
                  <a:pt x="134886" y="924222"/>
                  <a:pt x="134886" y="924222"/>
                </a:cubicBezTo>
                <a:cubicBezTo>
                  <a:pt x="134886" y="924222"/>
                  <a:pt x="134886" y="814314"/>
                  <a:pt x="144878" y="734382"/>
                </a:cubicBezTo>
                <a:cubicBezTo>
                  <a:pt x="154870" y="654449"/>
                  <a:pt x="164861" y="404659"/>
                  <a:pt x="164861" y="344710"/>
                </a:cubicBezTo>
                <a:cubicBezTo>
                  <a:pt x="154870" y="254786"/>
                  <a:pt x="124895" y="174853"/>
                  <a:pt x="114903" y="144878"/>
                </a:cubicBezTo>
                <a:cubicBezTo>
                  <a:pt x="94920" y="114903"/>
                  <a:pt x="74937" y="104912"/>
                  <a:pt x="74937" y="104912"/>
                </a:cubicBezTo>
                <a:close/>
              </a:path>
            </a:pathLst>
          </a:custGeom>
          <a:solidFill>
            <a:schemeClr val="accent6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9875" name="任意多边形: 形状 9874">
            <a:extLst>
              <a:ext uri="{FF2B5EF4-FFF2-40B4-BE49-F238E27FC236}">
                <a16:creationId xmlns:a16="http://schemas.microsoft.com/office/drawing/2014/main" id="{59A06595-C7D6-458B-AD2C-928BD65C919F}"/>
              </a:ext>
            </a:extLst>
          </p:cNvPr>
          <p:cNvSpPr/>
          <p:nvPr userDrawn="1"/>
        </p:nvSpPr>
        <p:spPr>
          <a:xfrm>
            <a:off x="1775488" y="4817688"/>
            <a:ext cx="292005" cy="1654698"/>
          </a:xfrm>
          <a:custGeom>
            <a:avLst/>
            <a:gdLst>
              <a:gd name="connsiteX0" fmla="*/ 109352 w 299747"/>
              <a:gd name="connsiteY0" fmla="*/ 104912 h 1698569"/>
              <a:gd name="connsiteX1" fmla="*/ 129336 w 299747"/>
              <a:gd name="connsiteY1" fmla="*/ 94920 h 1698569"/>
              <a:gd name="connsiteX2" fmla="*/ 149319 w 299747"/>
              <a:gd name="connsiteY2" fmla="*/ 74937 h 1698569"/>
              <a:gd name="connsiteX3" fmla="*/ 189285 w 299747"/>
              <a:gd name="connsiteY3" fmla="*/ 74937 h 1698569"/>
              <a:gd name="connsiteX4" fmla="*/ 259226 w 299747"/>
              <a:gd name="connsiteY4" fmla="*/ 104912 h 1698569"/>
              <a:gd name="connsiteX5" fmla="*/ 279209 w 299747"/>
              <a:gd name="connsiteY5" fmla="*/ 114903 h 1698569"/>
              <a:gd name="connsiteX6" fmla="*/ 289201 w 299747"/>
              <a:gd name="connsiteY6" fmla="*/ 494584 h 1698569"/>
              <a:gd name="connsiteX7" fmla="*/ 259226 w 299747"/>
              <a:gd name="connsiteY7" fmla="*/ 1233961 h 1698569"/>
              <a:gd name="connsiteX8" fmla="*/ 279209 w 299747"/>
              <a:gd name="connsiteY8" fmla="*/ 1603650 h 1698569"/>
              <a:gd name="connsiteX9" fmla="*/ 259226 w 299747"/>
              <a:gd name="connsiteY9" fmla="*/ 1683583 h 1698569"/>
              <a:gd name="connsiteX10" fmla="*/ 79378 w 299747"/>
              <a:gd name="connsiteY10" fmla="*/ 1673591 h 1698569"/>
              <a:gd name="connsiteX11" fmla="*/ 79378 w 299747"/>
              <a:gd name="connsiteY11" fmla="*/ 1553692 h 1698569"/>
              <a:gd name="connsiteX12" fmla="*/ 89369 w 299747"/>
              <a:gd name="connsiteY12" fmla="*/ 764356 h 1698569"/>
              <a:gd name="connsiteX13" fmla="*/ 79378 w 299747"/>
              <a:gd name="connsiteY13" fmla="*/ 474600 h 1698569"/>
              <a:gd name="connsiteX14" fmla="*/ 109352 w 299747"/>
              <a:gd name="connsiteY14" fmla="*/ 104912 h 16985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299747" h="1698569">
                <a:moveTo>
                  <a:pt x="109352" y="104912"/>
                </a:moveTo>
                <a:cubicBezTo>
                  <a:pt x="109352" y="104912"/>
                  <a:pt x="119344" y="104912"/>
                  <a:pt x="129336" y="94920"/>
                </a:cubicBezTo>
                <a:cubicBezTo>
                  <a:pt x="139327" y="94920"/>
                  <a:pt x="149319" y="84929"/>
                  <a:pt x="149319" y="74937"/>
                </a:cubicBezTo>
                <a:cubicBezTo>
                  <a:pt x="149319" y="74937"/>
                  <a:pt x="189285" y="74937"/>
                  <a:pt x="189285" y="74937"/>
                </a:cubicBezTo>
                <a:cubicBezTo>
                  <a:pt x="189285" y="74937"/>
                  <a:pt x="229251" y="94920"/>
                  <a:pt x="259226" y="104912"/>
                </a:cubicBezTo>
                <a:cubicBezTo>
                  <a:pt x="269218" y="104912"/>
                  <a:pt x="279209" y="104912"/>
                  <a:pt x="279209" y="114903"/>
                </a:cubicBezTo>
                <a:cubicBezTo>
                  <a:pt x="279209" y="114903"/>
                  <a:pt x="299193" y="324727"/>
                  <a:pt x="289201" y="494584"/>
                </a:cubicBezTo>
                <a:cubicBezTo>
                  <a:pt x="279209" y="654449"/>
                  <a:pt x="259226" y="1114062"/>
                  <a:pt x="259226" y="1233961"/>
                </a:cubicBezTo>
                <a:cubicBezTo>
                  <a:pt x="259226" y="1353860"/>
                  <a:pt x="269218" y="1553692"/>
                  <a:pt x="279209" y="1603650"/>
                </a:cubicBezTo>
                <a:cubicBezTo>
                  <a:pt x="279209" y="1663599"/>
                  <a:pt x="279209" y="1663599"/>
                  <a:pt x="259226" y="1683583"/>
                </a:cubicBezTo>
                <a:cubicBezTo>
                  <a:pt x="239243" y="1693574"/>
                  <a:pt x="99361" y="1693574"/>
                  <a:pt x="79378" y="1673591"/>
                </a:cubicBezTo>
                <a:cubicBezTo>
                  <a:pt x="69386" y="1663599"/>
                  <a:pt x="79378" y="1603650"/>
                  <a:pt x="79378" y="1553692"/>
                </a:cubicBezTo>
                <a:cubicBezTo>
                  <a:pt x="79378" y="1503734"/>
                  <a:pt x="109352" y="1263936"/>
                  <a:pt x="89369" y="764356"/>
                </a:cubicBezTo>
                <a:cubicBezTo>
                  <a:pt x="89369" y="764356"/>
                  <a:pt x="79378" y="684424"/>
                  <a:pt x="79378" y="474600"/>
                </a:cubicBezTo>
                <a:cubicBezTo>
                  <a:pt x="89369" y="274769"/>
                  <a:pt x="109352" y="104912"/>
                  <a:pt x="109352" y="104912"/>
                </a:cubicBezTo>
                <a:close/>
              </a:path>
            </a:pathLst>
          </a:custGeom>
          <a:solidFill>
            <a:srgbClr val="00679A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9876" name="任意多边形: 形状 9875">
            <a:extLst>
              <a:ext uri="{FF2B5EF4-FFF2-40B4-BE49-F238E27FC236}">
                <a16:creationId xmlns:a16="http://schemas.microsoft.com/office/drawing/2014/main" id="{C978590C-5ADA-4B4C-92F8-D1C4D70DE88C}"/>
              </a:ext>
            </a:extLst>
          </p:cNvPr>
          <p:cNvSpPr/>
          <p:nvPr userDrawn="1"/>
        </p:nvSpPr>
        <p:spPr>
          <a:xfrm>
            <a:off x="1779815" y="6306916"/>
            <a:ext cx="292005" cy="194670"/>
          </a:xfrm>
          <a:custGeom>
            <a:avLst/>
            <a:gdLst>
              <a:gd name="connsiteX0" fmla="*/ 274769 w 299747"/>
              <a:gd name="connsiteY0" fmla="*/ 74937 h 199831"/>
              <a:gd name="connsiteX1" fmla="*/ 254785 w 299747"/>
              <a:gd name="connsiteY1" fmla="*/ 124895 h 199831"/>
              <a:gd name="connsiteX2" fmla="*/ 74937 w 299747"/>
              <a:gd name="connsiteY2" fmla="*/ 124895 h 199831"/>
              <a:gd name="connsiteX3" fmla="*/ 74937 w 299747"/>
              <a:gd name="connsiteY3" fmla="*/ 134886 h 199831"/>
              <a:gd name="connsiteX4" fmla="*/ 254785 w 299747"/>
              <a:gd name="connsiteY4" fmla="*/ 144878 h 199831"/>
              <a:gd name="connsiteX5" fmla="*/ 274769 w 299747"/>
              <a:gd name="connsiteY5" fmla="*/ 74937 h 199831"/>
              <a:gd name="connsiteX6" fmla="*/ 274769 w 299747"/>
              <a:gd name="connsiteY6" fmla="*/ 74937 h 1998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99747" h="199831">
                <a:moveTo>
                  <a:pt x="274769" y="74937"/>
                </a:moveTo>
                <a:cubicBezTo>
                  <a:pt x="274769" y="114903"/>
                  <a:pt x="264777" y="124895"/>
                  <a:pt x="254785" y="124895"/>
                </a:cubicBezTo>
                <a:cubicBezTo>
                  <a:pt x="234802" y="134886"/>
                  <a:pt x="114903" y="144878"/>
                  <a:pt x="74937" y="124895"/>
                </a:cubicBezTo>
                <a:cubicBezTo>
                  <a:pt x="74937" y="134886"/>
                  <a:pt x="74937" y="134886"/>
                  <a:pt x="74937" y="134886"/>
                </a:cubicBezTo>
                <a:cubicBezTo>
                  <a:pt x="94920" y="164861"/>
                  <a:pt x="244794" y="154870"/>
                  <a:pt x="254785" y="144878"/>
                </a:cubicBezTo>
                <a:cubicBezTo>
                  <a:pt x="284760" y="134886"/>
                  <a:pt x="284760" y="134886"/>
                  <a:pt x="274769" y="74937"/>
                </a:cubicBezTo>
                <a:lnTo>
                  <a:pt x="274769" y="74937"/>
                </a:lnTo>
                <a:close/>
              </a:path>
            </a:pathLst>
          </a:custGeom>
          <a:solidFill>
            <a:schemeClr val="accent6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9877" name="任意多边形: 形状 9876">
            <a:extLst>
              <a:ext uri="{FF2B5EF4-FFF2-40B4-BE49-F238E27FC236}">
                <a16:creationId xmlns:a16="http://schemas.microsoft.com/office/drawing/2014/main" id="{7738BE5E-7766-4BAD-AAFA-1D022C9291E6}"/>
              </a:ext>
            </a:extLst>
          </p:cNvPr>
          <p:cNvSpPr/>
          <p:nvPr userDrawn="1"/>
        </p:nvSpPr>
        <p:spPr>
          <a:xfrm>
            <a:off x="1807029" y="4029273"/>
            <a:ext cx="194670" cy="681346"/>
          </a:xfrm>
          <a:custGeom>
            <a:avLst/>
            <a:gdLst>
              <a:gd name="connsiteX0" fmla="*/ 126934 w 199831"/>
              <a:gd name="connsiteY0" fmla="*/ 104912 h 699411"/>
              <a:gd name="connsiteX1" fmla="*/ 76976 w 199831"/>
              <a:gd name="connsiteY1" fmla="*/ 354701 h 699411"/>
              <a:gd name="connsiteX2" fmla="*/ 96959 w 199831"/>
              <a:gd name="connsiteY2" fmla="*/ 704407 h 699411"/>
              <a:gd name="connsiteX3" fmla="*/ 146917 w 199831"/>
              <a:gd name="connsiteY3" fmla="*/ 714399 h 699411"/>
              <a:gd name="connsiteX4" fmla="*/ 136926 w 199831"/>
              <a:gd name="connsiteY4" fmla="*/ 74937 h 699411"/>
              <a:gd name="connsiteX5" fmla="*/ 126934 w 199831"/>
              <a:gd name="connsiteY5" fmla="*/ 104912 h 6994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99831" h="699411">
                <a:moveTo>
                  <a:pt x="126934" y="104912"/>
                </a:moveTo>
                <a:cubicBezTo>
                  <a:pt x="86968" y="174853"/>
                  <a:pt x="76976" y="214819"/>
                  <a:pt x="76976" y="354701"/>
                </a:cubicBezTo>
                <a:cubicBezTo>
                  <a:pt x="66984" y="494584"/>
                  <a:pt x="96959" y="704407"/>
                  <a:pt x="96959" y="704407"/>
                </a:cubicBezTo>
                <a:cubicBezTo>
                  <a:pt x="96959" y="704407"/>
                  <a:pt x="116942" y="724390"/>
                  <a:pt x="146917" y="714399"/>
                </a:cubicBezTo>
                <a:lnTo>
                  <a:pt x="136926" y="74937"/>
                </a:lnTo>
                <a:lnTo>
                  <a:pt x="126934" y="104912"/>
                </a:lnTo>
                <a:close/>
              </a:path>
            </a:pathLst>
          </a:custGeom>
          <a:solidFill>
            <a:schemeClr val="accent6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9878" name="任意多边形: 形状 9877">
            <a:extLst>
              <a:ext uri="{FF2B5EF4-FFF2-40B4-BE49-F238E27FC236}">
                <a16:creationId xmlns:a16="http://schemas.microsoft.com/office/drawing/2014/main" id="{95CFF418-0834-4A87-BCA7-3435499AD4D2}"/>
              </a:ext>
            </a:extLst>
          </p:cNvPr>
          <p:cNvSpPr/>
          <p:nvPr userDrawn="1"/>
        </p:nvSpPr>
        <p:spPr>
          <a:xfrm>
            <a:off x="1775488" y="4827421"/>
            <a:ext cx="194670" cy="1654698"/>
          </a:xfrm>
          <a:custGeom>
            <a:avLst/>
            <a:gdLst>
              <a:gd name="connsiteX0" fmla="*/ 119344 w 199831"/>
              <a:gd name="connsiteY0" fmla="*/ 84928 h 1698569"/>
              <a:gd name="connsiteX1" fmla="*/ 99361 w 199831"/>
              <a:gd name="connsiteY1" fmla="*/ 94920 h 1698569"/>
              <a:gd name="connsiteX2" fmla="*/ 79378 w 199831"/>
              <a:gd name="connsiteY2" fmla="*/ 454617 h 1698569"/>
              <a:gd name="connsiteX3" fmla="*/ 89369 w 199831"/>
              <a:gd name="connsiteY3" fmla="*/ 744373 h 1698569"/>
              <a:gd name="connsiteX4" fmla="*/ 79378 w 199831"/>
              <a:gd name="connsiteY4" fmla="*/ 1533709 h 1698569"/>
              <a:gd name="connsiteX5" fmla="*/ 79378 w 199831"/>
              <a:gd name="connsiteY5" fmla="*/ 1653608 h 1698569"/>
              <a:gd name="connsiteX6" fmla="*/ 179293 w 199831"/>
              <a:gd name="connsiteY6" fmla="*/ 1673591 h 1698569"/>
              <a:gd name="connsiteX7" fmla="*/ 179293 w 199831"/>
              <a:gd name="connsiteY7" fmla="*/ 74937 h 1698569"/>
              <a:gd name="connsiteX8" fmla="*/ 139327 w 199831"/>
              <a:gd name="connsiteY8" fmla="*/ 74937 h 1698569"/>
              <a:gd name="connsiteX9" fmla="*/ 119344 w 199831"/>
              <a:gd name="connsiteY9" fmla="*/ 84928 h 16985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99831" h="1698569">
                <a:moveTo>
                  <a:pt x="119344" y="84928"/>
                </a:moveTo>
                <a:cubicBezTo>
                  <a:pt x="109352" y="84928"/>
                  <a:pt x="99361" y="84928"/>
                  <a:pt x="99361" y="94920"/>
                </a:cubicBezTo>
                <a:cubicBezTo>
                  <a:pt x="99361" y="94920"/>
                  <a:pt x="79378" y="264777"/>
                  <a:pt x="79378" y="454617"/>
                </a:cubicBezTo>
                <a:cubicBezTo>
                  <a:pt x="79378" y="664441"/>
                  <a:pt x="89369" y="744373"/>
                  <a:pt x="89369" y="744373"/>
                </a:cubicBezTo>
                <a:cubicBezTo>
                  <a:pt x="109352" y="1243953"/>
                  <a:pt x="79378" y="1483751"/>
                  <a:pt x="79378" y="1533709"/>
                </a:cubicBezTo>
                <a:cubicBezTo>
                  <a:pt x="79378" y="1583667"/>
                  <a:pt x="69386" y="1643616"/>
                  <a:pt x="79378" y="1653608"/>
                </a:cubicBezTo>
                <a:cubicBezTo>
                  <a:pt x="89369" y="1663599"/>
                  <a:pt x="139327" y="1673591"/>
                  <a:pt x="179293" y="1673591"/>
                </a:cubicBezTo>
                <a:lnTo>
                  <a:pt x="179293" y="74937"/>
                </a:lnTo>
                <a:cubicBezTo>
                  <a:pt x="169302" y="74937"/>
                  <a:pt x="139327" y="74937"/>
                  <a:pt x="139327" y="74937"/>
                </a:cubicBezTo>
                <a:cubicBezTo>
                  <a:pt x="139327" y="74937"/>
                  <a:pt x="139327" y="84928"/>
                  <a:pt x="119344" y="84928"/>
                </a:cubicBezTo>
                <a:close/>
              </a:path>
            </a:pathLst>
          </a:custGeom>
          <a:solidFill>
            <a:schemeClr val="accent6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9879" name="任意多边形: 形状 9878">
            <a:extLst>
              <a:ext uri="{FF2B5EF4-FFF2-40B4-BE49-F238E27FC236}">
                <a16:creationId xmlns:a16="http://schemas.microsoft.com/office/drawing/2014/main" id="{6CDD50E6-2E5C-41CC-AF8A-14D8595213F4}"/>
              </a:ext>
            </a:extLst>
          </p:cNvPr>
          <p:cNvSpPr/>
          <p:nvPr userDrawn="1"/>
        </p:nvSpPr>
        <p:spPr>
          <a:xfrm>
            <a:off x="3434511" y="4048740"/>
            <a:ext cx="584011" cy="681346"/>
          </a:xfrm>
          <a:custGeom>
            <a:avLst/>
            <a:gdLst>
              <a:gd name="connsiteX0" fmla="*/ 554533 w 599495"/>
              <a:gd name="connsiteY0" fmla="*/ 354701 h 699411"/>
              <a:gd name="connsiteX1" fmla="*/ 314735 w 599495"/>
              <a:gd name="connsiteY1" fmla="*/ 74937 h 699411"/>
              <a:gd name="connsiteX2" fmla="*/ 74937 w 599495"/>
              <a:gd name="connsiteY2" fmla="*/ 354701 h 699411"/>
              <a:gd name="connsiteX3" fmla="*/ 314735 w 599495"/>
              <a:gd name="connsiteY3" fmla="*/ 634466 h 699411"/>
              <a:gd name="connsiteX4" fmla="*/ 554533 w 599495"/>
              <a:gd name="connsiteY4" fmla="*/ 354701 h 699411"/>
              <a:gd name="connsiteX5" fmla="*/ 494584 w 599495"/>
              <a:gd name="connsiteY5" fmla="*/ 354701 h 699411"/>
              <a:gd name="connsiteX6" fmla="*/ 314735 w 599495"/>
              <a:gd name="connsiteY6" fmla="*/ 564525 h 699411"/>
              <a:gd name="connsiteX7" fmla="*/ 134886 w 599495"/>
              <a:gd name="connsiteY7" fmla="*/ 354701 h 699411"/>
              <a:gd name="connsiteX8" fmla="*/ 314735 w 599495"/>
              <a:gd name="connsiteY8" fmla="*/ 144878 h 699411"/>
              <a:gd name="connsiteX9" fmla="*/ 494584 w 599495"/>
              <a:gd name="connsiteY9" fmla="*/ 354701 h 6994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599495" h="699411">
                <a:moveTo>
                  <a:pt x="554533" y="354701"/>
                </a:moveTo>
                <a:cubicBezTo>
                  <a:pt x="554533" y="194836"/>
                  <a:pt x="444626" y="74937"/>
                  <a:pt x="314735" y="74937"/>
                </a:cubicBezTo>
                <a:cubicBezTo>
                  <a:pt x="184844" y="74937"/>
                  <a:pt x="74937" y="204828"/>
                  <a:pt x="74937" y="354701"/>
                </a:cubicBezTo>
                <a:cubicBezTo>
                  <a:pt x="74937" y="514567"/>
                  <a:pt x="184844" y="634466"/>
                  <a:pt x="314735" y="634466"/>
                </a:cubicBezTo>
                <a:cubicBezTo>
                  <a:pt x="454617" y="634466"/>
                  <a:pt x="554533" y="514567"/>
                  <a:pt x="554533" y="354701"/>
                </a:cubicBezTo>
                <a:close/>
                <a:moveTo>
                  <a:pt x="494584" y="354701"/>
                </a:moveTo>
                <a:cubicBezTo>
                  <a:pt x="494584" y="474600"/>
                  <a:pt x="414651" y="564525"/>
                  <a:pt x="314735" y="564525"/>
                </a:cubicBezTo>
                <a:cubicBezTo>
                  <a:pt x="214819" y="564525"/>
                  <a:pt x="134886" y="474600"/>
                  <a:pt x="134886" y="354701"/>
                </a:cubicBezTo>
                <a:cubicBezTo>
                  <a:pt x="134886" y="234802"/>
                  <a:pt x="214819" y="144878"/>
                  <a:pt x="314735" y="144878"/>
                </a:cubicBezTo>
                <a:cubicBezTo>
                  <a:pt x="414651" y="144878"/>
                  <a:pt x="494584" y="234802"/>
                  <a:pt x="494584" y="354701"/>
                </a:cubicBezTo>
                <a:close/>
              </a:path>
            </a:pathLst>
          </a:custGeom>
          <a:solidFill>
            <a:schemeClr val="accent6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9880" name="任意多边形: 形状 9879">
            <a:extLst>
              <a:ext uri="{FF2B5EF4-FFF2-40B4-BE49-F238E27FC236}">
                <a16:creationId xmlns:a16="http://schemas.microsoft.com/office/drawing/2014/main" id="{5A015899-CDC8-4EFD-8FD0-147F4BBC119C}"/>
              </a:ext>
            </a:extLst>
          </p:cNvPr>
          <p:cNvSpPr/>
          <p:nvPr userDrawn="1"/>
        </p:nvSpPr>
        <p:spPr>
          <a:xfrm>
            <a:off x="3658382" y="4360213"/>
            <a:ext cx="389340" cy="2141372"/>
          </a:xfrm>
          <a:custGeom>
            <a:avLst/>
            <a:gdLst>
              <a:gd name="connsiteX0" fmla="*/ 324727 w 399663"/>
              <a:gd name="connsiteY0" fmla="*/ 74937 h 2198149"/>
              <a:gd name="connsiteX1" fmla="*/ 374685 w 399663"/>
              <a:gd name="connsiteY1" fmla="*/ 1024138 h 2198149"/>
              <a:gd name="connsiteX2" fmla="*/ 404659 w 399663"/>
              <a:gd name="connsiteY2" fmla="*/ 1463768 h 2198149"/>
              <a:gd name="connsiteX3" fmla="*/ 394668 w 399663"/>
              <a:gd name="connsiteY3" fmla="*/ 2163179 h 2198149"/>
              <a:gd name="connsiteX4" fmla="*/ 364693 w 399663"/>
              <a:gd name="connsiteY4" fmla="*/ 2123213 h 2198149"/>
              <a:gd name="connsiteX5" fmla="*/ 334718 w 399663"/>
              <a:gd name="connsiteY5" fmla="*/ 1503734 h 2198149"/>
              <a:gd name="connsiteX6" fmla="*/ 274769 w 399663"/>
              <a:gd name="connsiteY6" fmla="*/ 1094079 h 2198149"/>
              <a:gd name="connsiteX7" fmla="*/ 184844 w 399663"/>
              <a:gd name="connsiteY7" fmla="*/ 434634 h 2198149"/>
              <a:gd name="connsiteX8" fmla="*/ 74937 w 399663"/>
              <a:gd name="connsiteY8" fmla="*/ 274769 h 2198149"/>
              <a:gd name="connsiteX9" fmla="*/ 224811 w 399663"/>
              <a:gd name="connsiteY9" fmla="*/ 194836 h 2198149"/>
              <a:gd name="connsiteX10" fmla="*/ 324727 w 399663"/>
              <a:gd name="connsiteY10" fmla="*/ 74937 h 21981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399663" h="2198149">
                <a:moveTo>
                  <a:pt x="324727" y="74937"/>
                </a:moveTo>
                <a:lnTo>
                  <a:pt x="374685" y="1024138"/>
                </a:lnTo>
                <a:cubicBezTo>
                  <a:pt x="374685" y="1024138"/>
                  <a:pt x="404659" y="1383835"/>
                  <a:pt x="404659" y="1463768"/>
                </a:cubicBezTo>
                <a:cubicBezTo>
                  <a:pt x="394668" y="1703566"/>
                  <a:pt x="404659" y="2123213"/>
                  <a:pt x="394668" y="2163179"/>
                </a:cubicBezTo>
                <a:cubicBezTo>
                  <a:pt x="384676" y="2203145"/>
                  <a:pt x="364693" y="2193154"/>
                  <a:pt x="364693" y="2123213"/>
                </a:cubicBezTo>
                <a:cubicBezTo>
                  <a:pt x="364693" y="2013305"/>
                  <a:pt x="334718" y="1503734"/>
                  <a:pt x="334718" y="1503734"/>
                </a:cubicBezTo>
                <a:lnTo>
                  <a:pt x="274769" y="1094079"/>
                </a:lnTo>
                <a:lnTo>
                  <a:pt x="184844" y="434634"/>
                </a:lnTo>
                <a:lnTo>
                  <a:pt x="74937" y="274769"/>
                </a:lnTo>
                <a:lnTo>
                  <a:pt x="224811" y="194836"/>
                </a:lnTo>
                <a:lnTo>
                  <a:pt x="324727" y="74937"/>
                </a:lnTo>
                <a:close/>
              </a:path>
            </a:pathLst>
          </a:custGeom>
          <a:solidFill>
            <a:schemeClr val="accent6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9881" name="任意多边形: 形状 9880">
            <a:extLst>
              <a:ext uri="{FF2B5EF4-FFF2-40B4-BE49-F238E27FC236}">
                <a16:creationId xmlns:a16="http://schemas.microsoft.com/office/drawing/2014/main" id="{878AFCD4-71BF-42B0-B056-96687C52EC68}"/>
              </a:ext>
            </a:extLst>
          </p:cNvPr>
          <p:cNvSpPr/>
          <p:nvPr userDrawn="1"/>
        </p:nvSpPr>
        <p:spPr>
          <a:xfrm>
            <a:off x="4008788" y="4068207"/>
            <a:ext cx="584011" cy="681346"/>
          </a:xfrm>
          <a:custGeom>
            <a:avLst/>
            <a:gdLst>
              <a:gd name="connsiteX0" fmla="*/ 554533 w 599495"/>
              <a:gd name="connsiteY0" fmla="*/ 354701 h 699411"/>
              <a:gd name="connsiteX1" fmla="*/ 314735 w 599495"/>
              <a:gd name="connsiteY1" fmla="*/ 74937 h 699411"/>
              <a:gd name="connsiteX2" fmla="*/ 74937 w 599495"/>
              <a:gd name="connsiteY2" fmla="*/ 354701 h 699411"/>
              <a:gd name="connsiteX3" fmla="*/ 314735 w 599495"/>
              <a:gd name="connsiteY3" fmla="*/ 634466 h 699411"/>
              <a:gd name="connsiteX4" fmla="*/ 554533 w 599495"/>
              <a:gd name="connsiteY4" fmla="*/ 354701 h 699411"/>
              <a:gd name="connsiteX5" fmla="*/ 494584 w 599495"/>
              <a:gd name="connsiteY5" fmla="*/ 354701 h 699411"/>
              <a:gd name="connsiteX6" fmla="*/ 314735 w 599495"/>
              <a:gd name="connsiteY6" fmla="*/ 564525 h 699411"/>
              <a:gd name="connsiteX7" fmla="*/ 134886 w 599495"/>
              <a:gd name="connsiteY7" fmla="*/ 354701 h 699411"/>
              <a:gd name="connsiteX8" fmla="*/ 314735 w 599495"/>
              <a:gd name="connsiteY8" fmla="*/ 144878 h 699411"/>
              <a:gd name="connsiteX9" fmla="*/ 494584 w 599495"/>
              <a:gd name="connsiteY9" fmla="*/ 354701 h 6994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599495" h="699411">
                <a:moveTo>
                  <a:pt x="554533" y="354701"/>
                </a:moveTo>
                <a:cubicBezTo>
                  <a:pt x="554533" y="194836"/>
                  <a:pt x="444626" y="74937"/>
                  <a:pt x="314735" y="74937"/>
                </a:cubicBezTo>
                <a:cubicBezTo>
                  <a:pt x="184844" y="74937"/>
                  <a:pt x="74937" y="204828"/>
                  <a:pt x="74937" y="354701"/>
                </a:cubicBezTo>
                <a:cubicBezTo>
                  <a:pt x="74937" y="514567"/>
                  <a:pt x="184844" y="634466"/>
                  <a:pt x="314735" y="634466"/>
                </a:cubicBezTo>
                <a:cubicBezTo>
                  <a:pt x="444626" y="634466"/>
                  <a:pt x="554533" y="514567"/>
                  <a:pt x="554533" y="354701"/>
                </a:cubicBezTo>
                <a:close/>
                <a:moveTo>
                  <a:pt x="494584" y="354701"/>
                </a:moveTo>
                <a:cubicBezTo>
                  <a:pt x="494584" y="474600"/>
                  <a:pt x="414651" y="564525"/>
                  <a:pt x="314735" y="564525"/>
                </a:cubicBezTo>
                <a:cubicBezTo>
                  <a:pt x="214819" y="564525"/>
                  <a:pt x="134886" y="474600"/>
                  <a:pt x="134886" y="354701"/>
                </a:cubicBezTo>
                <a:cubicBezTo>
                  <a:pt x="134886" y="234802"/>
                  <a:pt x="214819" y="144878"/>
                  <a:pt x="314735" y="144878"/>
                </a:cubicBezTo>
                <a:cubicBezTo>
                  <a:pt x="414651" y="144878"/>
                  <a:pt x="494584" y="234802"/>
                  <a:pt x="494584" y="354701"/>
                </a:cubicBezTo>
                <a:close/>
              </a:path>
            </a:pathLst>
          </a:custGeom>
          <a:solidFill>
            <a:srgbClr val="00679A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9882" name="任意多边形: 形状 9881">
            <a:extLst>
              <a:ext uri="{FF2B5EF4-FFF2-40B4-BE49-F238E27FC236}">
                <a16:creationId xmlns:a16="http://schemas.microsoft.com/office/drawing/2014/main" id="{71831FFA-5A6D-4725-833C-F63812D85F81}"/>
              </a:ext>
            </a:extLst>
          </p:cNvPr>
          <p:cNvSpPr/>
          <p:nvPr userDrawn="1"/>
        </p:nvSpPr>
        <p:spPr>
          <a:xfrm>
            <a:off x="3823852" y="4331012"/>
            <a:ext cx="486676" cy="2141372"/>
          </a:xfrm>
          <a:custGeom>
            <a:avLst/>
            <a:gdLst>
              <a:gd name="connsiteX0" fmla="*/ 264777 w 499579"/>
              <a:gd name="connsiteY0" fmla="*/ 74937 h 2198149"/>
              <a:gd name="connsiteX1" fmla="*/ 174853 w 499579"/>
              <a:gd name="connsiteY1" fmla="*/ 864272 h 2198149"/>
              <a:gd name="connsiteX2" fmla="*/ 74937 w 499579"/>
              <a:gd name="connsiteY2" fmla="*/ 924222 h 2198149"/>
              <a:gd name="connsiteX3" fmla="*/ 134886 w 499579"/>
              <a:gd name="connsiteY3" fmla="*/ 1583667 h 2198149"/>
              <a:gd name="connsiteX4" fmla="*/ 164861 w 499579"/>
              <a:gd name="connsiteY4" fmla="*/ 2153187 h 2198149"/>
              <a:gd name="connsiteX5" fmla="*/ 204827 w 499579"/>
              <a:gd name="connsiteY5" fmla="*/ 2063263 h 2198149"/>
              <a:gd name="connsiteX6" fmla="*/ 244794 w 499579"/>
              <a:gd name="connsiteY6" fmla="*/ 1563684 h 2198149"/>
              <a:gd name="connsiteX7" fmla="*/ 354701 w 499579"/>
              <a:gd name="connsiteY7" fmla="*/ 384676 h 2198149"/>
              <a:gd name="connsiteX8" fmla="*/ 504575 w 499579"/>
              <a:gd name="connsiteY8" fmla="*/ 344710 h 2198149"/>
              <a:gd name="connsiteX9" fmla="*/ 344710 w 499579"/>
              <a:gd name="connsiteY9" fmla="*/ 214819 h 2198149"/>
              <a:gd name="connsiteX10" fmla="*/ 264777 w 499579"/>
              <a:gd name="connsiteY10" fmla="*/ 74937 h 21981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499579" h="2198149">
                <a:moveTo>
                  <a:pt x="264777" y="74937"/>
                </a:moveTo>
                <a:lnTo>
                  <a:pt x="174853" y="864272"/>
                </a:lnTo>
                <a:lnTo>
                  <a:pt x="74937" y="924222"/>
                </a:lnTo>
                <a:lnTo>
                  <a:pt x="134886" y="1583667"/>
                </a:lnTo>
                <a:cubicBezTo>
                  <a:pt x="134886" y="1583667"/>
                  <a:pt x="164861" y="2113221"/>
                  <a:pt x="164861" y="2153187"/>
                </a:cubicBezTo>
                <a:cubicBezTo>
                  <a:pt x="164861" y="2233120"/>
                  <a:pt x="194836" y="2233120"/>
                  <a:pt x="204827" y="2063263"/>
                </a:cubicBezTo>
                <a:cubicBezTo>
                  <a:pt x="214819" y="1993322"/>
                  <a:pt x="244794" y="1563684"/>
                  <a:pt x="244794" y="1563684"/>
                </a:cubicBezTo>
                <a:lnTo>
                  <a:pt x="354701" y="384676"/>
                </a:lnTo>
                <a:lnTo>
                  <a:pt x="504575" y="344710"/>
                </a:lnTo>
                <a:cubicBezTo>
                  <a:pt x="504575" y="344710"/>
                  <a:pt x="384676" y="284760"/>
                  <a:pt x="344710" y="214819"/>
                </a:cubicBezTo>
                <a:cubicBezTo>
                  <a:pt x="294752" y="164861"/>
                  <a:pt x="264777" y="74937"/>
                  <a:pt x="264777" y="74937"/>
                </a:cubicBezTo>
                <a:close/>
              </a:path>
            </a:pathLst>
          </a:custGeom>
          <a:solidFill>
            <a:srgbClr val="00679A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9883" name="任意多边形: 形状 9882">
            <a:extLst>
              <a:ext uri="{FF2B5EF4-FFF2-40B4-BE49-F238E27FC236}">
                <a16:creationId xmlns:a16="http://schemas.microsoft.com/office/drawing/2014/main" id="{C8149131-5F32-42BE-9771-067C9B0F4A9B}"/>
              </a:ext>
            </a:extLst>
          </p:cNvPr>
          <p:cNvSpPr/>
          <p:nvPr userDrawn="1"/>
        </p:nvSpPr>
        <p:spPr>
          <a:xfrm>
            <a:off x="3882253" y="5197295"/>
            <a:ext cx="194670" cy="194670"/>
          </a:xfrm>
          <a:custGeom>
            <a:avLst/>
            <a:gdLst>
              <a:gd name="connsiteX0" fmla="*/ 174853 w 199831"/>
              <a:gd name="connsiteY0" fmla="*/ 124895 h 199831"/>
              <a:gd name="connsiteX1" fmla="*/ 124895 w 199831"/>
              <a:gd name="connsiteY1" fmla="*/ 74937 h 199831"/>
              <a:gd name="connsiteX2" fmla="*/ 74937 w 199831"/>
              <a:gd name="connsiteY2" fmla="*/ 124895 h 199831"/>
              <a:gd name="connsiteX3" fmla="*/ 124895 w 199831"/>
              <a:gd name="connsiteY3" fmla="*/ 174853 h 199831"/>
              <a:gd name="connsiteX4" fmla="*/ 174853 w 199831"/>
              <a:gd name="connsiteY4" fmla="*/ 124895 h 1998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9831" h="199831">
                <a:moveTo>
                  <a:pt x="174853" y="124895"/>
                </a:moveTo>
                <a:cubicBezTo>
                  <a:pt x="174853" y="94920"/>
                  <a:pt x="154870" y="74937"/>
                  <a:pt x="124895" y="74937"/>
                </a:cubicBezTo>
                <a:cubicBezTo>
                  <a:pt x="94920" y="74937"/>
                  <a:pt x="74937" y="94920"/>
                  <a:pt x="74937" y="124895"/>
                </a:cubicBezTo>
                <a:cubicBezTo>
                  <a:pt x="74937" y="154870"/>
                  <a:pt x="94920" y="174853"/>
                  <a:pt x="124895" y="174853"/>
                </a:cubicBezTo>
                <a:cubicBezTo>
                  <a:pt x="154870" y="184844"/>
                  <a:pt x="174853" y="154870"/>
                  <a:pt x="174853" y="124895"/>
                </a:cubicBezTo>
                <a:close/>
              </a:path>
            </a:pathLst>
          </a:custGeom>
          <a:solidFill>
            <a:schemeClr val="accent6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9884" name="任意多边形: 形状 9883">
            <a:extLst>
              <a:ext uri="{FF2B5EF4-FFF2-40B4-BE49-F238E27FC236}">
                <a16:creationId xmlns:a16="http://schemas.microsoft.com/office/drawing/2014/main" id="{1AF2210B-4310-48AB-8408-218E64757D37}"/>
              </a:ext>
            </a:extLst>
          </p:cNvPr>
          <p:cNvSpPr/>
          <p:nvPr userDrawn="1"/>
        </p:nvSpPr>
        <p:spPr>
          <a:xfrm>
            <a:off x="2616897" y="6306916"/>
            <a:ext cx="486676" cy="194670"/>
          </a:xfrm>
          <a:custGeom>
            <a:avLst/>
            <a:gdLst>
              <a:gd name="connsiteX0" fmla="*/ 434634 w 499579"/>
              <a:gd name="connsiteY0" fmla="*/ 114903 h 199831"/>
              <a:gd name="connsiteX1" fmla="*/ 254785 w 499579"/>
              <a:gd name="connsiteY1" fmla="*/ 154870 h 199831"/>
              <a:gd name="connsiteX2" fmla="*/ 74937 w 499579"/>
              <a:gd name="connsiteY2" fmla="*/ 114903 h 199831"/>
              <a:gd name="connsiteX3" fmla="*/ 254785 w 499579"/>
              <a:gd name="connsiteY3" fmla="*/ 74937 h 199831"/>
              <a:gd name="connsiteX4" fmla="*/ 434634 w 499579"/>
              <a:gd name="connsiteY4" fmla="*/ 114903 h 1998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99579" h="199831">
                <a:moveTo>
                  <a:pt x="434634" y="114903"/>
                </a:moveTo>
                <a:cubicBezTo>
                  <a:pt x="434634" y="134886"/>
                  <a:pt x="354701" y="154870"/>
                  <a:pt x="254785" y="154870"/>
                </a:cubicBezTo>
                <a:cubicBezTo>
                  <a:pt x="154870" y="154870"/>
                  <a:pt x="74937" y="144878"/>
                  <a:pt x="74937" y="114903"/>
                </a:cubicBezTo>
                <a:cubicBezTo>
                  <a:pt x="74937" y="94920"/>
                  <a:pt x="154870" y="74937"/>
                  <a:pt x="254785" y="74937"/>
                </a:cubicBezTo>
                <a:cubicBezTo>
                  <a:pt x="354701" y="74937"/>
                  <a:pt x="434634" y="94920"/>
                  <a:pt x="434634" y="114903"/>
                </a:cubicBezTo>
                <a:close/>
              </a:path>
            </a:pathLst>
          </a:custGeom>
          <a:solidFill>
            <a:srgbClr val="00679A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9885" name="任意多边形: 形状 9884">
            <a:extLst>
              <a:ext uri="{FF2B5EF4-FFF2-40B4-BE49-F238E27FC236}">
                <a16:creationId xmlns:a16="http://schemas.microsoft.com/office/drawing/2014/main" id="{E1E1EE51-7A3A-4B9C-BA9D-1ED30DD1E1E9}"/>
              </a:ext>
            </a:extLst>
          </p:cNvPr>
          <p:cNvSpPr/>
          <p:nvPr userDrawn="1"/>
        </p:nvSpPr>
        <p:spPr>
          <a:xfrm>
            <a:off x="2597429" y="6345849"/>
            <a:ext cx="486676" cy="194670"/>
          </a:xfrm>
          <a:custGeom>
            <a:avLst/>
            <a:gdLst>
              <a:gd name="connsiteX0" fmla="*/ 454617 w 499579"/>
              <a:gd name="connsiteY0" fmla="*/ 74937 h 199831"/>
              <a:gd name="connsiteX1" fmla="*/ 264777 w 499579"/>
              <a:gd name="connsiteY1" fmla="*/ 114903 h 199831"/>
              <a:gd name="connsiteX2" fmla="*/ 74937 w 499579"/>
              <a:gd name="connsiteY2" fmla="*/ 74937 h 199831"/>
              <a:gd name="connsiteX3" fmla="*/ 74937 w 499579"/>
              <a:gd name="connsiteY3" fmla="*/ 104912 h 199831"/>
              <a:gd name="connsiteX4" fmla="*/ 74937 w 499579"/>
              <a:gd name="connsiteY4" fmla="*/ 104912 h 199831"/>
              <a:gd name="connsiteX5" fmla="*/ 254785 w 499579"/>
              <a:gd name="connsiteY5" fmla="*/ 144878 h 199831"/>
              <a:gd name="connsiteX6" fmla="*/ 434634 w 499579"/>
              <a:gd name="connsiteY6" fmla="*/ 104912 h 199831"/>
              <a:gd name="connsiteX7" fmla="*/ 434634 w 499579"/>
              <a:gd name="connsiteY7" fmla="*/ 104912 h 199831"/>
              <a:gd name="connsiteX8" fmla="*/ 434634 w 499579"/>
              <a:gd name="connsiteY8" fmla="*/ 104912 h 199831"/>
              <a:gd name="connsiteX9" fmla="*/ 434634 w 499579"/>
              <a:gd name="connsiteY9" fmla="*/ 104912 h 199831"/>
              <a:gd name="connsiteX10" fmla="*/ 434634 w 499579"/>
              <a:gd name="connsiteY10" fmla="*/ 104912 h 199831"/>
              <a:gd name="connsiteX11" fmla="*/ 454617 w 499579"/>
              <a:gd name="connsiteY11" fmla="*/ 74937 h 1998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499579" h="199831">
                <a:moveTo>
                  <a:pt x="454617" y="74937"/>
                </a:moveTo>
                <a:cubicBezTo>
                  <a:pt x="444626" y="94920"/>
                  <a:pt x="364693" y="114903"/>
                  <a:pt x="264777" y="114903"/>
                </a:cubicBezTo>
                <a:cubicBezTo>
                  <a:pt x="164861" y="114903"/>
                  <a:pt x="74937" y="104912"/>
                  <a:pt x="74937" y="74937"/>
                </a:cubicBezTo>
                <a:cubicBezTo>
                  <a:pt x="74937" y="74937"/>
                  <a:pt x="74937" y="104912"/>
                  <a:pt x="74937" y="104912"/>
                </a:cubicBezTo>
                <a:lnTo>
                  <a:pt x="74937" y="104912"/>
                </a:lnTo>
                <a:cubicBezTo>
                  <a:pt x="74937" y="134887"/>
                  <a:pt x="154870" y="144878"/>
                  <a:pt x="254785" y="144878"/>
                </a:cubicBezTo>
                <a:cubicBezTo>
                  <a:pt x="354701" y="144878"/>
                  <a:pt x="434634" y="124895"/>
                  <a:pt x="434634" y="104912"/>
                </a:cubicBezTo>
                <a:lnTo>
                  <a:pt x="434634" y="104912"/>
                </a:lnTo>
                <a:lnTo>
                  <a:pt x="434634" y="104912"/>
                </a:lnTo>
                <a:cubicBezTo>
                  <a:pt x="434634" y="104912"/>
                  <a:pt x="434634" y="104912"/>
                  <a:pt x="434634" y="104912"/>
                </a:cubicBezTo>
                <a:cubicBezTo>
                  <a:pt x="434634" y="104912"/>
                  <a:pt x="434634" y="104912"/>
                  <a:pt x="434634" y="104912"/>
                </a:cubicBezTo>
                <a:cubicBezTo>
                  <a:pt x="454617" y="104912"/>
                  <a:pt x="464609" y="74937"/>
                  <a:pt x="454617" y="74937"/>
                </a:cubicBezTo>
                <a:close/>
              </a:path>
            </a:pathLst>
          </a:custGeom>
          <a:solidFill>
            <a:schemeClr val="accent6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9886" name="任意多边形: 形状 9885">
            <a:extLst>
              <a:ext uri="{FF2B5EF4-FFF2-40B4-BE49-F238E27FC236}">
                <a16:creationId xmlns:a16="http://schemas.microsoft.com/office/drawing/2014/main" id="{49AD82DC-3C17-4483-BB6B-BA2903E6E2EA}"/>
              </a:ext>
            </a:extLst>
          </p:cNvPr>
          <p:cNvSpPr/>
          <p:nvPr userDrawn="1"/>
        </p:nvSpPr>
        <p:spPr>
          <a:xfrm>
            <a:off x="2694764" y="5333564"/>
            <a:ext cx="194670" cy="1168022"/>
          </a:xfrm>
          <a:custGeom>
            <a:avLst/>
            <a:gdLst>
              <a:gd name="connsiteX0" fmla="*/ 184844 w 199831"/>
              <a:gd name="connsiteY0" fmla="*/ 1124054 h 1198990"/>
              <a:gd name="connsiteX1" fmla="*/ 114903 w 199831"/>
              <a:gd name="connsiteY1" fmla="*/ 1124054 h 1198990"/>
              <a:gd name="connsiteX2" fmla="*/ 114903 w 199831"/>
              <a:gd name="connsiteY2" fmla="*/ 924222 h 1198990"/>
              <a:gd name="connsiteX3" fmla="*/ 74937 w 199831"/>
              <a:gd name="connsiteY3" fmla="*/ 784340 h 1198990"/>
              <a:gd name="connsiteX4" fmla="*/ 74937 w 199831"/>
              <a:gd name="connsiteY4" fmla="*/ 74937 h 1198990"/>
              <a:gd name="connsiteX5" fmla="*/ 174853 w 199831"/>
              <a:gd name="connsiteY5" fmla="*/ 74937 h 1198990"/>
              <a:gd name="connsiteX6" fmla="*/ 184844 w 199831"/>
              <a:gd name="connsiteY6" fmla="*/ 1124054 h 1198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9831" h="1198990">
                <a:moveTo>
                  <a:pt x="184844" y="1124054"/>
                </a:moveTo>
                <a:lnTo>
                  <a:pt x="114903" y="1124054"/>
                </a:lnTo>
                <a:lnTo>
                  <a:pt x="114903" y="924222"/>
                </a:lnTo>
                <a:cubicBezTo>
                  <a:pt x="114903" y="924222"/>
                  <a:pt x="84929" y="844289"/>
                  <a:pt x="74937" y="784340"/>
                </a:cubicBezTo>
                <a:cubicBezTo>
                  <a:pt x="74937" y="724390"/>
                  <a:pt x="74937" y="724390"/>
                  <a:pt x="74937" y="74937"/>
                </a:cubicBezTo>
                <a:cubicBezTo>
                  <a:pt x="74937" y="74937"/>
                  <a:pt x="124895" y="74937"/>
                  <a:pt x="174853" y="74937"/>
                </a:cubicBezTo>
                <a:cubicBezTo>
                  <a:pt x="174853" y="694415"/>
                  <a:pt x="184844" y="1124054"/>
                  <a:pt x="184844" y="1124054"/>
                </a:cubicBezTo>
                <a:close/>
              </a:path>
            </a:pathLst>
          </a:custGeom>
          <a:solidFill>
            <a:schemeClr val="accent6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9887" name="任意多边形: 形状 9886">
            <a:extLst>
              <a:ext uri="{FF2B5EF4-FFF2-40B4-BE49-F238E27FC236}">
                <a16:creationId xmlns:a16="http://schemas.microsoft.com/office/drawing/2014/main" id="{D13C3CA5-0F38-4474-8974-ED17CB126485}"/>
              </a:ext>
            </a:extLst>
          </p:cNvPr>
          <p:cNvSpPr/>
          <p:nvPr userDrawn="1"/>
        </p:nvSpPr>
        <p:spPr>
          <a:xfrm>
            <a:off x="2782367" y="5333564"/>
            <a:ext cx="194670" cy="1168022"/>
          </a:xfrm>
          <a:custGeom>
            <a:avLst/>
            <a:gdLst>
              <a:gd name="connsiteX0" fmla="*/ 74937 w 199831"/>
              <a:gd name="connsiteY0" fmla="*/ 74937 h 1198990"/>
              <a:gd name="connsiteX1" fmla="*/ 174853 w 199831"/>
              <a:gd name="connsiteY1" fmla="*/ 74937 h 1198990"/>
              <a:gd name="connsiteX2" fmla="*/ 184844 w 199831"/>
              <a:gd name="connsiteY2" fmla="*/ 804323 h 1198990"/>
              <a:gd name="connsiteX3" fmla="*/ 164861 w 199831"/>
              <a:gd name="connsiteY3" fmla="*/ 914230 h 1198990"/>
              <a:gd name="connsiteX4" fmla="*/ 164861 w 199831"/>
              <a:gd name="connsiteY4" fmla="*/ 1124054 h 1198990"/>
              <a:gd name="connsiteX5" fmla="*/ 94920 w 199831"/>
              <a:gd name="connsiteY5" fmla="*/ 1134045 h 1198990"/>
              <a:gd name="connsiteX6" fmla="*/ 74937 w 199831"/>
              <a:gd name="connsiteY6" fmla="*/ 74937 h 1198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9831" h="1198990">
                <a:moveTo>
                  <a:pt x="74937" y="74937"/>
                </a:moveTo>
                <a:lnTo>
                  <a:pt x="174853" y="74937"/>
                </a:lnTo>
                <a:cubicBezTo>
                  <a:pt x="174853" y="74937"/>
                  <a:pt x="184844" y="764356"/>
                  <a:pt x="184844" y="804323"/>
                </a:cubicBezTo>
                <a:cubicBezTo>
                  <a:pt x="184844" y="844289"/>
                  <a:pt x="164861" y="894247"/>
                  <a:pt x="164861" y="914230"/>
                </a:cubicBezTo>
                <a:cubicBezTo>
                  <a:pt x="164861" y="944205"/>
                  <a:pt x="164861" y="1124054"/>
                  <a:pt x="164861" y="1124054"/>
                </a:cubicBezTo>
                <a:lnTo>
                  <a:pt x="94920" y="1134045"/>
                </a:lnTo>
                <a:lnTo>
                  <a:pt x="74937" y="74937"/>
                </a:lnTo>
                <a:close/>
              </a:path>
            </a:pathLst>
          </a:custGeom>
          <a:solidFill>
            <a:srgbClr val="00679A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9888" name="任意多边形: 形状 9887">
            <a:extLst>
              <a:ext uri="{FF2B5EF4-FFF2-40B4-BE49-F238E27FC236}">
                <a16:creationId xmlns:a16="http://schemas.microsoft.com/office/drawing/2014/main" id="{267C477F-A209-478D-8414-F635D2A7056B}"/>
              </a:ext>
            </a:extLst>
          </p:cNvPr>
          <p:cNvSpPr/>
          <p:nvPr userDrawn="1"/>
        </p:nvSpPr>
        <p:spPr>
          <a:xfrm>
            <a:off x="2665564" y="5314097"/>
            <a:ext cx="389340" cy="194670"/>
          </a:xfrm>
          <a:custGeom>
            <a:avLst/>
            <a:gdLst>
              <a:gd name="connsiteX0" fmla="*/ 324727 w 399663"/>
              <a:gd name="connsiteY0" fmla="*/ 74937 h 199831"/>
              <a:gd name="connsiteX1" fmla="*/ 74937 w 399663"/>
              <a:gd name="connsiteY1" fmla="*/ 74937 h 199831"/>
              <a:gd name="connsiteX2" fmla="*/ 74937 w 399663"/>
              <a:gd name="connsiteY2" fmla="*/ 84928 h 199831"/>
              <a:gd name="connsiteX3" fmla="*/ 74937 w 399663"/>
              <a:gd name="connsiteY3" fmla="*/ 94920 h 199831"/>
              <a:gd name="connsiteX4" fmla="*/ 84928 w 399663"/>
              <a:gd name="connsiteY4" fmla="*/ 94920 h 199831"/>
              <a:gd name="connsiteX5" fmla="*/ 84928 w 399663"/>
              <a:gd name="connsiteY5" fmla="*/ 114903 h 199831"/>
              <a:gd name="connsiteX6" fmla="*/ 74937 w 399663"/>
              <a:gd name="connsiteY6" fmla="*/ 114903 h 199831"/>
              <a:gd name="connsiteX7" fmla="*/ 74937 w 399663"/>
              <a:gd name="connsiteY7" fmla="*/ 114903 h 199831"/>
              <a:gd name="connsiteX8" fmla="*/ 74937 w 399663"/>
              <a:gd name="connsiteY8" fmla="*/ 124895 h 199831"/>
              <a:gd name="connsiteX9" fmla="*/ 84928 w 399663"/>
              <a:gd name="connsiteY9" fmla="*/ 124895 h 199831"/>
              <a:gd name="connsiteX10" fmla="*/ 84928 w 399663"/>
              <a:gd name="connsiteY10" fmla="*/ 144878 h 199831"/>
              <a:gd name="connsiteX11" fmla="*/ 74937 w 399663"/>
              <a:gd name="connsiteY11" fmla="*/ 144878 h 199831"/>
              <a:gd name="connsiteX12" fmla="*/ 74937 w 399663"/>
              <a:gd name="connsiteY12" fmla="*/ 144878 h 199831"/>
              <a:gd name="connsiteX13" fmla="*/ 74937 w 399663"/>
              <a:gd name="connsiteY13" fmla="*/ 144878 h 199831"/>
              <a:gd name="connsiteX14" fmla="*/ 324727 w 399663"/>
              <a:gd name="connsiteY14" fmla="*/ 144878 h 199831"/>
              <a:gd name="connsiteX15" fmla="*/ 324727 w 399663"/>
              <a:gd name="connsiteY15" fmla="*/ 144878 h 199831"/>
              <a:gd name="connsiteX16" fmla="*/ 324727 w 399663"/>
              <a:gd name="connsiteY16" fmla="*/ 144878 h 199831"/>
              <a:gd name="connsiteX17" fmla="*/ 314735 w 399663"/>
              <a:gd name="connsiteY17" fmla="*/ 144878 h 199831"/>
              <a:gd name="connsiteX18" fmla="*/ 314735 w 399663"/>
              <a:gd name="connsiteY18" fmla="*/ 124895 h 199831"/>
              <a:gd name="connsiteX19" fmla="*/ 324727 w 399663"/>
              <a:gd name="connsiteY19" fmla="*/ 124895 h 199831"/>
              <a:gd name="connsiteX20" fmla="*/ 324727 w 399663"/>
              <a:gd name="connsiteY20" fmla="*/ 124895 h 199831"/>
              <a:gd name="connsiteX21" fmla="*/ 324727 w 399663"/>
              <a:gd name="connsiteY21" fmla="*/ 124895 h 199831"/>
              <a:gd name="connsiteX22" fmla="*/ 314735 w 399663"/>
              <a:gd name="connsiteY22" fmla="*/ 124895 h 199831"/>
              <a:gd name="connsiteX23" fmla="*/ 314735 w 399663"/>
              <a:gd name="connsiteY23" fmla="*/ 104912 h 199831"/>
              <a:gd name="connsiteX24" fmla="*/ 324727 w 399663"/>
              <a:gd name="connsiteY24" fmla="*/ 104912 h 199831"/>
              <a:gd name="connsiteX25" fmla="*/ 324727 w 399663"/>
              <a:gd name="connsiteY25" fmla="*/ 74937 h 199831"/>
              <a:gd name="connsiteX26" fmla="*/ 324727 w 399663"/>
              <a:gd name="connsiteY26" fmla="*/ 74937 h 1998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399663" h="199831">
                <a:moveTo>
                  <a:pt x="324727" y="74937"/>
                </a:moveTo>
                <a:lnTo>
                  <a:pt x="74937" y="74937"/>
                </a:lnTo>
                <a:cubicBezTo>
                  <a:pt x="74937" y="74937"/>
                  <a:pt x="74937" y="74937"/>
                  <a:pt x="74937" y="84928"/>
                </a:cubicBezTo>
                <a:cubicBezTo>
                  <a:pt x="74937" y="84928"/>
                  <a:pt x="74937" y="94920"/>
                  <a:pt x="74937" y="94920"/>
                </a:cubicBezTo>
                <a:lnTo>
                  <a:pt x="84928" y="94920"/>
                </a:lnTo>
                <a:lnTo>
                  <a:pt x="84928" y="114903"/>
                </a:lnTo>
                <a:lnTo>
                  <a:pt x="74937" y="114903"/>
                </a:lnTo>
                <a:cubicBezTo>
                  <a:pt x="74937" y="114903"/>
                  <a:pt x="74937" y="114903"/>
                  <a:pt x="74937" y="114903"/>
                </a:cubicBezTo>
                <a:cubicBezTo>
                  <a:pt x="74937" y="114903"/>
                  <a:pt x="74937" y="124895"/>
                  <a:pt x="74937" y="124895"/>
                </a:cubicBezTo>
                <a:lnTo>
                  <a:pt x="84928" y="124895"/>
                </a:lnTo>
                <a:lnTo>
                  <a:pt x="84928" y="144878"/>
                </a:lnTo>
                <a:lnTo>
                  <a:pt x="74937" y="144878"/>
                </a:lnTo>
                <a:cubicBezTo>
                  <a:pt x="74937" y="144878"/>
                  <a:pt x="74937" y="144878"/>
                  <a:pt x="74937" y="144878"/>
                </a:cubicBezTo>
                <a:cubicBezTo>
                  <a:pt x="74937" y="144878"/>
                  <a:pt x="74937" y="144878"/>
                  <a:pt x="74937" y="144878"/>
                </a:cubicBezTo>
                <a:lnTo>
                  <a:pt x="324727" y="144878"/>
                </a:lnTo>
                <a:cubicBezTo>
                  <a:pt x="324727" y="144878"/>
                  <a:pt x="324727" y="144878"/>
                  <a:pt x="324727" y="144878"/>
                </a:cubicBezTo>
                <a:cubicBezTo>
                  <a:pt x="324727" y="144878"/>
                  <a:pt x="324727" y="144878"/>
                  <a:pt x="324727" y="144878"/>
                </a:cubicBezTo>
                <a:lnTo>
                  <a:pt x="314735" y="144878"/>
                </a:lnTo>
                <a:lnTo>
                  <a:pt x="314735" y="124895"/>
                </a:lnTo>
                <a:lnTo>
                  <a:pt x="324727" y="124895"/>
                </a:lnTo>
                <a:cubicBezTo>
                  <a:pt x="324727" y="124895"/>
                  <a:pt x="324727" y="124895"/>
                  <a:pt x="324727" y="124895"/>
                </a:cubicBezTo>
                <a:cubicBezTo>
                  <a:pt x="324727" y="124895"/>
                  <a:pt x="324727" y="124895"/>
                  <a:pt x="324727" y="124895"/>
                </a:cubicBezTo>
                <a:lnTo>
                  <a:pt x="314735" y="124895"/>
                </a:lnTo>
                <a:lnTo>
                  <a:pt x="314735" y="104912"/>
                </a:lnTo>
                <a:lnTo>
                  <a:pt x="324727" y="104912"/>
                </a:lnTo>
                <a:cubicBezTo>
                  <a:pt x="324727" y="84928"/>
                  <a:pt x="334718" y="84928"/>
                  <a:pt x="324727" y="74937"/>
                </a:cubicBezTo>
                <a:cubicBezTo>
                  <a:pt x="334718" y="74937"/>
                  <a:pt x="324727" y="74937"/>
                  <a:pt x="324727" y="74937"/>
                </a:cubicBezTo>
                <a:close/>
              </a:path>
            </a:pathLst>
          </a:custGeom>
          <a:solidFill>
            <a:srgbClr val="00679A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9889" name="任意多边形: 形状 9888">
            <a:extLst>
              <a:ext uri="{FF2B5EF4-FFF2-40B4-BE49-F238E27FC236}">
                <a16:creationId xmlns:a16="http://schemas.microsoft.com/office/drawing/2014/main" id="{10751215-44F5-4684-800B-BC466C33D665}"/>
              </a:ext>
            </a:extLst>
          </p:cNvPr>
          <p:cNvSpPr/>
          <p:nvPr userDrawn="1"/>
        </p:nvSpPr>
        <p:spPr>
          <a:xfrm>
            <a:off x="2636364" y="4778753"/>
            <a:ext cx="389340" cy="1265356"/>
          </a:xfrm>
          <a:custGeom>
            <a:avLst/>
            <a:gdLst>
              <a:gd name="connsiteX0" fmla="*/ 74937 w 399663"/>
              <a:gd name="connsiteY0" fmla="*/ 1303902 h 1298906"/>
              <a:gd name="connsiteX1" fmla="*/ 74937 w 399663"/>
              <a:gd name="connsiteY1" fmla="*/ 84929 h 1298906"/>
              <a:gd name="connsiteX2" fmla="*/ 84928 w 399663"/>
              <a:gd name="connsiteY2" fmla="*/ 74937 h 1298906"/>
              <a:gd name="connsiteX3" fmla="*/ 84928 w 399663"/>
              <a:gd name="connsiteY3" fmla="*/ 74937 h 1298906"/>
              <a:gd name="connsiteX4" fmla="*/ 384676 w 399663"/>
              <a:gd name="connsiteY4" fmla="*/ 74937 h 1298906"/>
              <a:gd name="connsiteX5" fmla="*/ 394668 w 399663"/>
              <a:gd name="connsiteY5" fmla="*/ 74937 h 1298906"/>
              <a:gd name="connsiteX6" fmla="*/ 394668 w 399663"/>
              <a:gd name="connsiteY6" fmla="*/ 74937 h 1298906"/>
              <a:gd name="connsiteX7" fmla="*/ 394668 w 399663"/>
              <a:gd name="connsiteY7" fmla="*/ 84929 h 1298906"/>
              <a:gd name="connsiteX8" fmla="*/ 394668 w 399663"/>
              <a:gd name="connsiteY8" fmla="*/ 84929 h 1298906"/>
              <a:gd name="connsiteX9" fmla="*/ 394668 w 399663"/>
              <a:gd name="connsiteY9" fmla="*/ 1293911 h 1298906"/>
              <a:gd name="connsiteX10" fmla="*/ 394668 w 399663"/>
              <a:gd name="connsiteY10" fmla="*/ 1303902 h 1298906"/>
              <a:gd name="connsiteX11" fmla="*/ 394668 w 399663"/>
              <a:gd name="connsiteY11" fmla="*/ 1303902 h 1298906"/>
              <a:gd name="connsiteX12" fmla="*/ 334718 w 399663"/>
              <a:gd name="connsiteY12" fmla="*/ 1313894 h 1298906"/>
              <a:gd name="connsiteX13" fmla="*/ 334718 w 399663"/>
              <a:gd name="connsiteY13" fmla="*/ 1313894 h 1298906"/>
              <a:gd name="connsiteX14" fmla="*/ 234802 w 399663"/>
              <a:gd name="connsiteY14" fmla="*/ 1313894 h 1298906"/>
              <a:gd name="connsiteX15" fmla="*/ 234802 w 399663"/>
              <a:gd name="connsiteY15" fmla="*/ 1313894 h 1298906"/>
              <a:gd name="connsiteX16" fmla="*/ 134886 w 399663"/>
              <a:gd name="connsiteY16" fmla="*/ 1313894 h 1298906"/>
              <a:gd name="connsiteX17" fmla="*/ 134886 w 399663"/>
              <a:gd name="connsiteY17" fmla="*/ 1313894 h 1298906"/>
              <a:gd name="connsiteX18" fmla="*/ 74937 w 399663"/>
              <a:gd name="connsiteY18" fmla="*/ 1303902 h 1298906"/>
              <a:gd name="connsiteX19" fmla="*/ 74937 w 399663"/>
              <a:gd name="connsiteY19" fmla="*/ 1303902 h 1298906"/>
              <a:gd name="connsiteX20" fmla="*/ 74937 w 399663"/>
              <a:gd name="connsiteY20" fmla="*/ 1303902 h 1298906"/>
              <a:gd name="connsiteX21" fmla="*/ 74937 w 399663"/>
              <a:gd name="connsiteY21" fmla="*/ 1303902 h 1298906"/>
              <a:gd name="connsiteX22" fmla="*/ 74937 w 399663"/>
              <a:gd name="connsiteY22" fmla="*/ 1303902 h 1298906"/>
              <a:gd name="connsiteX23" fmla="*/ 74937 w 399663"/>
              <a:gd name="connsiteY23" fmla="*/ 1303902 h 1298906"/>
              <a:gd name="connsiteX24" fmla="*/ 94920 w 399663"/>
              <a:gd name="connsiteY24" fmla="*/ 1293911 h 1298906"/>
              <a:gd name="connsiteX25" fmla="*/ 134886 w 399663"/>
              <a:gd name="connsiteY25" fmla="*/ 1303902 h 1298906"/>
              <a:gd name="connsiteX26" fmla="*/ 134886 w 399663"/>
              <a:gd name="connsiteY26" fmla="*/ 1303902 h 1298906"/>
              <a:gd name="connsiteX27" fmla="*/ 234802 w 399663"/>
              <a:gd name="connsiteY27" fmla="*/ 1303902 h 1298906"/>
              <a:gd name="connsiteX28" fmla="*/ 234802 w 399663"/>
              <a:gd name="connsiteY28" fmla="*/ 1303902 h 1298906"/>
              <a:gd name="connsiteX29" fmla="*/ 324727 w 399663"/>
              <a:gd name="connsiteY29" fmla="*/ 1303902 h 1298906"/>
              <a:gd name="connsiteX30" fmla="*/ 324727 w 399663"/>
              <a:gd name="connsiteY30" fmla="*/ 1303902 h 1298906"/>
              <a:gd name="connsiteX31" fmla="*/ 364693 w 399663"/>
              <a:gd name="connsiteY31" fmla="*/ 1293911 h 1298906"/>
              <a:gd name="connsiteX32" fmla="*/ 364693 w 399663"/>
              <a:gd name="connsiteY32" fmla="*/ 1293911 h 1298906"/>
              <a:gd name="connsiteX33" fmla="*/ 374685 w 399663"/>
              <a:gd name="connsiteY33" fmla="*/ 1293911 h 1298906"/>
              <a:gd name="connsiteX34" fmla="*/ 374685 w 399663"/>
              <a:gd name="connsiteY34" fmla="*/ 1293911 h 1298906"/>
              <a:gd name="connsiteX35" fmla="*/ 374685 w 399663"/>
              <a:gd name="connsiteY35" fmla="*/ 94920 h 1298906"/>
              <a:gd name="connsiteX36" fmla="*/ 94920 w 399663"/>
              <a:gd name="connsiteY36" fmla="*/ 94920 h 1298906"/>
              <a:gd name="connsiteX37" fmla="*/ 94920 w 399663"/>
              <a:gd name="connsiteY37" fmla="*/ 1293911 h 1298906"/>
              <a:gd name="connsiteX38" fmla="*/ 94920 w 399663"/>
              <a:gd name="connsiteY38" fmla="*/ 1293911 h 12989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</a:cxnLst>
            <a:rect l="l" t="t" r="r" b="b"/>
            <a:pathLst>
              <a:path w="399663" h="1298906">
                <a:moveTo>
                  <a:pt x="74937" y="1303902"/>
                </a:moveTo>
                <a:lnTo>
                  <a:pt x="74937" y="84929"/>
                </a:lnTo>
                <a:cubicBezTo>
                  <a:pt x="74937" y="84929"/>
                  <a:pt x="74937" y="74937"/>
                  <a:pt x="84928" y="74937"/>
                </a:cubicBezTo>
                <a:lnTo>
                  <a:pt x="84928" y="74937"/>
                </a:lnTo>
                <a:lnTo>
                  <a:pt x="384676" y="74937"/>
                </a:lnTo>
                <a:cubicBezTo>
                  <a:pt x="384676" y="74937"/>
                  <a:pt x="384676" y="74937"/>
                  <a:pt x="394668" y="74937"/>
                </a:cubicBezTo>
                <a:lnTo>
                  <a:pt x="394668" y="74937"/>
                </a:lnTo>
                <a:cubicBezTo>
                  <a:pt x="394668" y="74937"/>
                  <a:pt x="394668" y="74937"/>
                  <a:pt x="394668" y="84929"/>
                </a:cubicBezTo>
                <a:lnTo>
                  <a:pt x="394668" y="84929"/>
                </a:lnTo>
                <a:lnTo>
                  <a:pt x="394668" y="1293911"/>
                </a:lnTo>
                <a:cubicBezTo>
                  <a:pt x="394668" y="1293911"/>
                  <a:pt x="394668" y="1303902"/>
                  <a:pt x="394668" y="1303902"/>
                </a:cubicBezTo>
                <a:lnTo>
                  <a:pt x="394668" y="1303902"/>
                </a:lnTo>
                <a:cubicBezTo>
                  <a:pt x="394668" y="1303902"/>
                  <a:pt x="374685" y="1313894"/>
                  <a:pt x="334718" y="1313894"/>
                </a:cubicBezTo>
                <a:lnTo>
                  <a:pt x="334718" y="1313894"/>
                </a:lnTo>
                <a:cubicBezTo>
                  <a:pt x="314735" y="1313894"/>
                  <a:pt x="274769" y="1313894"/>
                  <a:pt x="234802" y="1313894"/>
                </a:cubicBezTo>
                <a:lnTo>
                  <a:pt x="234802" y="1313894"/>
                </a:lnTo>
                <a:cubicBezTo>
                  <a:pt x="194836" y="1313894"/>
                  <a:pt x="154870" y="1313894"/>
                  <a:pt x="134886" y="1313894"/>
                </a:cubicBezTo>
                <a:lnTo>
                  <a:pt x="134886" y="1313894"/>
                </a:lnTo>
                <a:cubicBezTo>
                  <a:pt x="94920" y="1313894"/>
                  <a:pt x="84928" y="1313894"/>
                  <a:pt x="74937" y="1303902"/>
                </a:cubicBezTo>
                <a:lnTo>
                  <a:pt x="74937" y="1303902"/>
                </a:lnTo>
                <a:cubicBezTo>
                  <a:pt x="74937" y="1313894"/>
                  <a:pt x="74937" y="1313894"/>
                  <a:pt x="74937" y="1303902"/>
                </a:cubicBezTo>
                <a:lnTo>
                  <a:pt x="74937" y="1303902"/>
                </a:lnTo>
                <a:cubicBezTo>
                  <a:pt x="74937" y="1303902"/>
                  <a:pt x="74937" y="1303902"/>
                  <a:pt x="74937" y="1303902"/>
                </a:cubicBezTo>
                <a:lnTo>
                  <a:pt x="74937" y="1303902"/>
                </a:lnTo>
                <a:close/>
                <a:moveTo>
                  <a:pt x="94920" y="1293911"/>
                </a:moveTo>
                <a:cubicBezTo>
                  <a:pt x="104912" y="1293911"/>
                  <a:pt x="114903" y="1293911"/>
                  <a:pt x="134886" y="1303902"/>
                </a:cubicBezTo>
                <a:lnTo>
                  <a:pt x="134886" y="1303902"/>
                </a:lnTo>
                <a:cubicBezTo>
                  <a:pt x="154870" y="1303902"/>
                  <a:pt x="194836" y="1313894"/>
                  <a:pt x="234802" y="1303902"/>
                </a:cubicBezTo>
                <a:lnTo>
                  <a:pt x="234802" y="1303902"/>
                </a:lnTo>
                <a:cubicBezTo>
                  <a:pt x="274769" y="1303902"/>
                  <a:pt x="304743" y="1303902"/>
                  <a:pt x="324727" y="1303902"/>
                </a:cubicBezTo>
                <a:lnTo>
                  <a:pt x="324727" y="1303902"/>
                </a:lnTo>
                <a:cubicBezTo>
                  <a:pt x="344710" y="1303902"/>
                  <a:pt x="354701" y="1303902"/>
                  <a:pt x="364693" y="1293911"/>
                </a:cubicBezTo>
                <a:lnTo>
                  <a:pt x="364693" y="1293911"/>
                </a:lnTo>
                <a:cubicBezTo>
                  <a:pt x="364693" y="1293911"/>
                  <a:pt x="364693" y="1293911"/>
                  <a:pt x="374685" y="1293911"/>
                </a:cubicBezTo>
                <a:lnTo>
                  <a:pt x="374685" y="1293911"/>
                </a:lnTo>
                <a:lnTo>
                  <a:pt x="374685" y="94920"/>
                </a:lnTo>
                <a:lnTo>
                  <a:pt x="94920" y="94920"/>
                </a:lnTo>
                <a:lnTo>
                  <a:pt x="94920" y="1293911"/>
                </a:lnTo>
                <a:lnTo>
                  <a:pt x="94920" y="1293911"/>
                </a:lnTo>
                <a:close/>
              </a:path>
            </a:pathLst>
          </a:custGeom>
          <a:solidFill>
            <a:srgbClr val="00679A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9890" name="任意多边形: 形状 9889">
            <a:extLst>
              <a:ext uri="{FF2B5EF4-FFF2-40B4-BE49-F238E27FC236}">
                <a16:creationId xmlns:a16="http://schemas.microsoft.com/office/drawing/2014/main" id="{A8F440A6-ADB7-4EC0-B155-66AF8AECE592}"/>
              </a:ext>
            </a:extLst>
          </p:cNvPr>
          <p:cNvSpPr/>
          <p:nvPr userDrawn="1"/>
        </p:nvSpPr>
        <p:spPr>
          <a:xfrm>
            <a:off x="2626629" y="4652218"/>
            <a:ext cx="389340" cy="778681"/>
          </a:xfrm>
          <a:custGeom>
            <a:avLst/>
            <a:gdLst>
              <a:gd name="connsiteX0" fmla="*/ 84929 w 399663"/>
              <a:gd name="connsiteY0" fmla="*/ 214819 h 799327"/>
              <a:gd name="connsiteX1" fmla="*/ 84929 w 399663"/>
              <a:gd name="connsiteY1" fmla="*/ 214819 h 799327"/>
              <a:gd name="connsiteX2" fmla="*/ 84929 w 399663"/>
              <a:gd name="connsiteY2" fmla="*/ 214819 h 799327"/>
              <a:gd name="connsiteX3" fmla="*/ 84929 w 399663"/>
              <a:gd name="connsiteY3" fmla="*/ 204828 h 799327"/>
              <a:gd name="connsiteX4" fmla="*/ 84929 w 399663"/>
              <a:gd name="connsiteY4" fmla="*/ 204828 h 799327"/>
              <a:gd name="connsiteX5" fmla="*/ 104912 w 399663"/>
              <a:gd name="connsiteY5" fmla="*/ 194836 h 799327"/>
              <a:gd name="connsiteX6" fmla="*/ 104912 w 399663"/>
              <a:gd name="connsiteY6" fmla="*/ 194836 h 799327"/>
              <a:gd name="connsiteX7" fmla="*/ 174853 w 399663"/>
              <a:gd name="connsiteY7" fmla="*/ 174853 h 799327"/>
              <a:gd name="connsiteX8" fmla="*/ 174853 w 399663"/>
              <a:gd name="connsiteY8" fmla="*/ 174853 h 799327"/>
              <a:gd name="connsiteX9" fmla="*/ 184844 w 399663"/>
              <a:gd name="connsiteY9" fmla="*/ 174853 h 799327"/>
              <a:gd name="connsiteX10" fmla="*/ 184844 w 399663"/>
              <a:gd name="connsiteY10" fmla="*/ 174853 h 799327"/>
              <a:gd name="connsiteX11" fmla="*/ 184844 w 399663"/>
              <a:gd name="connsiteY11" fmla="*/ 84929 h 799327"/>
              <a:gd name="connsiteX12" fmla="*/ 184844 w 399663"/>
              <a:gd name="connsiteY12" fmla="*/ 84929 h 799327"/>
              <a:gd name="connsiteX13" fmla="*/ 184844 w 399663"/>
              <a:gd name="connsiteY13" fmla="*/ 74937 h 799327"/>
              <a:gd name="connsiteX14" fmla="*/ 284760 w 399663"/>
              <a:gd name="connsiteY14" fmla="*/ 74937 h 799327"/>
              <a:gd name="connsiteX15" fmla="*/ 284760 w 399663"/>
              <a:gd name="connsiteY15" fmla="*/ 84929 h 799327"/>
              <a:gd name="connsiteX16" fmla="*/ 284760 w 399663"/>
              <a:gd name="connsiteY16" fmla="*/ 164861 h 799327"/>
              <a:gd name="connsiteX17" fmla="*/ 284760 w 399663"/>
              <a:gd name="connsiteY17" fmla="*/ 164861 h 799327"/>
              <a:gd name="connsiteX18" fmla="*/ 284760 w 399663"/>
              <a:gd name="connsiteY18" fmla="*/ 164861 h 799327"/>
              <a:gd name="connsiteX19" fmla="*/ 284760 w 399663"/>
              <a:gd name="connsiteY19" fmla="*/ 164861 h 799327"/>
              <a:gd name="connsiteX20" fmla="*/ 294752 w 399663"/>
              <a:gd name="connsiteY20" fmla="*/ 164861 h 799327"/>
              <a:gd name="connsiteX21" fmla="*/ 294752 w 399663"/>
              <a:gd name="connsiteY21" fmla="*/ 164861 h 799327"/>
              <a:gd name="connsiteX22" fmla="*/ 324727 w 399663"/>
              <a:gd name="connsiteY22" fmla="*/ 174853 h 799327"/>
              <a:gd name="connsiteX23" fmla="*/ 324727 w 399663"/>
              <a:gd name="connsiteY23" fmla="*/ 174853 h 799327"/>
              <a:gd name="connsiteX24" fmla="*/ 384676 w 399663"/>
              <a:gd name="connsiteY24" fmla="*/ 194836 h 799327"/>
              <a:gd name="connsiteX25" fmla="*/ 384676 w 399663"/>
              <a:gd name="connsiteY25" fmla="*/ 194836 h 799327"/>
              <a:gd name="connsiteX26" fmla="*/ 384676 w 399663"/>
              <a:gd name="connsiteY26" fmla="*/ 204828 h 799327"/>
              <a:gd name="connsiteX27" fmla="*/ 384676 w 399663"/>
              <a:gd name="connsiteY27" fmla="*/ 204828 h 799327"/>
              <a:gd name="connsiteX28" fmla="*/ 384676 w 399663"/>
              <a:gd name="connsiteY28" fmla="*/ 204828 h 799327"/>
              <a:gd name="connsiteX29" fmla="*/ 384676 w 399663"/>
              <a:gd name="connsiteY29" fmla="*/ 744373 h 799327"/>
              <a:gd name="connsiteX30" fmla="*/ 374685 w 399663"/>
              <a:gd name="connsiteY30" fmla="*/ 744373 h 799327"/>
              <a:gd name="connsiteX31" fmla="*/ 384676 w 399663"/>
              <a:gd name="connsiteY31" fmla="*/ 744373 h 799327"/>
              <a:gd name="connsiteX32" fmla="*/ 384676 w 399663"/>
              <a:gd name="connsiteY32" fmla="*/ 754365 h 799327"/>
              <a:gd name="connsiteX33" fmla="*/ 74937 w 399663"/>
              <a:gd name="connsiteY33" fmla="*/ 754365 h 799327"/>
              <a:gd name="connsiteX34" fmla="*/ 84929 w 399663"/>
              <a:gd name="connsiteY34" fmla="*/ 214819 h 799327"/>
              <a:gd name="connsiteX35" fmla="*/ 84929 w 399663"/>
              <a:gd name="connsiteY35" fmla="*/ 214819 h 799327"/>
              <a:gd name="connsiteX36" fmla="*/ 104912 w 399663"/>
              <a:gd name="connsiteY36" fmla="*/ 744373 h 799327"/>
              <a:gd name="connsiteX37" fmla="*/ 384676 w 399663"/>
              <a:gd name="connsiteY37" fmla="*/ 744373 h 799327"/>
              <a:gd name="connsiteX38" fmla="*/ 384676 w 399663"/>
              <a:gd name="connsiteY38" fmla="*/ 214819 h 799327"/>
              <a:gd name="connsiteX39" fmla="*/ 384676 w 399663"/>
              <a:gd name="connsiteY39" fmla="*/ 214819 h 799327"/>
              <a:gd name="connsiteX40" fmla="*/ 334718 w 399663"/>
              <a:gd name="connsiteY40" fmla="*/ 204828 h 799327"/>
              <a:gd name="connsiteX41" fmla="*/ 334718 w 399663"/>
              <a:gd name="connsiteY41" fmla="*/ 204828 h 799327"/>
              <a:gd name="connsiteX42" fmla="*/ 284760 w 399663"/>
              <a:gd name="connsiteY42" fmla="*/ 184844 h 799327"/>
              <a:gd name="connsiteX43" fmla="*/ 284760 w 399663"/>
              <a:gd name="connsiteY43" fmla="*/ 184844 h 799327"/>
              <a:gd name="connsiteX44" fmla="*/ 284760 w 399663"/>
              <a:gd name="connsiteY44" fmla="*/ 184844 h 799327"/>
              <a:gd name="connsiteX45" fmla="*/ 284760 w 399663"/>
              <a:gd name="connsiteY45" fmla="*/ 184844 h 799327"/>
              <a:gd name="connsiteX46" fmla="*/ 284760 w 399663"/>
              <a:gd name="connsiteY46" fmla="*/ 174853 h 799327"/>
              <a:gd name="connsiteX47" fmla="*/ 284760 w 399663"/>
              <a:gd name="connsiteY47" fmla="*/ 174853 h 799327"/>
              <a:gd name="connsiteX48" fmla="*/ 284760 w 399663"/>
              <a:gd name="connsiteY48" fmla="*/ 94920 h 799327"/>
              <a:gd name="connsiteX49" fmla="*/ 284760 w 399663"/>
              <a:gd name="connsiteY49" fmla="*/ 94920 h 799327"/>
              <a:gd name="connsiteX50" fmla="*/ 214819 w 399663"/>
              <a:gd name="connsiteY50" fmla="*/ 94920 h 799327"/>
              <a:gd name="connsiteX51" fmla="*/ 214819 w 399663"/>
              <a:gd name="connsiteY51" fmla="*/ 174853 h 799327"/>
              <a:gd name="connsiteX52" fmla="*/ 214819 w 399663"/>
              <a:gd name="connsiteY52" fmla="*/ 174853 h 799327"/>
              <a:gd name="connsiteX53" fmla="*/ 214819 w 399663"/>
              <a:gd name="connsiteY53" fmla="*/ 184844 h 799327"/>
              <a:gd name="connsiteX54" fmla="*/ 214819 w 399663"/>
              <a:gd name="connsiteY54" fmla="*/ 184844 h 799327"/>
              <a:gd name="connsiteX55" fmla="*/ 174853 w 399663"/>
              <a:gd name="connsiteY55" fmla="*/ 194836 h 799327"/>
              <a:gd name="connsiteX56" fmla="*/ 174853 w 399663"/>
              <a:gd name="connsiteY56" fmla="*/ 194836 h 799327"/>
              <a:gd name="connsiteX57" fmla="*/ 124895 w 399663"/>
              <a:gd name="connsiteY57" fmla="*/ 204828 h 799327"/>
              <a:gd name="connsiteX58" fmla="*/ 124895 w 399663"/>
              <a:gd name="connsiteY58" fmla="*/ 204828 h 799327"/>
              <a:gd name="connsiteX59" fmla="*/ 114903 w 399663"/>
              <a:gd name="connsiteY59" fmla="*/ 204828 h 799327"/>
              <a:gd name="connsiteX60" fmla="*/ 114903 w 399663"/>
              <a:gd name="connsiteY60" fmla="*/ 204828 h 799327"/>
              <a:gd name="connsiteX61" fmla="*/ 104912 w 399663"/>
              <a:gd name="connsiteY61" fmla="*/ 744373 h 799327"/>
              <a:gd name="connsiteX62" fmla="*/ 104912 w 399663"/>
              <a:gd name="connsiteY62" fmla="*/ 744373 h 799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</a:cxnLst>
            <a:rect l="l" t="t" r="r" b="b"/>
            <a:pathLst>
              <a:path w="399663" h="799327">
                <a:moveTo>
                  <a:pt x="84929" y="214819"/>
                </a:moveTo>
                <a:lnTo>
                  <a:pt x="84929" y="214819"/>
                </a:lnTo>
                <a:lnTo>
                  <a:pt x="84929" y="214819"/>
                </a:lnTo>
                <a:cubicBezTo>
                  <a:pt x="84929" y="204828"/>
                  <a:pt x="84929" y="204828"/>
                  <a:pt x="84929" y="204828"/>
                </a:cubicBezTo>
                <a:lnTo>
                  <a:pt x="84929" y="204828"/>
                </a:lnTo>
                <a:cubicBezTo>
                  <a:pt x="84929" y="204828"/>
                  <a:pt x="94920" y="194836"/>
                  <a:pt x="104912" y="194836"/>
                </a:cubicBezTo>
                <a:lnTo>
                  <a:pt x="104912" y="194836"/>
                </a:lnTo>
                <a:cubicBezTo>
                  <a:pt x="124895" y="184844"/>
                  <a:pt x="164861" y="184844"/>
                  <a:pt x="174853" y="174853"/>
                </a:cubicBezTo>
                <a:lnTo>
                  <a:pt x="174853" y="174853"/>
                </a:lnTo>
                <a:cubicBezTo>
                  <a:pt x="174853" y="174853"/>
                  <a:pt x="184844" y="174853"/>
                  <a:pt x="184844" y="174853"/>
                </a:cubicBezTo>
                <a:lnTo>
                  <a:pt x="184844" y="174853"/>
                </a:lnTo>
                <a:cubicBezTo>
                  <a:pt x="184844" y="154870"/>
                  <a:pt x="184844" y="84929"/>
                  <a:pt x="184844" y="84929"/>
                </a:cubicBezTo>
                <a:lnTo>
                  <a:pt x="184844" y="84929"/>
                </a:lnTo>
                <a:lnTo>
                  <a:pt x="184844" y="74937"/>
                </a:lnTo>
                <a:lnTo>
                  <a:pt x="284760" y="74937"/>
                </a:lnTo>
                <a:lnTo>
                  <a:pt x="284760" y="84929"/>
                </a:lnTo>
                <a:cubicBezTo>
                  <a:pt x="284760" y="84929"/>
                  <a:pt x="284760" y="154870"/>
                  <a:pt x="284760" y="164861"/>
                </a:cubicBezTo>
                <a:lnTo>
                  <a:pt x="284760" y="164861"/>
                </a:lnTo>
                <a:cubicBezTo>
                  <a:pt x="284760" y="164861"/>
                  <a:pt x="284760" y="164861"/>
                  <a:pt x="284760" y="164861"/>
                </a:cubicBezTo>
                <a:lnTo>
                  <a:pt x="284760" y="164861"/>
                </a:lnTo>
                <a:cubicBezTo>
                  <a:pt x="284760" y="164861"/>
                  <a:pt x="294752" y="164861"/>
                  <a:pt x="294752" y="164861"/>
                </a:cubicBezTo>
                <a:lnTo>
                  <a:pt x="294752" y="164861"/>
                </a:lnTo>
                <a:cubicBezTo>
                  <a:pt x="304743" y="164861"/>
                  <a:pt x="314735" y="164861"/>
                  <a:pt x="324727" y="174853"/>
                </a:cubicBezTo>
                <a:lnTo>
                  <a:pt x="324727" y="174853"/>
                </a:lnTo>
                <a:cubicBezTo>
                  <a:pt x="344710" y="184844"/>
                  <a:pt x="374685" y="184844"/>
                  <a:pt x="384676" y="194836"/>
                </a:cubicBezTo>
                <a:lnTo>
                  <a:pt x="384676" y="194836"/>
                </a:lnTo>
                <a:cubicBezTo>
                  <a:pt x="384676" y="194836"/>
                  <a:pt x="384676" y="194836"/>
                  <a:pt x="384676" y="204828"/>
                </a:cubicBezTo>
                <a:lnTo>
                  <a:pt x="384676" y="204828"/>
                </a:lnTo>
                <a:lnTo>
                  <a:pt x="384676" y="204828"/>
                </a:lnTo>
                <a:lnTo>
                  <a:pt x="384676" y="744373"/>
                </a:lnTo>
                <a:lnTo>
                  <a:pt x="374685" y="744373"/>
                </a:lnTo>
                <a:lnTo>
                  <a:pt x="384676" y="744373"/>
                </a:lnTo>
                <a:lnTo>
                  <a:pt x="384676" y="754365"/>
                </a:lnTo>
                <a:lnTo>
                  <a:pt x="74937" y="754365"/>
                </a:lnTo>
                <a:lnTo>
                  <a:pt x="84929" y="214819"/>
                </a:lnTo>
                <a:lnTo>
                  <a:pt x="84929" y="214819"/>
                </a:lnTo>
                <a:close/>
                <a:moveTo>
                  <a:pt x="104912" y="744373"/>
                </a:moveTo>
                <a:lnTo>
                  <a:pt x="384676" y="744373"/>
                </a:lnTo>
                <a:lnTo>
                  <a:pt x="384676" y="214819"/>
                </a:lnTo>
                <a:lnTo>
                  <a:pt x="384676" y="214819"/>
                </a:lnTo>
                <a:cubicBezTo>
                  <a:pt x="384676" y="214819"/>
                  <a:pt x="354701" y="204828"/>
                  <a:pt x="334718" y="204828"/>
                </a:cubicBezTo>
                <a:lnTo>
                  <a:pt x="334718" y="204828"/>
                </a:lnTo>
                <a:cubicBezTo>
                  <a:pt x="314735" y="194836"/>
                  <a:pt x="294752" y="194836"/>
                  <a:pt x="284760" y="184844"/>
                </a:cubicBezTo>
                <a:lnTo>
                  <a:pt x="284760" y="184844"/>
                </a:lnTo>
                <a:cubicBezTo>
                  <a:pt x="284760" y="184844"/>
                  <a:pt x="284760" y="184844"/>
                  <a:pt x="284760" y="184844"/>
                </a:cubicBezTo>
                <a:lnTo>
                  <a:pt x="284760" y="184844"/>
                </a:lnTo>
                <a:cubicBezTo>
                  <a:pt x="284760" y="184844"/>
                  <a:pt x="284760" y="184844"/>
                  <a:pt x="284760" y="174853"/>
                </a:cubicBezTo>
                <a:lnTo>
                  <a:pt x="284760" y="174853"/>
                </a:lnTo>
                <a:cubicBezTo>
                  <a:pt x="284760" y="164861"/>
                  <a:pt x="284760" y="114903"/>
                  <a:pt x="284760" y="94920"/>
                </a:cubicBezTo>
                <a:lnTo>
                  <a:pt x="284760" y="94920"/>
                </a:lnTo>
                <a:lnTo>
                  <a:pt x="214819" y="94920"/>
                </a:lnTo>
                <a:cubicBezTo>
                  <a:pt x="214819" y="114903"/>
                  <a:pt x="214819" y="174853"/>
                  <a:pt x="214819" y="174853"/>
                </a:cubicBezTo>
                <a:lnTo>
                  <a:pt x="214819" y="174853"/>
                </a:lnTo>
                <a:cubicBezTo>
                  <a:pt x="214819" y="174853"/>
                  <a:pt x="214819" y="184844"/>
                  <a:pt x="214819" y="184844"/>
                </a:cubicBezTo>
                <a:lnTo>
                  <a:pt x="214819" y="184844"/>
                </a:lnTo>
                <a:cubicBezTo>
                  <a:pt x="204828" y="194836"/>
                  <a:pt x="194836" y="194836"/>
                  <a:pt x="174853" y="194836"/>
                </a:cubicBezTo>
                <a:lnTo>
                  <a:pt x="174853" y="194836"/>
                </a:lnTo>
                <a:cubicBezTo>
                  <a:pt x="154870" y="194836"/>
                  <a:pt x="134886" y="204828"/>
                  <a:pt x="124895" y="204828"/>
                </a:cubicBezTo>
                <a:lnTo>
                  <a:pt x="124895" y="204828"/>
                </a:lnTo>
                <a:cubicBezTo>
                  <a:pt x="114903" y="204828"/>
                  <a:pt x="114903" y="204828"/>
                  <a:pt x="114903" y="204828"/>
                </a:cubicBezTo>
                <a:lnTo>
                  <a:pt x="114903" y="204828"/>
                </a:lnTo>
                <a:lnTo>
                  <a:pt x="104912" y="744373"/>
                </a:lnTo>
                <a:lnTo>
                  <a:pt x="104912" y="744373"/>
                </a:lnTo>
                <a:close/>
              </a:path>
            </a:pathLst>
          </a:custGeom>
          <a:solidFill>
            <a:srgbClr val="00679A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9891" name="任意多边形: 形状 9890">
            <a:extLst>
              <a:ext uri="{FF2B5EF4-FFF2-40B4-BE49-F238E27FC236}">
                <a16:creationId xmlns:a16="http://schemas.microsoft.com/office/drawing/2014/main" id="{12BED836-4C38-442B-A953-A929F188B0CF}"/>
              </a:ext>
            </a:extLst>
          </p:cNvPr>
          <p:cNvSpPr/>
          <p:nvPr userDrawn="1"/>
        </p:nvSpPr>
        <p:spPr>
          <a:xfrm>
            <a:off x="2782367" y="3931938"/>
            <a:ext cx="97335" cy="584011"/>
          </a:xfrm>
          <a:custGeom>
            <a:avLst/>
            <a:gdLst>
              <a:gd name="connsiteX0" fmla="*/ 94920 w 99915"/>
              <a:gd name="connsiteY0" fmla="*/ 604491 h 599495"/>
              <a:gd name="connsiteX1" fmla="*/ 74937 w 99915"/>
              <a:gd name="connsiteY1" fmla="*/ 604491 h 599495"/>
              <a:gd name="connsiteX2" fmla="*/ 74937 w 99915"/>
              <a:gd name="connsiteY2" fmla="*/ 74937 h 599495"/>
              <a:gd name="connsiteX3" fmla="*/ 94920 w 99915"/>
              <a:gd name="connsiteY3" fmla="*/ 124895 h 5994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9915" h="599495">
                <a:moveTo>
                  <a:pt x="94920" y="604491"/>
                </a:moveTo>
                <a:lnTo>
                  <a:pt x="74937" y="604491"/>
                </a:lnTo>
                <a:lnTo>
                  <a:pt x="74937" y="74937"/>
                </a:lnTo>
                <a:lnTo>
                  <a:pt x="94920" y="124895"/>
                </a:lnTo>
                <a:close/>
              </a:path>
            </a:pathLst>
          </a:custGeom>
          <a:solidFill>
            <a:srgbClr val="00679A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9892" name="任意多边形: 形状 9891">
            <a:extLst>
              <a:ext uri="{FF2B5EF4-FFF2-40B4-BE49-F238E27FC236}">
                <a16:creationId xmlns:a16="http://schemas.microsoft.com/office/drawing/2014/main" id="{5BD0C13F-09CF-41BE-9B6A-3DDF88D43EDD}"/>
              </a:ext>
            </a:extLst>
          </p:cNvPr>
          <p:cNvSpPr/>
          <p:nvPr userDrawn="1"/>
        </p:nvSpPr>
        <p:spPr>
          <a:xfrm>
            <a:off x="2723964" y="4447813"/>
            <a:ext cx="194670" cy="389341"/>
          </a:xfrm>
          <a:custGeom>
            <a:avLst/>
            <a:gdLst>
              <a:gd name="connsiteX0" fmla="*/ 164861 w 199831"/>
              <a:gd name="connsiteY0" fmla="*/ 94920 h 399663"/>
              <a:gd name="connsiteX1" fmla="*/ 164861 w 199831"/>
              <a:gd name="connsiteY1" fmla="*/ 74937 h 399663"/>
              <a:gd name="connsiteX2" fmla="*/ 164861 w 199831"/>
              <a:gd name="connsiteY2" fmla="*/ 74937 h 399663"/>
              <a:gd name="connsiteX3" fmla="*/ 154870 w 199831"/>
              <a:gd name="connsiteY3" fmla="*/ 84928 h 399663"/>
              <a:gd name="connsiteX4" fmla="*/ 154870 w 199831"/>
              <a:gd name="connsiteY4" fmla="*/ 174853 h 399663"/>
              <a:gd name="connsiteX5" fmla="*/ 144878 w 199831"/>
              <a:gd name="connsiteY5" fmla="*/ 184844 h 399663"/>
              <a:gd name="connsiteX6" fmla="*/ 134886 w 199831"/>
              <a:gd name="connsiteY6" fmla="*/ 174853 h 399663"/>
              <a:gd name="connsiteX7" fmla="*/ 134886 w 199831"/>
              <a:gd name="connsiteY7" fmla="*/ 84928 h 399663"/>
              <a:gd name="connsiteX8" fmla="*/ 124895 w 199831"/>
              <a:gd name="connsiteY8" fmla="*/ 74937 h 399663"/>
              <a:gd name="connsiteX9" fmla="*/ 124895 w 199831"/>
              <a:gd name="connsiteY9" fmla="*/ 74937 h 399663"/>
              <a:gd name="connsiteX10" fmla="*/ 124895 w 199831"/>
              <a:gd name="connsiteY10" fmla="*/ 94920 h 399663"/>
              <a:gd name="connsiteX11" fmla="*/ 114903 w 199831"/>
              <a:gd name="connsiteY11" fmla="*/ 94920 h 399663"/>
              <a:gd name="connsiteX12" fmla="*/ 114903 w 199831"/>
              <a:gd name="connsiteY12" fmla="*/ 174853 h 399663"/>
              <a:gd name="connsiteX13" fmla="*/ 94920 w 199831"/>
              <a:gd name="connsiteY13" fmla="*/ 204828 h 399663"/>
              <a:gd name="connsiteX14" fmla="*/ 74937 w 199831"/>
              <a:gd name="connsiteY14" fmla="*/ 324727 h 399663"/>
              <a:gd name="connsiteX15" fmla="*/ 134886 w 199831"/>
              <a:gd name="connsiteY15" fmla="*/ 324727 h 399663"/>
              <a:gd name="connsiteX16" fmla="*/ 194836 w 199831"/>
              <a:gd name="connsiteY16" fmla="*/ 324727 h 399663"/>
              <a:gd name="connsiteX17" fmla="*/ 184844 w 199831"/>
              <a:gd name="connsiteY17" fmla="*/ 204828 h 399663"/>
              <a:gd name="connsiteX18" fmla="*/ 164861 w 199831"/>
              <a:gd name="connsiteY18" fmla="*/ 174853 h 399663"/>
              <a:gd name="connsiteX19" fmla="*/ 164861 w 199831"/>
              <a:gd name="connsiteY19" fmla="*/ 94920 h 399663"/>
              <a:gd name="connsiteX20" fmla="*/ 164861 w 199831"/>
              <a:gd name="connsiteY20" fmla="*/ 94920 h 3996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199831" h="399663">
                <a:moveTo>
                  <a:pt x="164861" y="94920"/>
                </a:moveTo>
                <a:cubicBezTo>
                  <a:pt x="164861" y="94920"/>
                  <a:pt x="164861" y="84928"/>
                  <a:pt x="164861" y="74937"/>
                </a:cubicBezTo>
                <a:cubicBezTo>
                  <a:pt x="164861" y="74937"/>
                  <a:pt x="164861" y="74937"/>
                  <a:pt x="164861" y="74937"/>
                </a:cubicBezTo>
                <a:lnTo>
                  <a:pt x="154870" y="84928"/>
                </a:lnTo>
                <a:lnTo>
                  <a:pt x="154870" y="174853"/>
                </a:lnTo>
                <a:cubicBezTo>
                  <a:pt x="154870" y="174853"/>
                  <a:pt x="154870" y="184844"/>
                  <a:pt x="144878" y="184844"/>
                </a:cubicBezTo>
                <a:cubicBezTo>
                  <a:pt x="134886" y="184844"/>
                  <a:pt x="134886" y="184844"/>
                  <a:pt x="134886" y="174853"/>
                </a:cubicBezTo>
                <a:lnTo>
                  <a:pt x="134886" y="84928"/>
                </a:lnTo>
                <a:lnTo>
                  <a:pt x="124895" y="74937"/>
                </a:lnTo>
                <a:cubicBezTo>
                  <a:pt x="124895" y="74937"/>
                  <a:pt x="124895" y="74937"/>
                  <a:pt x="124895" y="74937"/>
                </a:cubicBezTo>
                <a:cubicBezTo>
                  <a:pt x="124895" y="74937"/>
                  <a:pt x="124895" y="94920"/>
                  <a:pt x="124895" y="94920"/>
                </a:cubicBezTo>
                <a:cubicBezTo>
                  <a:pt x="124895" y="94920"/>
                  <a:pt x="114903" y="94920"/>
                  <a:pt x="114903" y="94920"/>
                </a:cubicBezTo>
                <a:cubicBezTo>
                  <a:pt x="114903" y="94920"/>
                  <a:pt x="114903" y="164861"/>
                  <a:pt x="114903" y="174853"/>
                </a:cubicBezTo>
                <a:cubicBezTo>
                  <a:pt x="114903" y="184844"/>
                  <a:pt x="104912" y="194836"/>
                  <a:pt x="94920" y="204828"/>
                </a:cubicBezTo>
                <a:cubicBezTo>
                  <a:pt x="94920" y="214819"/>
                  <a:pt x="74937" y="324727"/>
                  <a:pt x="74937" y="324727"/>
                </a:cubicBezTo>
                <a:cubicBezTo>
                  <a:pt x="74937" y="324727"/>
                  <a:pt x="84929" y="324727"/>
                  <a:pt x="134886" y="324727"/>
                </a:cubicBezTo>
                <a:cubicBezTo>
                  <a:pt x="184844" y="324727"/>
                  <a:pt x="194836" y="324727"/>
                  <a:pt x="194836" y="324727"/>
                </a:cubicBezTo>
                <a:cubicBezTo>
                  <a:pt x="194836" y="324727"/>
                  <a:pt x="184844" y="214819"/>
                  <a:pt x="184844" y="204828"/>
                </a:cubicBezTo>
                <a:cubicBezTo>
                  <a:pt x="174853" y="194836"/>
                  <a:pt x="164861" y="184844"/>
                  <a:pt x="164861" y="174853"/>
                </a:cubicBezTo>
                <a:cubicBezTo>
                  <a:pt x="174853" y="164861"/>
                  <a:pt x="174853" y="94920"/>
                  <a:pt x="164861" y="94920"/>
                </a:cubicBezTo>
                <a:cubicBezTo>
                  <a:pt x="174853" y="94920"/>
                  <a:pt x="164861" y="94920"/>
                  <a:pt x="164861" y="94920"/>
                </a:cubicBezTo>
                <a:close/>
              </a:path>
            </a:pathLst>
          </a:custGeom>
          <a:solidFill>
            <a:srgbClr val="00679A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9893" name="任意多边形: 形状 9892">
            <a:extLst>
              <a:ext uri="{FF2B5EF4-FFF2-40B4-BE49-F238E27FC236}">
                <a16:creationId xmlns:a16="http://schemas.microsoft.com/office/drawing/2014/main" id="{3A32E321-3B6A-48B2-BC3E-6CF7D67DF4C1}"/>
              </a:ext>
            </a:extLst>
          </p:cNvPr>
          <p:cNvSpPr/>
          <p:nvPr userDrawn="1"/>
        </p:nvSpPr>
        <p:spPr>
          <a:xfrm>
            <a:off x="2772633" y="4447813"/>
            <a:ext cx="97335" cy="97335"/>
          </a:xfrm>
          <a:custGeom>
            <a:avLst/>
            <a:gdLst>
              <a:gd name="connsiteX0" fmla="*/ 74937 w 99915"/>
              <a:gd name="connsiteY0" fmla="*/ 84928 h 99915"/>
              <a:gd name="connsiteX1" fmla="*/ 94920 w 99915"/>
              <a:gd name="connsiteY1" fmla="*/ 74937 h 99915"/>
              <a:gd name="connsiteX2" fmla="*/ 114903 w 99915"/>
              <a:gd name="connsiteY2" fmla="*/ 84928 h 99915"/>
              <a:gd name="connsiteX3" fmla="*/ 94920 w 99915"/>
              <a:gd name="connsiteY3" fmla="*/ 84928 h 99915"/>
              <a:gd name="connsiteX4" fmla="*/ 74937 w 99915"/>
              <a:gd name="connsiteY4" fmla="*/ 84928 h 999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9915" h="99915">
                <a:moveTo>
                  <a:pt x="74937" y="84928"/>
                </a:moveTo>
                <a:cubicBezTo>
                  <a:pt x="74937" y="74937"/>
                  <a:pt x="84929" y="74937"/>
                  <a:pt x="94920" y="74937"/>
                </a:cubicBezTo>
                <a:cubicBezTo>
                  <a:pt x="104912" y="74937"/>
                  <a:pt x="114903" y="84928"/>
                  <a:pt x="114903" y="84928"/>
                </a:cubicBezTo>
                <a:cubicBezTo>
                  <a:pt x="114903" y="84928"/>
                  <a:pt x="104912" y="84928"/>
                  <a:pt x="94920" y="84928"/>
                </a:cubicBezTo>
                <a:cubicBezTo>
                  <a:pt x="84929" y="84928"/>
                  <a:pt x="74937" y="84928"/>
                  <a:pt x="74937" y="84928"/>
                </a:cubicBezTo>
                <a:close/>
              </a:path>
            </a:pathLst>
          </a:custGeom>
          <a:solidFill>
            <a:srgbClr val="00679A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9894" name="任意多边形: 形状 9893">
            <a:extLst>
              <a:ext uri="{FF2B5EF4-FFF2-40B4-BE49-F238E27FC236}">
                <a16:creationId xmlns:a16="http://schemas.microsoft.com/office/drawing/2014/main" id="{E9F62039-48CF-4108-8F96-DAE9946E0BB6}"/>
              </a:ext>
            </a:extLst>
          </p:cNvPr>
          <p:cNvSpPr/>
          <p:nvPr userDrawn="1"/>
        </p:nvSpPr>
        <p:spPr>
          <a:xfrm>
            <a:off x="2714231" y="4696559"/>
            <a:ext cx="292005" cy="97335"/>
          </a:xfrm>
          <a:custGeom>
            <a:avLst/>
            <a:gdLst>
              <a:gd name="connsiteX0" fmla="*/ 224811 w 299747"/>
              <a:gd name="connsiteY0" fmla="*/ 79378 h 99915"/>
              <a:gd name="connsiteX1" fmla="*/ 224811 w 299747"/>
              <a:gd name="connsiteY1" fmla="*/ 79378 h 99915"/>
              <a:gd name="connsiteX2" fmla="*/ 84928 w 299747"/>
              <a:gd name="connsiteY2" fmla="*/ 89369 h 99915"/>
              <a:gd name="connsiteX3" fmla="*/ 74937 w 299747"/>
              <a:gd name="connsiteY3" fmla="*/ 79378 h 99915"/>
              <a:gd name="connsiteX4" fmla="*/ 74937 w 299747"/>
              <a:gd name="connsiteY4" fmla="*/ 79378 h 99915"/>
              <a:gd name="connsiteX5" fmla="*/ 84928 w 299747"/>
              <a:gd name="connsiteY5" fmla="*/ 79378 h 99915"/>
              <a:gd name="connsiteX6" fmla="*/ 224811 w 299747"/>
              <a:gd name="connsiteY6" fmla="*/ 79378 h 99915"/>
              <a:gd name="connsiteX7" fmla="*/ 224811 w 299747"/>
              <a:gd name="connsiteY7" fmla="*/ 79378 h 99915"/>
              <a:gd name="connsiteX8" fmla="*/ 224811 w 299747"/>
              <a:gd name="connsiteY8" fmla="*/ 79378 h 999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99747" h="99915">
                <a:moveTo>
                  <a:pt x="224811" y="79378"/>
                </a:moveTo>
                <a:cubicBezTo>
                  <a:pt x="224811" y="79378"/>
                  <a:pt x="224811" y="79378"/>
                  <a:pt x="224811" y="79378"/>
                </a:cubicBezTo>
                <a:lnTo>
                  <a:pt x="84928" y="89369"/>
                </a:lnTo>
                <a:cubicBezTo>
                  <a:pt x="84928" y="89369"/>
                  <a:pt x="74937" y="89369"/>
                  <a:pt x="74937" y="79378"/>
                </a:cubicBezTo>
                <a:lnTo>
                  <a:pt x="74937" y="79378"/>
                </a:lnTo>
                <a:cubicBezTo>
                  <a:pt x="74937" y="79378"/>
                  <a:pt x="74937" y="79378"/>
                  <a:pt x="84928" y="79378"/>
                </a:cubicBezTo>
                <a:lnTo>
                  <a:pt x="224811" y="79378"/>
                </a:lnTo>
                <a:cubicBezTo>
                  <a:pt x="224811" y="69386"/>
                  <a:pt x="224811" y="79378"/>
                  <a:pt x="224811" y="79378"/>
                </a:cubicBezTo>
                <a:lnTo>
                  <a:pt x="224811" y="79378"/>
                </a:lnTo>
                <a:close/>
              </a:path>
            </a:pathLst>
          </a:custGeom>
          <a:solidFill>
            <a:srgbClr val="00679A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9895" name="任意多边形: 形状 9894">
            <a:extLst>
              <a:ext uri="{FF2B5EF4-FFF2-40B4-BE49-F238E27FC236}">
                <a16:creationId xmlns:a16="http://schemas.microsoft.com/office/drawing/2014/main" id="{4B4A1569-304A-4085-B6DC-1868E4DE0FDF}"/>
              </a:ext>
            </a:extLst>
          </p:cNvPr>
          <p:cNvSpPr/>
          <p:nvPr userDrawn="1"/>
        </p:nvSpPr>
        <p:spPr>
          <a:xfrm>
            <a:off x="2687464" y="4849321"/>
            <a:ext cx="292005" cy="97335"/>
          </a:xfrm>
          <a:custGeom>
            <a:avLst/>
            <a:gdLst>
              <a:gd name="connsiteX0" fmla="*/ 82431 w 299747"/>
              <a:gd name="connsiteY0" fmla="*/ 82431 h 99915"/>
              <a:gd name="connsiteX1" fmla="*/ 82431 w 299747"/>
              <a:gd name="connsiteY1" fmla="*/ 82431 h 99915"/>
              <a:gd name="connsiteX2" fmla="*/ 82431 w 299747"/>
              <a:gd name="connsiteY2" fmla="*/ 82431 h 99915"/>
              <a:gd name="connsiteX3" fmla="*/ 82431 w 299747"/>
              <a:gd name="connsiteY3" fmla="*/ 82431 h 99915"/>
              <a:gd name="connsiteX4" fmla="*/ 82431 w 299747"/>
              <a:gd name="connsiteY4" fmla="*/ 82431 h 99915"/>
              <a:gd name="connsiteX5" fmla="*/ 242296 w 299747"/>
              <a:gd name="connsiteY5" fmla="*/ 82431 h 99915"/>
              <a:gd name="connsiteX6" fmla="*/ 242296 w 299747"/>
              <a:gd name="connsiteY6" fmla="*/ 82431 h 99915"/>
              <a:gd name="connsiteX7" fmla="*/ 242296 w 299747"/>
              <a:gd name="connsiteY7" fmla="*/ 82431 h 99915"/>
              <a:gd name="connsiteX8" fmla="*/ 242296 w 299747"/>
              <a:gd name="connsiteY8" fmla="*/ 82431 h 99915"/>
              <a:gd name="connsiteX9" fmla="*/ 242296 w 299747"/>
              <a:gd name="connsiteY9" fmla="*/ 82431 h 99915"/>
              <a:gd name="connsiteX10" fmla="*/ 82431 w 299747"/>
              <a:gd name="connsiteY10" fmla="*/ 82431 h 99915"/>
              <a:gd name="connsiteX11" fmla="*/ 82431 w 299747"/>
              <a:gd name="connsiteY11" fmla="*/ 82431 h 999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99747" h="99915">
                <a:moveTo>
                  <a:pt x="82431" y="82431"/>
                </a:moveTo>
                <a:cubicBezTo>
                  <a:pt x="72439" y="82431"/>
                  <a:pt x="72439" y="82431"/>
                  <a:pt x="82431" y="82431"/>
                </a:cubicBezTo>
                <a:lnTo>
                  <a:pt x="82431" y="82431"/>
                </a:lnTo>
                <a:cubicBezTo>
                  <a:pt x="72439" y="72439"/>
                  <a:pt x="72439" y="72439"/>
                  <a:pt x="82431" y="82431"/>
                </a:cubicBezTo>
                <a:lnTo>
                  <a:pt x="82431" y="82431"/>
                </a:lnTo>
                <a:lnTo>
                  <a:pt x="242296" y="82431"/>
                </a:lnTo>
                <a:cubicBezTo>
                  <a:pt x="242296" y="82431"/>
                  <a:pt x="242296" y="82431"/>
                  <a:pt x="242296" y="82431"/>
                </a:cubicBezTo>
                <a:lnTo>
                  <a:pt x="242296" y="82431"/>
                </a:lnTo>
                <a:cubicBezTo>
                  <a:pt x="242296" y="82431"/>
                  <a:pt x="242296" y="82431"/>
                  <a:pt x="242296" y="82431"/>
                </a:cubicBezTo>
                <a:lnTo>
                  <a:pt x="242296" y="82431"/>
                </a:lnTo>
                <a:lnTo>
                  <a:pt x="82431" y="82431"/>
                </a:lnTo>
                <a:lnTo>
                  <a:pt x="82431" y="82431"/>
                </a:lnTo>
                <a:close/>
              </a:path>
            </a:pathLst>
          </a:custGeom>
          <a:solidFill>
            <a:srgbClr val="00679A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9896" name="任意多边形: 形状 9895">
            <a:extLst>
              <a:ext uri="{FF2B5EF4-FFF2-40B4-BE49-F238E27FC236}">
                <a16:creationId xmlns:a16="http://schemas.microsoft.com/office/drawing/2014/main" id="{AEBCF49D-0F71-4528-A428-11ABE83F7AF6}"/>
              </a:ext>
            </a:extLst>
          </p:cNvPr>
          <p:cNvSpPr/>
          <p:nvPr userDrawn="1"/>
        </p:nvSpPr>
        <p:spPr>
          <a:xfrm>
            <a:off x="2687464" y="5053726"/>
            <a:ext cx="292005" cy="97335"/>
          </a:xfrm>
          <a:custGeom>
            <a:avLst/>
            <a:gdLst>
              <a:gd name="connsiteX0" fmla="*/ 82431 w 299747"/>
              <a:gd name="connsiteY0" fmla="*/ 82431 h 99915"/>
              <a:gd name="connsiteX1" fmla="*/ 82431 w 299747"/>
              <a:gd name="connsiteY1" fmla="*/ 82431 h 99915"/>
              <a:gd name="connsiteX2" fmla="*/ 82431 w 299747"/>
              <a:gd name="connsiteY2" fmla="*/ 82431 h 99915"/>
              <a:gd name="connsiteX3" fmla="*/ 82431 w 299747"/>
              <a:gd name="connsiteY3" fmla="*/ 82431 h 99915"/>
              <a:gd name="connsiteX4" fmla="*/ 82431 w 299747"/>
              <a:gd name="connsiteY4" fmla="*/ 82431 h 99915"/>
              <a:gd name="connsiteX5" fmla="*/ 242296 w 299747"/>
              <a:gd name="connsiteY5" fmla="*/ 82431 h 99915"/>
              <a:gd name="connsiteX6" fmla="*/ 242296 w 299747"/>
              <a:gd name="connsiteY6" fmla="*/ 82431 h 99915"/>
              <a:gd name="connsiteX7" fmla="*/ 242296 w 299747"/>
              <a:gd name="connsiteY7" fmla="*/ 82431 h 99915"/>
              <a:gd name="connsiteX8" fmla="*/ 242296 w 299747"/>
              <a:gd name="connsiteY8" fmla="*/ 82431 h 99915"/>
              <a:gd name="connsiteX9" fmla="*/ 242296 w 299747"/>
              <a:gd name="connsiteY9" fmla="*/ 82431 h 99915"/>
              <a:gd name="connsiteX10" fmla="*/ 82431 w 299747"/>
              <a:gd name="connsiteY10" fmla="*/ 82431 h 99915"/>
              <a:gd name="connsiteX11" fmla="*/ 82431 w 299747"/>
              <a:gd name="connsiteY11" fmla="*/ 82431 h 999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99747" h="99915">
                <a:moveTo>
                  <a:pt x="82431" y="82431"/>
                </a:moveTo>
                <a:cubicBezTo>
                  <a:pt x="72439" y="82431"/>
                  <a:pt x="72439" y="72439"/>
                  <a:pt x="82431" y="82431"/>
                </a:cubicBezTo>
                <a:lnTo>
                  <a:pt x="82431" y="82431"/>
                </a:lnTo>
                <a:cubicBezTo>
                  <a:pt x="72439" y="72439"/>
                  <a:pt x="72439" y="72439"/>
                  <a:pt x="82431" y="82431"/>
                </a:cubicBezTo>
                <a:lnTo>
                  <a:pt x="82431" y="82431"/>
                </a:lnTo>
                <a:lnTo>
                  <a:pt x="242296" y="82431"/>
                </a:lnTo>
                <a:cubicBezTo>
                  <a:pt x="242296" y="82431"/>
                  <a:pt x="242296" y="82431"/>
                  <a:pt x="242296" y="82431"/>
                </a:cubicBezTo>
                <a:lnTo>
                  <a:pt x="242296" y="82431"/>
                </a:lnTo>
                <a:cubicBezTo>
                  <a:pt x="242296" y="82431"/>
                  <a:pt x="242296" y="82431"/>
                  <a:pt x="242296" y="82431"/>
                </a:cubicBezTo>
                <a:lnTo>
                  <a:pt x="242296" y="82431"/>
                </a:lnTo>
                <a:lnTo>
                  <a:pt x="82431" y="82431"/>
                </a:lnTo>
                <a:lnTo>
                  <a:pt x="82431" y="82431"/>
                </a:lnTo>
                <a:close/>
              </a:path>
            </a:pathLst>
          </a:custGeom>
          <a:solidFill>
            <a:srgbClr val="00679A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9897" name="任意多边形: 形状 9896">
            <a:extLst>
              <a:ext uri="{FF2B5EF4-FFF2-40B4-BE49-F238E27FC236}">
                <a16:creationId xmlns:a16="http://schemas.microsoft.com/office/drawing/2014/main" id="{E171A0E6-C411-4E03-B7AA-01826BC022CF}"/>
              </a:ext>
            </a:extLst>
          </p:cNvPr>
          <p:cNvSpPr/>
          <p:nvPr userDrawn="1"/>
        </p:nvSpPr>
        <p:spPr>
          <a:xfrm>
            <a:off x="2690439" y="5265430"/>
            <a:ext cx="292005" cy="97335"/>
          </a:xfrm>
          <a:custGeom>
            <a:avLst/>
            <a:gdLst>
              <a:gd name="connsiteX0" fmla="*/ 79378 w 299747"/>
              <a:gd name="connsiteY0" fmla="*/ 74937 h 99915"/>
              <a:gd name="connsiteX1" fmla="*/ 79378 w 299747"/>
              <a:gd name="connsiteY1" fmla="*/ 74937 h 99915"/>
              <a:gd name="connsiteX2" fmla="*/ 79378 w 299747"/>
              <a:gd name="connsiteY2" fmla="*/ 74937 h 99915"/>
              <a:gd name="connsiteX3" fmla="*/ 79378 w 299747"/>
              <a:gd name="connsiteY3" fmla="*/ 74937 h 99915"/>
              <a:gd name="connsiteX4" fmla="*/ 79378 w 299747"/>
              <a:gd name="connsiteY4" fmla="*/ 74937 h 99915"/>
              <a:gd name="connsiteX5" fmla="*/ 239243 w 299747"/>
              <a:gd name="connsiteY5" fmla="*/ 74937 h 99915"/>
              <a:gd name="connsiteX6" fmla="*/ 239243 w 299747"/>
              <a:gd name="connsiteY6" fmla="*/ 74937 h 99915"/>
              <a:gd name="connsiteX7" fmla="*/ 239243 w 299747"/>
              <a:gd name="connsiteY7" fmla="*/ 74937 h 99915"/>
              <a:gd name="connsiteX8" fmla="*/ 239243 w 299747"/>
              <a:gd name="connsiteY8" fmla="*/ 74937 h 99915"/>
              <a:gd name="connsiteX9" fmla="*/ 239243 w 299747"/>
              <a:gd name="connsiteY9" fmla="*/ 74937 h 99915"/>
              <a:gd name="connsiteX10" fmla="*/ 79378 w 299747"/>
              <a:gd name="connsiteY10" fmla="*/ 74937 h 99915"/>
              <a:gd name="connsiteX11" fmla="*/ 79378 w 299747"/>
              <a:gd name="connsiteY11" fmla="*/ 74937 h 999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99747" h="99915">
                <a:moveTo>
                  <a:pt x="79378" y="74937"/>
                </a:moveTo>
                <a:cubicBezTo>
                  <a:pt x="79378" y="74937"/>
                  <a:pt x="69386" y="74937"/>
                  <a:pt x="79378" y="74937"/>
                </a:cubicBezTo>
                <a:lnTo>
                  <a:pt x="79378" y="74937"/>
                </a:lnTo>
                <a:cubicBezTo>
                  <a:pt x="69386" y="74937"/>
                  <a:pt x="79378" y="74937"/>
                  <a:pt x="79378" y="74937"/>
                </a:cubicBezTo>
                <a:lnTo>
                  <a:pt x="79378" y="74937"/>
                </a:lnTo>
                <a:lnTo>
                  <a:pt x="239243" y="74937"/>
                </a:lnTo>
                <a:cubicBezTo>
                  <a:pt x="239243" y="74937"/>
                  <a:pt x="239243" y="74937"/>
                  <a:pt x="239243" y="74937"/>
                </a:cubicBezTo>
                <a:lnTo>
                  <a:pt x="239243" y="74937"/>
                </a:lnTo>
                <a:cubicBezTo>
                  <a:pt x="239243" y="74937"/>
                  <a:pt x="239243" y="74937"/>
                  <a:pt x="239243" y="74937"/>
                </a:cubicBezTo>
                <a:lnTo>
                  <a:pt x="239243" y="74937"/>
                </a:lnTo>
                <a:lnTo>
                  <a:pt x="79378" y="74937"/>
                </a:lnTo>
                <a:lnTo>
                  <a:pt x="79378" y="74937"/>
                </a:lnTo>
                <a:close/>
              </a:path>
            </a:pathLst>
          </a:custGeom>
          <a:solidFill>
            <a:srgbClr val="00679A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9898" name="任意多边形: 形状 9897">
            <a:extLst>
              <a:ext uri="{FF2B5EF4-FFF2-40B4-BE49-F238E27FC236}">
                <a16:creationId xmlns:a16="http://schemas.microsoft.com/office/drawing/2014/main" id="{9DA5BFA6-2842-4104-9106-B58A921AF68E}"/>
              </a:ext>
            </a:extLst>
          </p:cNvPr>
          <p:cNvSpPr/>
          <p:nvPr userDrawn="1"/>
        </p:nvSpPr>
        <p:spPr>
          <a:xfrm>
            <a:off x="2687464" y="4888256"/>
            <a:ext cx="194670" cy="97335"/>
          </a:xfrm>
          <a:custGeom>
            <a:avLst/>
            <a:gdLst>
              <a:gd name="connsiteX0" fmla="*/ 82431 w 199831"/>
              <a:gd name="connsiteY0" fmla="*/ 82431 h 99915"/>
              <a:gd name="connsiteX1" fmla="*/ 82431 w 199831"/>
              <a:gd name="connsiteY1" fmla="*/ 82431 h 99915"/>
              <a:gd name="connsiteX2" fmla="*/ 82431 w 199831"/>
              <a:gd name="connsiteY2" fmla="*/ 82431 h 99915"/>
              <a:gd name="connsiteX3" fmla="*/ 82431 w 199831"/>
              <a:gd name="connsiteY3" fmla="*/ 82431 h 99915"/>
              <a:gd name="connsiteX4" fmla="*/ 82431 w 199831"/>
              <a:gd name="connsiteY4" fmla="*/ 82431 h 99915"/>
              <a:gd name="connsiteX5" fmla="*/ 152372 w 199831"/>
              <a:gd name="connsiteY5" fmla="*/ 82431 h 99915"/>
              <a:gd name="connsiteX6" fmla="*/ 152372 w 199831"/>
              <a:gd name="connsiteY6" fmla="*/ 82431 h 99915"/>
              <a:gd name="connsiteX7" fmla="*/ 152372 w 199831"/>
              <a:gd name="connsiteY7" fmla="*/ 82431 h 99915"/>
              <a:gd name="connsiteX8" fmla="*/ 152372 w 199831"/>
              <a:gd name="connsiteY8" fmla="*/ 82431 h 99915"/>
              <a:gd name="connsiteX9" fmla="*/ 152372 w 199831"/>
              <a:gd name="connsiteY9" fmla="*/ 82431 h 99915"/>
              <a:gd name="connsiteX10" fmla="*/ 82431 w 199831"/>
              <a:gd name="connsiteY10" fmla="*/ 82431 h 99915"/>
              <a:gd name="connsiteX11" fmla="*/ 82431 w 199831"/>
              <a:gd name="connsiteY11" fmla="*/ 82431 h 999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99831" h="99915">
                <a:moveTo>
                  <a:pt x="82431" y="82431"/>
                </a:moveTo>
                <a:cubicBezTo>
                  <a:pt x="72439" y="82431"/>
                  <a:pt x="72439" y="72439"/>
                  <a:pt x="82431" y="82431"/>
                </a:cubicBezTo>
                <a:lnTo>
                  <a:pt x="82431" y="82431"/>
                </a:lnTo>
                <a:cubicBezTo>
                  <a:pt x="72439" y="72439"/>
                  <a:pt x="72439" y="72439"/>
                  <a:pt x="82431" y="82431"/>
                </a:cubicBezTo>
                <a:lnTo>
                  <a:pt x="82431" y="82431"/>
                </a:lnTo>
                <a:lnTo>
                  <a:pt x="152372" y="82431"/>
                </a:lnTo>
                <a:cubicBezTo>
                  <a:pt x="152372" y="82431"/>
                  <a:pt x="152372" y="82431"/>
                  <a:pt x="152372" y="82431"/>
                </a:cubicBezTo>
                <a:lnTo>
                  <a:pt x="152372" y="82431"/>
                </a:lnTo>
                <a:cubicBezTo>
                  <a:pt x="152372" y="82431"/>
                  <a:pt x="152372" y="82431"/>
                  <a:pt x="152372" y="82431"/>
                </a:cubicBezTo>
                <a:lnTo>
                  <a:pt x="152372" y="82431"/>
                </a:lnTo>
                <a:lnTo>
                  <a:pt x="82431" y="82431"/>
                </a:lnTo>
                <a:lnTo>
                  <a:pt x="82431" y="82431"/>
                </a:lnTo>
                <a:close/>
              </a:path>
            </a:pathLst>
          </a:custGeom>
          <a:solidFill>
            <a:srgbClr val="00679A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9899" name="任意多边形: 形状 9898">
            <a:extLst>
              <a:ext uri="{FF2B5EF4-FFF2-40B4-BE49-F238E27FC236}">
                <a16:creationId xmlns:a16="http://schemas.microsoft.com/office/drawing/2014/main" id="{DB0EF2C3-39FE-44D8-98CB-2460FE1E9AC2}"/>
              </a:ext>
            </a:extLst>
          </p:cNvPr>
          <p:cNvSpPr/>
          <p:nvPr userDrawn="1"/>
        </p:nvSpPr>
        <p:spPr>
          <a:xfrm>
            <a:off x="2687464" y="4930164"/>
            <a:ext cx="194670" cy="97335"/>
          </a:xfrm>
          <a:custGeom>
            <a:avLst/>
            <a:gdLst>
              <a:gd name="connsiteX0" fmla="*/ 82431 w 199831"/>
              <a:gd name="connsiteY0" fmla="*/ 79378 h 99915"/>
              <a:gd name="connsiteX1" fmla="*/ 82431 w 199831"/>
              <a:gd name="connsiteY1" fmla="*/ 79378 h 99915"/>
              <a:gd name="connsiteX2" fmla="*/ 82431 w 199831"/>
              <a:gd name="connsiteY2" fmla="*/ 79378 h 99915"/>
              <a:gd name="connsiteX3" fmla="*/ 82431 w 199831"/>
              <a:gd name="connsiteY3" fmla="*/ 79378 h 99915"/>
              <a:gd name="connsiteX4" fmla="*/ 82431 w 199831"/>
              <a:gd name="connsiteY4" fmla="*/ 79378 h 99915"/>
              <a:gd name="connsiteX5" fmla="*/ 152372 w 199831"/>
              <a:gd name="connsiteY5" fmla="*/ 79378 h 99915"/>
              <a:gd name="connsiteX6" fmla="*/ 152372 w 199831"/>
              <a:gd name="connsiteY6" fmla="*/ 79378 h 99915"/>
              <a:gd name="connsiteX7" fmla="*/ 152372 w 199831"/>
              <a:gd name="connsiteY7" fmla="*/ 79378 h 99915"/>
              <a:gd name="connsiteX8" fmla="*/ 152372 w 199831"/>
              <a:gd name="connsiteY8" fmla="*/ 79378 h 99915"/>
              <a:gd name="connsiteX9" fmla="*/ 152372 w 199831"/>
              <a:gd name="connsiteY9" fmla="*/ 79378 h 99915"/>
              <a:gd name="connsiteX10" fmla="*/ 82431 w 199831"/>
              <a:gd name="connsiteY10" fmla="*/ 79378 h 99915"/>
              <a:gd name="connsiteX11" fmla="*/ 82431 w 199831"/>
              <a:gd name="connsiteY11" fmla="*/ 79378 h 999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99831" h="99915">
                <a:moveTo>
                  <a:pt x="82431" y="79378"/>
                </a:moveTo>
                <a:cubicBezTo>
                  <a:pt x="72439" y="79378"/>
                  <a:pt x="72439" y="79378"/>
                  <a:pt x="82431" y="79378"/>
                </a:cubicBezTo>
                <a:lnTo>
                  <a:pt x="82431" y="79378"/>
                </a:lnTo>
                <a:cubicBezTo>
                  <a:pt x="72439" y="79378"/>
                  <a:pt x="72439" y="69386"/>
                  <a:pt x="82431" y="79378"/>
                </a:cubicBezTo>
                <a:lnTo>
                  <a:pt x="82431" y="79378"/>
                </a:lnTo>
                <a:lnTo>
                  <a:pt x="152372" y="79378"/>
                </a:lnTo>
                <a:cubicBezTo>
                  <a:pt x="152372" y="79378"/>
                  <a:pt x="152372" y="79378"/>
                  <a:pt x="152372" y="79378"/>
                </a:cubicBezTo>
                <a:lnTo>
                  <a:pt x="152372" y="79378"/>
                </a:lnTo>
                <a:cubicBezTo>
                  <a:pt x="152372" y="79378"/>
                  <a:pt x="152372" y="79378"/>
                  <a:pt x="152372" y="79378"/>
                </a:cubicBezTo>
                <a:lnTo>
                  <a:pt x="152372" y="79378"/>
                </a:lnTo>
                <a:lnTo>
                  <a:pt x="82431" y="79378"/>
                </a:lnTo>
                <a:lnTo>
                  <a:pt x="82431" y="79378"/>
                </a:lnTo>
                <a:close/>
              </a:path>
            </a:pathLst>
          </a:custGeom>
          <a:solidFill>
            <a:srgbClr val="00679A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9900" name="任意多边形: 形状 9899">
            <a:extLst>
              <a:ext uri="{FF2B5EF4-FFF2-40B4-BE49-F238E27FC236}">
                <a16:creationId xmlns:a16="http://schemas.microsoft.com/office/drawing/2014/main" id="{4DE722A0-07D9-488C-B9C6-59EF23B6CF89}"/>
              </a:ext>
            </a:extLst>
          </p:cNvPr>
          <p:cNvSpPr/>
          <p:nvPr userDrawn="1"/>
        </p:nvSpPr>
        <p:spPr>
          <a:xfrm>
            <a:off x="2687464" y="4973424"/>
            <a:ext cx="194670" cy="97335"/>
          </a:xfrm>
          <a:custGeom>
            <a:avLst/>
            <a:gdLst>
              <a:gd name="connsiteX0" fmla="*/ 82431 w 199831"/>
              <a:gd name="connsiteY0" fmla="*/ 74937 h 99915"/>
              <a:gd name="connsiteX1" fmla="*/ 82431 w 199831"/>
              <a:gd name="connsiteY1" fmla="*/ 74937 h 99915"/>
              <a:gd name="connsiteX2" fmla="*/ 82431 w 199831"/>
              <a:gd name="connsiteY2" fmla="*/ 74937 h 99915"/>
              <a:gd name="connsiteX3" fmla="*/ 82431 w 199831"/>
              <a:gd name="connsiteY3" fmla="*/ 74937 h 99915"/>
              <a:gd name="connsiteX4" fmla="*/ 82431 w 199831"/>
              <a:gd name="connsiteY4" fmla="*/ 74937 h 99915"/>
              <a:gd name="connsiteX5" fmla="*/ 152372 w 199831"/>
              <a:gd name="connsiteY5" fmla="*/ 74937 h 99915"/>
              <a:gd name="connsiteX6" fmla="*/ 152372 w 199831"/>
              <a:gd name="connsiteY6" fmla="*/ 74937 h 99915"/>
              <a:gd name="connsiteX7" fmla="*/ 152372 w 199831"/>
              <a:gd name="connsiteY7" fmla="*/ 74937 h 99915"/>
              <a:gd name="connsiteX8" fmla="*/ 152372 w 199831"/>
              <a:gd name="connsiteY8" fmla="*/ 74937 h 99915"/>
              <a:gd name="connsiteX9" fmla="*/ 152372 w 199831"/>
              <a:gd name="connsiteY9" fmla="*/ 74937 h 99915"/>
              <a:gd name="connsiteX10" fmla="*/ 82431 w 199831"/>
              <a:gd name="connsiteY10" fmla="*/ 74937 h 99915"/>
              <a:gd name="connsiteX11" fmla="*/ 82431 w 199831"/>
              <a:gd name="connsiteY11" fmla="*/ 74937 h 999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99831" h="99915">
                <a:moveTo>
                  <a:pt x="82431" y="74937"/>
                </a:moveTo>
                <a:cubicBezTo>
                  <a:pt x="72439" y="74937"/>
                  <a:pt x="72439" y="74937"/>
                  <a:pt x="82431" y="74937"/>
                </a:cubicBezTo>
                <a:lnTo>
                  <a:pt x="82431" y="74937"/>
                </a:lnTo>
                <a:cubicBezTo>
                  <a:pt x="72439" y="74937"/>
                  <a:pt x="72439" y="74937"/>
                  <a:pt x="82431" y="74937"/>
                </a:cubicBezTo>
                <a:lnTo>
                  <a:pt x="82431" y="74937"/>
                </a:lnTo>
                <a:lnTo>
                  <a:pt x="152372" y="74937"/>
                </a:lnTo>
                <a:cubicBezTo>
                  <a:pt x="152372" y="74937"/>
                  <a:pt x="152372" y="74937"/>
                  <a:pt x="152372" y="74937"/>
                </a:cubicBezTo>
                <a:lnTo>
                  <a:pt x="152372" y="74937"/>
                </a:lnTo>
                <a:cubicBezTo>
                  <a:pt x="152372" y="74937"/>
                  <a:pt x="152372" y="74937"/>
                  <a:pt x="152372" y="74937"/>
                </a:cubicBezTo>
                <a:lnTo>
                  <a:pt x="152372" y="74937"/>
                </a:lnTo>
                <a:lnTo>
                  <a:pt x="82431" y="74937"/>
                </a:lnTo>
                <a:lnTo>
                  <a:pt x="82431" y="74937"/>
                </a:lnTo>
                <a:close/>
              </a:path>
            </a:pathLst>
          </a:custGeom>
          <a:solidFill>
            <a:srgbClr val="00679A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9901" name="任意多边形: 形状 9900">
            <a:extLst>
              <a:ext uri="{FF2B5EF4-FFF2-40B4-BE49-F238E27FC236}">
                <a16:creationId xmlns:a16="http://schemas.microsoft.com/office/drawing/2014/main" id="{93898586-4E2C-47B3-BAE0-2CFB44946205}"/>
              </a:ext>
            </a:extLst>
          </p:cNvPr>
          <p:cNvSpPr/>
          <p:nvPr userDrawn="1"/>
        </p:nvSpPr>
        <p:spPr>
          <a:xfrm>
            <a:off x="2687464" y="5012358"/>
            <a:ext cx="194670" cy="97335"/>
          </a:xfrm>
          <a:custGeom>
            <a:avLst/>
            <a:gdLst>
              <a:gd name="connsiteX0" fmla="*/ 82431 w 199831"/>
              <a:gd name="connsiteY0" fmla="*/ 74937 h 99915"/>
              <a:gd name="connsiteX1" fmla="*/ 82431 w 199831"/>
              <a:gd name="connsiteY1" fmla="*/ 74937 h 99915"/>
              <a:gd name="connsiteX2" fmla="*/ 82431 w 199831"/>
              <a:gd name="connsiteY2" fmla="*/ 74937 h 99915"/>
              <a:gd name="connsiteX3" fmla="*/ 82431 w 199831"/>
              <a:gd name="connsiteY3" fmla="*/ 74937 h 99915"/>
              <a:gd name="connsiteX4" fmla="*/ 82431 w 199831"/>
              <a:gd name="connsiteY4" fmla="*/ 74937 h 99915"/>
              <a:gd name="connsiteX5" fmla="*/ 152372 w 199831"/>
              <a:gd name="connsiteY5" fmla="*/ 74937 h 99915"/>
              <a:gd name="connsiteX6" fmla="*/ 152372 w 199831"/>
              <a:gd name="connsiteY6" fmla="*/ 74937 h 99915"/>
              <a:gd name="connsiteX7" fmla="*/ 152372 w 199831"/>
              <a:gd name="connsiteY7" fmla="*/ 74937 h 99915"/>
              <a:gd name="connsiteX8" fmla="*/ 152372 w 199831"/>
              <a:gd name="connsiteY8" fmla="*/ 74937 h 99915"/>
              <a:gd name="connsiteX9" fmla="*/ 152372 w 199831"/>
              <a:gd name="connsiteY9" fmla="*/ 74937 h 99915"/>
              <a:gd name="connsiteX10" fmla="*/ 82431 w 199831"/>
              <a:gd name="connsiteY10" fmla="*/ 74937 h 99915"/>
              <a:gd name="connsiteX11" fmla="*/ 82431 w 199831"/>
              <a:gd name="connsiteY11" fmla="*/ 74937 h 999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99831" h="99915">
                <a:moveTo>
                  <a:pt x="82431" y="74937"/>
                </a:moveTo>
                <a:cubicBezTo>
                  <a:pt x="72439" y="74937"/>
                  <a:pt x="72439" y="74937"/>
                  <a:pt x="82431" y="74937"/>
                </a:cubicBezTo>
                <a:lnTo>
                  <a:pt x="82431" y="74937"/>
                </a:lnTo>
                <a:cubicBezTo>
                  <a:pt x="72439" y="74937"/>
                  <a:pt x="72439" y="74937"/>
                  <a:pt x="82431" y="74937"/>
                </a:cubicBezTo>
                <a:lnTo>
                  <a:pt x="82431" y="74937"/>
                </a:lnTo>
                <a:lnTo>
                  <a:pt x="152372" y="74937"/>
                </a:lnTo>
                <a:cubicBezTo>
                  <a:pt x="152372" y="74937"/>
                  <a:pt x="152372" y="74937"/>
                  <a:pt x="152372" y="74937"/>
                </a:cubicBezTo>
                <a:lnTo>
                  <a:pt x="152372" y="74937"/>
                </a:lnTo>
                <a:cubicBezTo>
                  <a:pt x="152372" y="74937"/>
                  <a:pt x="152372" y="74937"/>
                  <a:pt x="152372" y="74937"/>
                </a:cubicBezTo>
                <a:lnTo>
                  <a:pt x="152372" y="74937"/>
                </a:lnTo>
                <a:lnTo>
                  <a:pt x="82431" y="74937"/>
                </a:lnTo>
                <a:lnTo>
                  <a:pt x="82431" y="74937"/>
                </a:lnTo>
                <a:close/>
              </a:path>
            </a:pathLst>
          </a:custGeom>
          <a:solidFill>
            <a:srgbClr val="00679A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9902" name="任意多边形: 形状 9901">
            <a:extLst>
              <a:ext uri="{FF2B5EF4-FFF2-40B4-BE49-F238E27FC236}">
                <a16:creationId xmlns:a16="http://schemas.microsoft.com/office/drawing/2014/main" id="{AE5AFE90-A7C7-4768-8F7B-A441E1033114}"/>
              </a:ext>
            </a:extLst>
          </p:cNvPr>
          <p:cNvSpPr/>
          <p:nvPr userDrawn="1"/>
        </p:nvSpPr>
        <p:spPr>
          <a:xfrm>
            <a:off x="2687464" y="5095633"/>
            <a:ext cx="194670" cy="97335"/>
          </a:xfrm>
          <a:custGeom>
            <a:avLst/>
            <a:gdLst>
              <a:gd name="connsiteX0" fmla="*/ 82431 w 199831"/>
              <a:gd name="connsiteY0" fmla="*/ 79378 h 99915"/>
              <a:gd name="connsiteX1" fmla="*/ 82431 w 199831"/>
              <a:gd name="connsiteY1" fmla="*/ 79378 h 99915"/>
              <a:gd name="connsiteX2" fmla="*/ 82431 w 199831"/>
              <a:gd name="connsiteY2" fmla="*/ 79378 h 99915"/>
              <a:gd name="connsiteX3" fmla="*/ 82431 w 199831"/>
              <a:gd name="connsiteY3" fmla="*/ 79378 h 99915"/>
              <a:gd name="connsiteX4" fmla="*/ 82431 w 199831"/>
              <a:gd name="connsiteY4" fmla="*/ 79378 h 99915"/>
              <a:gd name="connsiteX5" fmla="*/ 152372 w 199831"/>
              <a:gd name="connsiteY5" fmla="*/ 79378 h 99915"/>
              <a:gd name="connsiteX6" fmla="*/ 152372 w 199831"/>
              <a:gd name="connsiteY6" fmla="*/ 79378 h 99915"/>
              <a:gd name="connsiteX7" fmla="*/ 152372 w 199831"/>
              <a:gd name="connsiteY7" fmla="*/ 79378 h 99915"/>
              <a:gd name="connsiteX8" fmla="*/ 152372 w 199831"/>
              <a:gd name="connsiteY8" fmla="*/ 79378 h 99915"/>
              <a:gd name="connsiteX9" fmla="*/ 152372 w 199831"/>
              <a:gd name="connsiteY9" fmla="*/ 79378 h 99915"/>
              <a:gd name="connsiteX10" fmla="*/ 82431 w 199831"/>
              <a:gd name="connsiteY10" fmla="*/ 79378 h 99915"/>
              <a:gd name="connsiteX11" fmla="*/ 82431 w 199831"/>
              <a:gd name="connsiteY11" fmla="*/ 79378 h 999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99831" h="99915">
                <a:moveTo>
                  <a:pt x="82431" y="79378"/>
                </a:moveTo>
                <a:cubicBezTo>
                  <a:pt x="72439" y="79378"/>
                  <a:pt x="72439" y="79378"/>
                  <a:pt x="82431" y="79378"/>
                </a:cubicBezTo>
                <a:lnTo>
                  <a:pt x="82431" y="79378"/>
                </a:lnTo>
                <a:cubicBezTo>
                  <a:pt x="72439" y="79378"/>
                  <a:pt x="72439" y="69386"/>
                  <a:pt x="82431" y="79378"/>
                </a:cubicBezTo>
                <a:lnTo>
                  <a:pt x="82431" y="79378"/>
                </a:lnTo>
                <a:lnTo>
                  <a:pt x="152372" y="79378"/>
                </a:lnTo>
                <a:cubicBezTo>
                  <a:pt x="152372" y="79378"/>
                  <a:pt x="152372" y="79378"/>
                  <a:pt x="152372" y="79378"/>
                </a:cubicBezTo>
                <a:lnTo>
                  <a:pt x="152372" y="79378"/>
                </a:lnTo>
                <a:cubicBezTo>
                  <a:pt x="152372" y="79378"/>
                  <a:pt x="152372" y="79378"/>
                  <a:pt x="152372" y="79378"/>
                </a:cubicBezTo>
                <a:lnTo>
                  <a:pt x="152372" y="79378"/>
                </a:lnTo>
                <a:lnTo>
                  <a:pt x="82431" y="79378"/>
                </a:lnTo>
                <a:lnTo>
                  <a:pt x="82431" y="79378"/>
                </a:lnTo>
                <a:close/>
              </a:path>
            </a:pathLst>
          </a:custGeom>
          <a:solidFill>
            <a:srgbClr val="00679A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9903" name="任意多边形: 形状 9902">
            <a:extLst>
              <a:ext uri="{FF2B5EF4-FFF2-40B4-BE49-F238E27FC236}">
                <a16:creationId xmlns:a16="http://schemas.microsoft.com/office/drawing/2014/main" id="{407AFAA4-9580-4316-AAC2-04711790E0CE}"/>
              </a:ext>
            </a:extLst>
          </p:cNvPr>
          <p:cNvSpPr/>
          <p:nvPr userDrawn="1"/>
        </p:nvSpPr>
        <p:spPr>
          <a:xfrm>
            <a:off x="2687464" y="5138894"/>
            <a:ext cx="194670" cy="97335"/>
          </a:xfrm>
          <a:custGeom>
            <a:avLst/>
            <a:gdLst>
              <a:gd name="connsiteX0" fmla="*/ 82431 w 199831"/>
              <a:gd name="connsiteY0" fmla="*/ 74937 h 99915"/>
              <a:gd name="connsiteX1" fmla="*/ 82431 w 199831"/>
              <a:gd name="connsiteY1" fmla="*/ 74937 h 99915"/>
              <a:gd name="connsiteX2" fmla="*/ 82431 w 199831"/>
              <a:gd name="connsiteY2" fmla="*/ 74937 h 99915"/>
              <a:gd name="connsiteX3" fmla="*/ 82431 w 199831"/>
              <a:gd name="connsiteY3" fmla="*/ 74937 h 99915"/>
              <a:gd name="connsiteX4" fmla="*/ 82431 w 199831"/>
              <a:gd name="connsiteY4" fmla="*/ 74937 h 99915"/>
              <a:gd name="connsiteX5" fmla="*/ 152372 w 199831"/>
              <a:gd name="connsiteY5" fmla="*/ 74937 h 99915"/>
              <a:gd name="connsiteX6" fmla="*/ 152372 w 199831"/>
              <a:gd name="connsiteY6" fmla="*/ 74937 h 99915"/>
              <a:gd name="connsiteX7" fmla="*/ 152372 w 199831"/>
              <a:gd name="connsiteY7" fmla="*/ 74937 h 99915"/>
              <a:gd name="connsiteX8" fmla="*/ 152372 w 199831"/>
              <a:gd name="connsiteY8" fmla="*/ 74937 h 99915"/>
              <a:gd name="connsiteX9" fmla="*/ 152372 w 199831"/>
              <a:gd name="connsiteY9" fmla="*/ 74937 h 99915"/>
              <a:gd name="connsiteX10" fmla="*/ 82431 w 199831"/>
              <a:gd name="connsiteY10" fmla="*/ 74937 h 99915"/>
              <a:gd name="connsiteX11" fmla="*/ 82431 w 199831"/>
              <a:gd name="connsiteY11" fmla="*/ 74937 h 999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99831" h="99915">
                <a:moveTo>
                  <a:pt x="82431" y="74937"/>
                </a:moveTo>
                <a:cubicBezTo>
                  <a:pt x="72439" y="74937"/>
                  <a:pt x="72439" y="74937"/>
                  <a:pt x="82431" y="74937"/>
                </a:cubicBezTo>
                <a:lnTo>
                  <a:pt x="82431" y="74937"/>
                </a:lnTo>
                <a:cubicBezTo>
                  <a:pt x="72439" y="74937"/>
                  <a:pt x="72439" y="74937"/>
                  <a:pt x="82431" y="74937"/>
                </a:cubicBezTo>
                <a:lnTo>
                  <a:pt x="82431" y="74937"/>
                </a:lnTo>
                <a:lnTo>
                  <a:pt x="152372" y="74937"/>
                </a:lnTo>
                <a:cubicBezTo>
                  <a:pt x="152372" y="74937"/>
                  <a:pt x="152372" y="74937"/>
                  <a:pt x="152372" y="74937"/>
                </a:cubicBezTo>
                <a:lnTo>
                  <a:pt x="152372" y="74937"/>
                </a:lnTo>
                <a:cubicBezTo>
                  <a:pt x="152372" y="74937"/>
                  <a:pt x="152372" y="74937"/>
                  <a:pt x="152372" y="74937"/>
                </a:cubicBezTo>
                <a:lnTo>
                  <a:pt x="152372" y="74937"/>
                </a:lnTo>
                <a:lnTo>
                  <a:pt x="82431" y="74937"/>
                </a:lnTo>
                <a:lnTo>
                  <a:pt x="82431" y="74937"/>
                </a:lnTo>
                <a:close/>
              </a:path>
            </a:pathLst>
          </a:custGeom>
          <a:solidFill>
            <a:srgbClr val="00679A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9904" name="任意多边形: 形状 9903">
            <a:extLst>
              <a:ext uri="{FF2B5EF4-FFF2-40B4-BE49-F238E27FC236}">
                <a16:creationId xmlns:a16="http://schemas.microsoft.com/office/drawing/2014/main" id="{72898835-0EF5-47DE-8AEF-B8AF7A2B3E8D}"/>
              </a:ext>
            </a:extLst>
          </p:cNvPr>
          <p:cNvSpPr/>
          <p:nvPr userDrawn="1"/>
        </p:nvSpPr>
        <p:spPr>
          <a:xfrm>
            <a:off x="2687464" y="5177828"/>
            <a:ext cx="194670" cy="97335"/>
          </a:xfrm>
          <a:custGeom>
            <a:avLst/>
            <a:gdLst>
              <a:gd name="connsiteX0" fmla="*/ 82431 w 199831"/>
              <a:gd name="connsiteY0" fmla="*/ 74937 h 99915"/>
              <a:gd name="connsiteX1" fmla="*/ 82431 w 199831"/>
              <a:gd name="connsiteY1" fmla="*/ 74937 h 99915"/>
              <a:gd name="connsiteX2" fmla="*/ 82431 w 199831"/>
              <a:gd name="connsiteY2" fmla="*/ 74937 h 99915"/>
              <a:gd name="connsiteX3" fmla="*/ 82431 w 199831"/>
              <a:gd name="connsiteY3" fmla="*/ 74937 h 99915"/>
              <a:gd name="connsiteX4" fmla="*/ 82431 w 199831"/>
              <a:gd name="connsiteY4" fmla="*/ 74937 h 99915"/>
              <a:gd name="connsiteX5" fmla="*/ 152372 w 199831"/>
              <a:gd name="connsiteY5" fmla="*/ 74937 h 99915"/>
              <a:gd name="connsiteX6" fmla="*/ 152372 w 199831"/>
              <a:gd name="connsiteY6" fmla="*/ 74937 h 99915"/>
              <a:gd name="connsiteX7" fmla="*/ 152372 w 199831"/>
              <a:gd name="connsiteY7" fmla="*/ 74937 h 99915"/>
              <a:gd name="connsiteX8" fmla="*/ 152372 w 199831"/>
              <a:gd name="connsiteY8" fmla="*/ 74937 h 99915"/>
              <a:gd name="connsiteX9" fmla="*/ 152372 w 199831"/>
              <a:gd name="connsiteY9" fmla="*/ 74937 h 99915"/>
              <a:gd name="connsiteX10" fmla="*/ 82431 w 199831"/>
              <a:gd name="connsiteY10" fmla="*/ 74937 h 99915"/>
              <a:gd name="connsiteX11" fmla="*/ 82431 w 199831"/>
              <a:gd name="connsiteY11" fmla="*/ 74937 h 999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99831" h="99915">
                <a:moveTo>
                  <a:pt x="82431" y="74937"/>
                </a:moveTo>
                <a:cubicBezTo>
                  <a:pt x="82431" y="74937"/>
                  <a:pt x="72439" y="74937"/>
                  <a:pt x="82431" y="74937"/>
                </a:cubicBezTo>
                <a:lnTo>
                  <a:pt x="82431" y="74937"/>
                </a:lnTo>
                <a:cubicBezTo>
                  <a:pt x="72439" y="74937"/>
                  <a:pt x="72439" y="74937"/>
                  <a:pt x="82431" y="74937"/>
                </a:cubicBezTo>
                <a:lnTo>
                  <a:pt x="82431" y="74937"/>
                </a:lnTo>
                <a:lnTo>
                  <a:pt x="152372" y="74937"/>
                </a:lnTo>
                <a:cubicBezTo>
                  <a:pt x="152372" y="74937"/>
                  <a:pt x="152372" y="74937"/>
                  <a:pt x="152372" y="74937"/>
                </a:cubicBezTo>
                <a:lnTo>
                  <a:pt x="152372" y="74937"/>
                </a:lnTo>
                <a:cubicBezTo>
                  <a:pt x="152372" y="74937"/>
                  <a:pt x="152372" y="74937"/>
                  <a:pt x="152372" y="74937"/>
                </a:cubicBezTo>
                <a:lnTo>
                  <a:pt x="152372" y="74937"/>
                </a:lnTo>
                <a:lnTo>
                  <a:pt x="82431" y="74937"/>
                </a:lnTo>
                <a:lnTo>
                  <a:pt x="82431" y="74937"/>
                </a:lnTo>
                <a:close/>
              </a:path>
            </a:pathLst>
          </a:custGeom>
          <a:solidFill>
            <a:srgbClr val="00679A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9905" name="任意多边形: 形状 9904">
            <a:extLst>
              <a:ext uri="{FF2B5EF4-FFF2-40B4-BE49-F238E27FC236}">
                <a16:creationId xmlns:a16="http://schemas.microsoft.com/office/drawing/2014/main" id="{EF89F7BF-9CC0-4CC1-B8D9-0FB1E4DAF885}"/>
              </a:ext>
            </a:extLst>
          </p:cNvPr>
          <p:cNvSpPr/>
          <p:nvPr userDrawn="1"/>
        </p:nvSpPr>
        <p:spPr>
          <a:xfrm>
            <a:off x="2690439" y="5219195"/>
            <a:ext cx="194670" cy="97335"/>
          </a:xfrm>
          <a:custGeom>
            <a:avLst/>
            <a:gdLst>
              <a:gd name="connsiteX0" fmla="*/ 79378 w 199831"/>
              <a:gd name="connsiteY0" fmla="*/ 82430 h 99915"/>
              <a:gd name="connsiteX1" fmla="*/ 79378 w 199831"/>
              <a:gd name="connsiteY1" fmla="*/ 82430 h 99915"/>
              <a:gd name="connsiteX2" fmla="*/ 79378 w 199831"/>
              <a:gd name="connsiteY2" fmla="*/ 82430 h 99915"/>
              <a:gd name="connsiteX3" fmla="*/ 79378 w 199831"/>
              <a:gd name="connsiteY3" fmla="*/ 82430 h 99915"/>
              <a:gd name="connsiteX4" fmla="*/ 79378 w 199831"/>
              <a:gd name="connsiteY4" fmla="*/ 82430 h 99915"/>
              <a:gd name="connsiteX5" fmla="*/ 149319 w 199831"/>
              <a:gd name="connsiteY5" fmla="*/ 82430 h 99915"/>
              <a:gd name="connsiteX6" fmla="*/ 149319 w 199831"/>
              <a:gd name="connsiteY6" fmla="*/ 82430 h 99915"/>
              <a:gd name="connsiteX7" fmla="*/ 149319 w 199831"/>
              <a:gd name="connsiteY7" fmla="*/ 82430 h 99915"/>
              <a:gd name="connsiteX8" fmla="*/ 149319 w 199831"/>
              <a:gd name="connsiteY8" fmla="*/ 82430 h 99915"/>
              <a:gd name="connsiteX9" fmla="*/ 149319 w 199831"/>
              <a:gd name="connsiteY9" fmla="*/ 82430 h 99915"/>
              <a:gd name="connsiteX10" fmla="*/ 79378 w 199831"/>
              <a:gd name="connsiteY10" fmla="*/ 82430 h 99915"/>
              <a:gd name="connsiteX11" fmla="*/ 79378 w 199831"/>
              <a:gd name="connsiteY11" fmla="*/ 82430 h 999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99831" h="99915">
                <a:moveTo>
                  <a:pt x="79378" y="82430"/>
                </a:moveTo>
                <a:cubicBezTo>
                  <a:pt x="79378" y="82430"/>
                  <a:pt x="69386" y="82430"/>
                  <a:pt x="79378" y="82430"/>
                </a:cubicBezTo>
                <a:lnTo>
                  <a:pt x="79378" y="82430"/>
                </a:lnTo>
                <a:cubicBezTo>
                  <a:pt x="69386" y="72439"/>
                  <a:pt x="79378" y="72439"/>
                  <a:pt x="79378" y="82430"/>
                </a:cubicBezTo>
                <a:lnTo>
                  <a:pt x="79378" y="82430"/>
                </a:lnTo>
                <a:lnTo>
                  <a:pt x="149319" y="82430"/>
                </a:lnTo>
                <a:cubicBezTo>
                  <a:pt x="149319" y="82430"/>
                  <a:pt x="149319" y="82430"/>
                  <a:pt x="149319" y="82430"/>
                </a:cubicBezTo>
                <a:lnTo>
                  <a:pt x="149319" y="82430"/>
                </a:lnTo>
                <a:cubicBezTo>
                  <a:pt x="149319" y="82430"/>
                  <a:pt x="149319" y="82430"/>
                  <a:pt x="149319" y="82430"/>
                </a:cubicBezTo>
                <a:lnTo>
                  <a:pt x="149319" y="82430"/>
                </a:lnTo>
                <a:lnTo>
                  <a:pt x="79378" y="82430"/>
                </a:lnTo>
                <a:lnTo>
                  <a:pt x="79378" y="82430"/>
                </a:lnTo>
                <a:close/>
              </a:path>
            </a:pathLst>
          </a:custGeom>
          <a:solidFill>
            <a:srgbClr val="00679A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9906" name="任意多边形: 形状 9905">
            <a:extLst>
              <a:ext uri="{FF2B5EF4-FFF2-40B4-BE49-F238E27FC236}">
                <a16:creationId xmlns:a16="http://schemas.microsoft.com/office/drawing/2014/main" id="{2C9A74B5-A560-4232-A71C-86A89A170268}"/>
              </a:ext>
            </a:extLst>
          </p:cNvPr>
          <p:cNvSpPr/>
          <p:nvPr userDrawn="1"/>
        </p:nvSpPr>
        <p:spPr>
          <a:xfrm>
            <a:off x="2879701" y="4846887"/>
            <a:ext cx="97335" cy="97335"/>
          </a:xfrm>
          <a:custGeom>
            <a:avLst/>
            <a:gdLst>
              <a:gd name="connsiteX0" fmla="*/ 74937 w 99915"/>
              <a:gd name="connsiteY0" fmla="*/ 94920 h 99915"/>
              <a:gd name="connsiteX1" fmla="*/ 74937 w 99915"/>
              <a:gd name="connsiteY1" fmla="*/ 74937 h 99915"/>
              <a:gd name="connsiteX2" fmla="*/ 74937 w 99915"/>
              <a:gd name="connsiteY2" fmla="*/ 84929 h 99915"/>
              <a:gd name="connsiteX3" fmla="*/ 74937 w 99915"/>
              <a:gd name="connsiteY3" fmla="*/ 84929 h 99915"/>
              <a:gd name="connsiteX4" fmla="*/ 84928 w 99915"/>
              <a:gd name="connsiteY4" fmla="*/ 74937 h 99915"/>
              <a:gd name="connsiteX5" fmla="*/ 84928 w 99915"/>
              <a:gd name="connsiteY5" fmla="*/ 74937 h 99915"/>
              <a:gd name="connsiteX6" fmla="*/ 74937 w 99915"/>
              <a:gd name="connsiteY6" fmla="*/ 94920 h 99915"/>
              <a:gd name="connsiteX7" fmla="*/ 74937 w 99915"/>
              <a:gd name="connsiteY7" fmla="*/ 94920 h 999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9915" h="99915">
                <a:moveTo>
                  <a:pt x="74937" y="94920"/>
                </a:moveTo>
                <a:lnTo>
                  <a:pt x="74937" y="74937"/>
                </a:lnTo>
                <a:lnTo>
                  <a:pt x="74937" y="84929"/>
                </a:lnTo>
                <a:lnTo>
                  <a:pt x="74937" y="84929"/>
                </a:lnTo>
                <a:lnTo>
                  <a:pt x="84928" y="74937"/>
                </a:lnTo>
                <a:lnTo>
                  <a:pt x="84928" y="74937"/>
                </a:lnTo>
                <a:lnTo>
                  <a:pt x="74937" y="94920"/>
                </a:lnTo>
                <a:lnTo>
                  <a:pt x="74937" y="94920"/>
                </a:lnTo>
                <a:close/>
              </a:path>
            </a:pathLst>
          </a:custGeom>
          <a:solidFill>
            <a:srgbClr val="00679A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9907" name="任意多边形: 形状 9906">
            <a:extLst>
              <a:ext uri="{FF2B5EF4-FFF2-40B4-BE49-F238E27FC236}">
                <a16:creationId xmlns:a16="http://schemas.microsoft.com/office/drawing/2014/main" id="{E08CF87B-0164-47E6-B64B-38605925F853}"/>
              </a:ext>
            </a:extLst>
          </p:cNvPr>
          <p:cNvSpPr/>
          <p:nvPr userDrawn="1"/>
        </p:nvSpPr>
        <p:spPr>
          <a:xfrm>
            <a:off x="2869968" y="5041559"/>
            <a:ext cx="97335" cy="97335"/>
          </a:xfrm>
          <a:custGeom>
            <a:avLst/>
            <a:gdLst>
              <a:gd name="connsiteX0" fmla="*/ 74937 w 99915"/>
              <a:gd name="connsiteY0" fmla="*/ 84929 h 99915"/>
              <a:gd name="connsiteX1" fmla="*/ 84929 w 99915"/>
              <a:gd name="connsiteY1" fmla="*/ 74937 h 99915"/>
              <a:gd name="connsiteX2" fmla="*/ 94920 w 99915"/>
              <a:gd name="connsiteY2" fmla="*/ 94920 h 99915"/>
              <a:gd name="connsiteX3" fmla="*/ 84929 w 99915"/>
              <a:gd name="connsiteY3" fmla="*/ 104912 h 99915"/>
              <a:gd name="connsiteX4" fmla="*/ 104912 w 99915"/>
              <a:gd name="connsiteY4" fmla="*/ 104912 h 99915"/>
              <a:gd name="connsiteX5" fmla="*/ 104912 w 99915"/>
              <a:gd name="connsiteY5" fmla="*/ 104912 h 99915"/>
              <a:gd name="connsiteX6" fmla="*/ 84929 w 99915"/>
              <a:gd name="connsiteY6" fmla="*/ 104912 h 99915"/>
              <a:gd name="connsiteX7" fmla="*/ 84929 w 99915"/>
              <a:gd name="connsiteY7" fmla="*/ 104912 h 99915"/>
              <a:gd name="connsiteX8" fmla="*/ 104912 w 99915"/>
              <a:gd name="connsiteY8" fmla="*/ 94920 h 99915"/>
              <a:gd name="connsiteX9" fmla="*/ 104912 w 99915"/>
              <a:gd name="connsiteY9" fmla="*/ 94920 h 99915"/>
              <a:gd name="connsiteX10" fmla="*/ 104912 w 99915"/>
              <a:gd name="connsiteY10" fmla="*/ 84929 h 99915"/>
              <a:gd name="connsiteX11" fmla="*/ 74937 w 99915"/>
              <a:gd name="connsiteY11" fmla="*/ 84929 h 99915"/>
              <a:gd name="connsiteX12" fmla="*/ 74937 w 99915"/>
              <a:gd name="connsiteY12" fmla="*/ 84929 h 999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99915" h="99915">
                <a:moveTo>
                  <a:pt x="74937" y="84929"/>
                </a:moveTo>
                <a:cubicBezTo>
                  <a:pt x="74937" y="74937"/>
                  <a:pt x="74937" y="74937"/>
                  <a:pt x="84929" y="74937"/>
                </a:cubicBezTo>
                <a:cubicBezTo>
                  <a:pt x="94920" y="74937"/>
                  <a:pt x="104912" y="84929"/>
                  <a:pt x="94920" y="94920"/>
                </a:cubicBezTo>
                <a:cubicBezTo>
                  <a:pt x="94920" y="94920"/>
                  <a:pt x="84929" y="94920"/>
                  <a:pt x="84929" y="104912"/>
                </a:cubicBezTo>
                <a:lnTo>
                  <a:pt x="104912" y="104912"/>
                </a:lnTo>
                <a:lnTo>
                  <a:pt x="104912" y="104912"/>
                </a:lnTo>
                <a:lnTo>
                  <a:pt x="84929" y="104912"/>
                </a:lnTo>
                <a:lnTo>
                  <a:pt x="84929" y="104912"/>
                </a:lnTo>
                <a:lnTo>
                  <a:pt x="104912" y="94920"/>
                </a:lnTo>
                <a:lnTo>
                  <a:pt x="104912" y="94920"/>
                </a:lnTo>
                <a:cubicBezTo>
                  <a:pt x="114903" y="94920"/>
                  <a:pt x="104912" y="84929"/>
                  <a:pt x="104912" y="84929"/>
                </a:cubicBezTo>
                <a:cubicBezTo>
                  <a:pt x="84929" y="74937"/>
                  <a:pt x="84929" y="84929"/>
                  <a:pt x="74937" y="84929"/>
                </a:cubicBezTo>
                <a:lnTo>
                  <a:pt x="74937" y="84929"/>
                </a:lnTo>
                <a:close/>
              </a:path>
            </a:pathLst>
          </a:custGeom>
          <a:solidFill>
            <a:srgbClr val="00679A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9908" name="任意多边形: 形状 9907">
            <a:extLst>
              <a:ext uri="{FF2B5EF4-FFF2-40B4-BE49-F238E27FC236}">
                <a16:creationId xmlns:a16="http://schemas.microsoft.com/office/drawing/2014/main" id="{D57C15F6-C188-4E5B-A33D-310FB690E76F}"/>
              </a:ext>
            </a:extLst>
          </p:cNvPr>
          <p:cNvSpPr/>
          <p:nvPr userDrawn="1"/>
        </p:nvSpPr>
        <p:spPr>
          <a:xfrm>
            <a:off x="2872402" y="5245962"/>
            <a:ext cx="97335" cy="97335"/>
          </a:xfrm>
          <a:custGeom>
            <a:avLst/>
            <a:gdLst>
              <a:gd name="connsiteX0" fmla="*/ 82431 w 99915"/>
              <a:gd name="connsiteY0" fmla="*/ 84929 h 99915"/>
              <a:gd name="connsiteX1" fmla="*/ 82431 w 99915"/>
              <a:gd name="connsiteY1" fmla="*/ 84929 h 99915"/>
              <a:gd name="connsiteX2" fmla="*/ 92422 w 99915"/>
              <a:gd name="connsiteY2" fmla="*/ 84929 h 99915"/>
              <a:gd name="connsiteX3" fmla="*/ 82431 w 99915"/>
              <a:gd name="connsiteY3" fmla="*/ 84929 h 99915"/>
              <a:gd name="connsiteX4" fmla="*/ 82431 w 99915"/>
              <a:gd name="connsiteY4" fmla="*/ 84929 h 99915"/>
              <a:gd name="connsiteX5" fmla="*/ 82431 w 99915"/>
              <a:gd name="connsiteY5" fmla="*/ 84929 h 99915"/>
              <a:gd name="connsiteX6" fmla="*/ 82431 w 99915"/>
              <a:gd name="connsiteY6" fmla="*/ 74937 h 99915"/>
              <a:gd name="connsiteX7" fmla="*/ 92422 w 99915"/>
              <a:gd name="connsiteY7" fmla="*/ 84929 h 99915"/>
              <a:gd name="connsiteX8" fmla="*/ 92422 w 99915"/>
              <a:gd name="connsiteY8" fmla="*/ 94920 h 99915"/>
              <a:gd name="connsiteX9" fmla="*/ 92422 w 99915"/>
              <a:gd name="connsiteY9" fmla="*/ 104912 h 99915"/>
              <a:gd name="connsiteX10" fmla="*/ 82431 w 99915"/>
              <a:gd name="connsiteY10" fmla="*/ 114903 h 99915"/>
              <a:gd name="connsiteX11" fmla="*/ 82431 w 99915"/>
              <a:gd name="connsiteY11" fmla="*/ 84929 h 99915"/>
              <a:gd name="connsiteX12" fmla="*/ 82431 w 99915"/>
              <a:gd name="connsiteY12" fmla="*/ 84929 h 99915"/>
              <a:gd name="connsiteX13" fmla="*/ 82431 w 99915"/>
              <a:gd name="connsiteY13" fmla="*/ 94920 h 99915"/>
              <a:gd name="connsiteX14" fmla="*/ 92422 w 99915"/>
              <a:gd name="connsiteY14" fmla="*/ 94920 h 99915"/>
              <a:gd name="connsiteX15" fmla="*/ 82431 w 99915"/>
              <a:gd name="connsiteY15" fmla="*/ 84929 h 99915"/>
              <a:gd name="connsiteX16" fmla="*/ 82431 w 99915"/>
              <a:gd name="connsiteY16" fmla="*/ 84929 h 99915"/>
              <a:gd name="connsiteX17" fmla="*/ 82431 w 99915"/>
              <a:gd name="connsiteY17" fmla="*/ 84929 h 999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99915" h="99915">
                <a:moveTo>
                  <a:pt x="82431" y="84929"/>
                </a:moveTo>
                <a:lnTo>
                  <a:pt x="82431" y="84929"/>
                </a:lnTo>
                <a:cubicBezTo>
                  <a:pt x="92422" y="84929"/>
                  <a:pt x="92422" y="84929"/>
                  <a:pt x="92422" y="84929"/>
                </a:cubicBezTo>
                <a:cubicBezTo>
                  <a:pt x="92422" y="74937"/>
                  <a:pt x="92422" y="74937"/>
                  <a:pt x="82431" y="84929"/>
                </a:cubicBezTo>
                <a:cubicBezTo>
                  <a:pt x="82431" y="74937"/>
                  <a:pt x="82431" y="74937"/>
                  <a:pt x="82431" y="84929"/>
                </a:cubicBezTo>
                <a:lnTo>
                  <a:pt x="82431" y="84929"/>
                </a:lnTo>
                <a:cubicBezTo>
                  <a:pt x="72439" y="74937"/>
                  <a:pt x="82431" y="74937"/>
                  <a:pt x="82431" y="74937"/>
                </a:cubicBezTo>
                <a:cubicBezTo>
                  <a:pt x="92422" y="74937"/>
                  <a:pt x="92422" y="74937"/>
                  <a:pt x="92422" y="84929"/>
                </a:cubicBezTo>
                <a:cubicBezTo>
                  <a:pt x="92422" y="84929"/>
                  <a:pt x="92422" y="84929"/>
                  <a:pt x="92422" y="94920"/>
                </a:cubicBezTo>
                <a:cubicBezTo>
                  <a:pt x="92422" y="94920"/>
                  <a:pt x="92422" y="94920"/>
                  <a:pt x="92422" y="104912"/>
                </a:cubicBezTo>
                <a:cubicBezTo>
                  <a:pt x="92422" y="104912"/>
                  <a:pt x="92422" y="114903"/>
                  <a:pt x="82431" y="114903"/>
                </a:cubicBezTo>
                <a:cubicBezTo>
                  <a:pt x="72439" y="104912"/>
                  <a:pt x="72439" y="94920"/>
                  <a:pt x="82431" y="84929"/>
                </a:cubicBezTo>
                <a:lnTo>
                  <a:pt x="82431" y="84929"/>
                </a:lnTo>
                <a:cubicBezTo>
                  <a:pt x="82431" y="94920"/>
                  <a:pt x="82431" y="94920"/>
                  <a:pt x="82431" y="94920"/>
                </a:cubicBezTo>
                <a:cubicBezTo>
                  <a:pt x="92422" y="94920"/>
                  <a:pt x="92422" y="94920"/>
                  <a:pt x="92422" y="94920"/>
                </a:cubicBezTo>
                <a:cubicBezTo>
                  <a:pt x="92422" y="94920"/>
                  <a:pt x="92422" y="84929"/>
                  <a:pt x="82431" y="84929"/>
                </a:cubicBezTo>
                <a:lnTo>
                  <a:pt x="82431" y="84929"/>
                </a:lnTo>
                <a:lnTo>
                  <a:pt x="82431" y="84929"/>
                </a:lnTo>
                <a:close/>
              </a:path>
            </a:pathLst>
          </a:custGeom>
          <a:solidFill>
            <a:srgbClr val="00679A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9909" name="任意多边形: 形状 9908">
            <a:extLst>
              <a:ext uri="{FF2B5EF4-FFF2-40B4-BE49-F238E27FC236}">
                <a16:creationId xmlns:a16="http://schemas.microsoft.com/office/drawing/2014/main" id="{E1FAF4F4-D3D5-4E5E-81BA-CA74FE720016}"/>
              </a:ext>
            </a:extLst>
          </p:cNvPr>
          <p:cNvSpPr/>
          <p:nvPr userDrawn="1"/>
        </p:nvSpPr>
        <p:spPr>
          <a:xfrm>
            <a:off x="2548762" y="5946776"/>
            <a:ext cx="584011" cy="194670"/>
          </a:xfrm>
          <a:custGeom>
            <a:avLst/>
            <a:gdLst>
              <a:gd name="connsiteX0" fmla="*/ 74937 w 599495"/>
              <a:gd name="connsiteY0" fmla="*/ 104912 h 199831"/>
              <a:gd name="connsiteX1" fmla="*/ 324727 w 599495"/>
              <a:gd name="connsiteY1" fmla="*/ 134886 h 199831"/>
              <a:gd name="connsiteX2" fmla="*/ 574516 w 599495"/>
              <a:gd name="connsiteY2" fmla="*/ 104912 h 199831"/>
              <a:gd name="connsiteX3" fmla="*/ 324727 w 599495"/>
              <a:gd name="connsiteY3" fmla="*/ 74937 h 199831"/>
              <a:gd name="connsiteX4" fmla="*/ 74937 w 599495"/>
              <a:gd name="connsiteY4" fmla="*/ 104912 h 199831"/>
              <a:gd name="connsiteX5" fmla="*/ 194836 w 599495"/>
              <a:gd name="connsiteY5" fmla="*/ 94920 h 199831"/>
              <a:gd name="connsiteX6" fmla="*/ 324727 w 599495"/>
              <a:gd name="connsiteY6" fmla="*/ 84928 h 199831"/>
              <a:gd name="connsiteX7" fmla="*/ 454617 w 599495"/>
              <a:gd name="connsiteY7" fmla="*/ 94920 h 199831"/>
              <a:gd name="connsiteX8" fmla="*/ 324727 w 599495"/>
              <a:gd name="connsiteY8" fmla="*/ 104912 h 199831"/>
              <a:gd name="connsiteX9" fmla="*/ 194836 w 599495"/>
              <a:gd name="connsiteY9" fmla="*/ 94920 h 1998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599495" h="199831">
                <a:moveTo>
                  <a:pt x="74937" y="104912"/>
                </a:moveTo>
                <a:cubicBezTo>
                  <a:pt x="74937" y="114903"/>
                  <a:pt x="184844" y="134886"/>
                  <a:pt x="324727" y="134886"/>
                </a:cubicBezTo>
                <a:cubicBezTo>
                  <a:pt x="464609" y="134886"/>
                  <a:pt x="574516" y="124895"/>
                  <a:pt x="574516" y="104912"/>
                </a:cubicBezTo>
                <a:cubicBezTo>
                  <a:pt x="574516" y="84928"/>
                  <a:pt x="464609" y="74937"/>
                  <a:pt x="324727" y="74937"/>
                </a:cubicBezTo>
                <a:cubicBezTo>
                  <a:pt x="184844" y="74937"/>
                  <a:pt x="74937" y="84928"/>
                  <a:pt x="74937" y="104912"/>
                </a:cubicBezTo>
                <a:close/>
                <a:moveTo>
                  <a:pt x="194836" y="94920"/>
                </a:moveTo>
                <a:cubicBezTo>
                  <a:pt x="194836" y="84928"/>
                  <a:pt x="254785" y="84928"/>
                  <a:pt x="324727" y="84928"/>
                </a:cubicBezTo>
                <a:cubicBezTo>
                  <a:pt x="394668" y="84928"/>
                  <a:pt x="454617" y="84928"/>
                  <a:pt x="454617" y="94920"/>
                </a:cubicBezTo>
                <a:cubicBezTo>
                  <a:pt x="454617" y="104912"/>
                  <a:pt x="394668" y="104912"/>
                  <a:pt x="324727" y="104912"/>
                </a:cubicBezTo>
                <a:cubicBezTo>
                  <a:pt x="254785" y="114903"/>
                  <a:pt x="194836" y="104912"/>
                  <a:pt x="194836" y="94920"/>
                </a:cubicBezTo>
                <a:close/>
              </a:path>
            </a:pathLst>
          </a:custGeom>
          <a:solidFill>
            <a:srgbClr val="00679A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9910" name="任意多边形: 形状 9909">
            <a:extLst>
              <a:ext uri="{FF2B5EF4-FFF2-40B4-BE49-F238E27FC236}">
                <a16:creationId xmlns:a16="http://schemas.microsoft.com/office/drawing/2014/main" id="{9489CF18-35E1-4F67-8F92-3E0BB45C47B6}"/>
              </a:ext>
            </a:extLst>
          </p:cNvPr>
          <p:cNvSpPr/>
          <p:nvPr userDrawn="1"/>
        </p:nvSpPr>
        <p:spPr>
          <a:xfrm>
            <a:off x="2548762" y="5966242"/>
            <a:ext cx="584011" cy="194670"/>
          </a:xfrm>
          <a:custGeom>
            <a:avLst/>
            <a:gdLst>
              <a:gd name="connsiteX0" fmla="*/ 324727 w 599495"/>
              <a:gd name="connsiteY0" fmla="*/ 104912 h 199831"/>
              <a:gd name="connsiteX1" fmla="*/ 74937 w 599495"/>
              <a:gd name="connsiteY1" fmla="*/ 74937 h 199831"/>
              <a:gd name="connsiteX2" fmla="*/ 74937 w 599495"/>
              <a:gd name="connsiteY2" fmla="*/ 104912 h 199831"/>
              <a:gd name="connsiteX3" fmla="*/ 74937 w 599495"/>
              <a:gd name="connsiteY3" fmla="*/ 104912 h 199831"/>
              <a:gd name="connsiteX4" fmla="*/ 74937 w 599495"/>
              <a:gd name="connsiteY4" fmla="*/ 104912 h 199831"/>
              <a:gd name="connsiteX5" fmla="*/ 74937 w 599495"/>
              <a:gd name="connsiteY5" fmla="*/ 104912 h 199831"/>
              <a:gd name="connsiteX6" fmla="*/ 74937 w 599495"/>
              <a:gd name="connsiteY6" fmla="*/ 104912 h 199831"/>
              <a:gd name="connsiteX7" fmla="*/ 324727 w 599495"/>
              <a:gd name="connsiteY7" fmla="*/ 134886 h 199831"/>
              <a:gd name="connsiteX8" fmla="*/ 574516 w 599495"/>
              <a:gd name="connsiteY8" fmla="*/ 104912 h 199831"/>
              <a:gd name="connsiteX9" fmla="*/ 574516 w 599495"/>
              <a:gd name="connsiteY9" fmla="*/ 104912 h 199831"/>
              <a:gd name="connsiteX10" fmla="*/ 574516 w 599495"/>
              <a:gd name="connsiteY10" fmla="*/ 84929 h 199831"/>
              <a:gd name="connsiteX11" fmla="*/ 324727 w 599495"/>
              <a:gd name="connsiteY11" fmla="*/ 104912 h 199831"/>
              <a:gd name="connsiteX12" fmla="*/ 74937 w 599495"/>
              <a:gd name="connsiteY12" fmla="*/ 84929 h 199831"/>
              <a:gd name="connsiteX13" fmla="*/ 74937 w 599495"/>
              <a:gd name="connsiteY13" fmla="*/ 84929 h 199831"/>
              <a:gd name="connsiteX14" fmla="*/ 74937 w 599495"/>
              <a:gd name="connsiteY14" fmla="*/ 84929 h 199831"/>
              <a:gd name="connsiteX15" fmla="*/ 74937 w 599495"/>
              <a:gd name="connsiteY15" fmla="*/ 84929 h 199831"/>
              <a:gd name="connsiteX16" fmla="*/ 74937 w 599495"/>
              <a:gd name="connsiteY16" fmla="*/ 84929 h 199831"/>
              <a:gd name="connsiteX17" fmla="*/ 74937 w 599495"/>
              <a:gd name="connsiteY17" fmla="*/ 84929 h 199831"/>
              <a:gd name="connsiteX18" fmla="*/ 74937 w 599495"/>
              <a:gd name="connsiteY18" fmla="*/ 84929 h 199831"/>
              <a:gd name="connsiteX19" fmla="*/ 74937 w 599495"/>
              <a:gd name="connsiteY19" fmla="*/ 84929 h 1998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599495" h="199831">
                <a:moveTo>
                  <a:pt x="324727" y="104912"/>
                </a:moveTo>
                <a:cubicBezTo>
                  <a:pt x="184844" y="104912"/>
                  <a:pt x="74937" y="94920"/>
                  <a:pt x="74937" y="74937"/>
                </a:cubicBezTo>
                <a:lnTo>
                  <a:pt x="74937" y="104912"/>
                </a:lnTo>
                <a:lnTo>
                  <a:pt x="74937" y="104912"/>
                </a:lnTo>
                <a:cubicBezTo>
                  <a:pt x="74937" y="104912"/>
                  <a:pt x="74937" y="104912"/>
                  <a:pt x="74937" y="104912"/>
                </a:cubicBezTo>
                <a:lnTo>
                  <a:pt x="74937" y="104912"/>
                </a:lnTo>
                <a:lnTo>
                  <a:pt x="74937" y="104912"/>
                </a:lnTo>
                <a:cubicBezTo>
                  <a:pt x="74937" y="124895"/>
                  <a:pt x="184844" y="134886"/>
                  <a:pt x="324727" y="134886"/>
                </a:cubicBezTo>
                <a:cubicBezTo>
                  <a:pt x="464609" y="134886"/>
                  <a:pt x="564525" y="124895"/>
                  <a:pt x="574516" y="104912"/>
                </a:cubicBezTo>
                <a:lnTo>
                  <a:pt x="574516" y="104912"/>
                </a:lnTo>
                <a:lnTo>
                  <a:pt x="574516" y="84929"/>
                </a:lnTo>
                <a:cubicBezTo>
                  <a:pt x="564525" y="94920"/>
                  <a:pt x="454617" y="104912"/>
                  <a:pt x="324727" y="104912"/>
                </a:cubicBezTo>
                <a:close/>
                <a:moveTo>
                  <a:pt x="74937" y="84929"/>
                </a:moveTo>
                <a:lnTo>
                  <a:pt x="74937" y="84929"/>
                </a:lnTo>
                <a:cubicBezTo>
                  <a:pt x="74937" y="84929"/>
                  <a:pt x="74937" y="84929"/>
                  <a:pt x="74937" y="84929"/>
                </a:cubicBezTo>
                <a:lnTo>
                  <a:pt x="74937" y="84929"/>
                </a:lnTo>
                <a:close/>
                <a:moveTo>
                  <a:pt x="74937" y="84929"/>
                </a:moveTo>
                <a:lnTo>
                  <a:pt x="74937" y="84929"/>
                </a:lnTo>
                <a:lnTo>
                  <a:pt x="74937" y="84929"/>
                </a:lnTo>
                <a:lnTo>
                  <a:pt x="74937" y="84929"/>
                </a:lnTo>
                <a:close/>
              </a:path>
            </a:pathLst>
          </a:custGeom>
          <a:solidFill>
            <a:schemeClr val="accent6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9911" name="任意多边形: 形状 9910">
            <a:extLst>
              <a:ext uri="{FF2B5EF4-FFF2-40B4-BE49-F238E27FC236}">
                <a16:creationId xmlns:a16="http://schemas.microsoft.com/office/drawing/2014/main" id="{97F3EEFA-FA94-44DD-835E-AA705C712EDF}"/>
              </a:ext>
            </a:extLst>
          </p:cNvPr>
          <p:cNvSpPr/>
          <p:nvPr userDrawn="1"/>
        </p:nvSpPr>
        <p:spPr>
          <a:xfrm>
            <a:off x="2694764" y="5907842"/>
            <a:ext cx="194670" cy="194670"/>
          </a:xfrm>
          <a:custGeom>
            <a:avLst/>
            <a:gdLst>
              <a:gd name="connsiteX0" fmla="*/ 74937 w 199831"/>
              <a:gd name="connsiteY0" fmla="*/ 74937 h 199831"/>
              <a:gd name="connsiteX1" fmla="*/ 174853 w 199831"/>
              <a:gd name="connsiteY1" fmla="*/ 74937 h 199831"/>
              <a:gd name="connsiteX2" fmla="*/ 174853 w 199831"/>
              <a:gd name="connsiteY2" fmla="*/ 144878 h 199831"/>
              <a:gd name="connsiteX3" fmla="*/ 74937 w 199831"/>
              <a:gd name="connsiteY3" fmla="*/ 144878 h 1998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9831" h="199831">
                <a:moveTo>
                  <a:pt x="74937" y="74937"/>
                </a:moveTo>
                <a:lnTo>
                  <a:pt x="174853" y="74937"/>
                </a:lnTo>
                <a:lnTo>
                  <a:pt x="174853" y="144878"/>
                </a:lnTo>
                <a:lnTo>
                  <a:pt x="74937" y="144878"/>
                </a:lnTo>
                <a:close/>
              </a:path>
            </a:pathLst>
          </a:custGeom>
          <a:solidFill>
            <a:schemeClr val="accent6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9915" name="矩形 9914">
            <a:extLst>
              <a:ext uri="{FF2B5EF4-FFF2-40B4-BE49-F238E27FC236}">
                <a16:creationId xmlns:a16="http://schemas.microsoft.com/office/drawing/2014/main" id="{0289098F-CA36-402E-B0B9-611001B13CFD}"/>
              </a:ext>
            </a:extLst>
          </p:cNvPr>
          <p:cNvSpPr/>
          <p:nvPr userDrawn="1"/>
        </p:nvSpPr>
        <p:spPr>
          <a:xfrm>
            <a:off x="0" y="6373391"/>
            <a:ext cx="12192000" cy="484609"/>
          </a:xfrm>
          <a:prstGeom prst="rect">
            <a:avLst/>
          </a:prstGeom>
          <a:gradFill>
            <a:gsLst>
              <a:gs pos="0">
                <a:schemeClr val="accent5"/>
              </a:gs>
              <a:gs pos="100000">
                <a:schemeClr val="accent6">
                  <a:lumMod val="75000"/>
                </a:schemeClr>
              </a:gs>
              <a:gs pos="21000">
                <a:schemeClr val="accent6"/>
              </a:gs>
              <a:gs pos="70000">
                <a:schemeClr val="accent5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8825868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标题 1"/>
          <p:cNvSpPr>
            <a:spLocks noGrp="1"/>
          </p:cNvSpPr>
          <p:nvPr userDrawn="1">
            <p:ph type="title"/>
          </p:nvPr>
        </p:nvSpPr>
        <p:spPr>
          <a:xfrm>
            <a:off x="3002622" y="2657929"/>
            <a:ext cx="5419185" cy="895350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"/>
          <p:cNvSpPr>
            <a:spLocks noGrp="1"/>
          </p:cNvSpPr>
          <p:nvPr userDrawn="1">
            <p:ph type="body" idx="1"/>
          </p:nvPr>
        </p:nvSpPr>
        <p:spPr>
          <a:xfrm>
            <a:off x="3003738" y="3553279"/>
            <a:ext cx="5419185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00000"/>
              </a:lnSpc>
              <a:buNone/>
              <a:defRPr sz="1100">
                <a:solidFill>
                  <a:schemeClr val="tx1"/>
                </a:solidFill>
              </a:defRPr>
            </a:lvl1pPr>
            <a:lvl2pPr marL="45717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5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grpSp>
        <p:nvGrpSpPr>
          <p:cNvPr id="2" name="组合 1">
            <a:extLst>
              <a:ext uri="{FF2B5EF4-FFF2-40B4-BE49-F238E27FC236}">
                <a16:creationId xmlns:a16="http://schemas.microsoft.com/office/drawing/2014/main" id="{9EFAAEA9-C8EA-45BA-9826-956A04B2CB4E}"/>
              </a:ext>
            </a:extLst>
          </p:cNvPr>
          <p:cNvGrpSpPr/>
          <p:nvPr userDrawn="1"/>
        </p:nvGrpSpPr>
        <p:grpSpPr>
          <a:xfrm>
            <a:off x="8300358" y="1615456"/>
            <a:ext cx="3214828" cy="2953446"/>
            <a:chOff x="1775488" y="3250592"/>
            <a:chExt cx="3644659" cy="3348329"/>
          </a:xfrm>
        </p:grpSpPr>
        <p:sp>
          <p:nvSpPr>
            <p:cNvPr id="4" name="任意多边形: 形状 3">
              <a:extLst>
                <a:ext uri="{FF2B5EF4-FFF2-40B4-BE49-F238E27FC236}">
                  <a16:creationId xmlns:a16="http://schemas.microsoft.com/office/drawing/2014/main" id="{5598DAE6-621C-4B22-8502-0B4A9DA6D29B}"/>
                </a:ext>
              </a:extLst>
            </p:cNvPr>
            <p:cNvSpPr/>
            <p:nvPr userDrawn="1"/>
          </p:nvSpPr>
          <p:spPr>
            <a:xfrm>
              <a:off x="4816670" y="6345849"/>
              <a:ext cx="584011" cy="194670"/>
            </a:xfrm>
            <a:custGeom>
              <a:avLst/>
              <a:gdLst>
                <a:gd name="connsiteX0" fmla="*/ 554533 w 599495"/>
                <a:gd name="connsiteY0" fmla="*/ 124895 h 199831"/>
                <a:gd name="connsiteX1" fmla="*/ 314735 w 599495"/>
                <a:gd name="connsiteY1" fmla="*/ 174853 h 199831"/>
                <a:gd name="connsiteX2" fmla="*/ 74937 w 599495"/>
                <a:gd name="connsiteY2" fmla="*/ 124895 h 199831"/>
                <a:gd name="connsiteX3" fmla="*/ 314735 w 599495"/>
                <a:gd name="connsiteY3" fmla="*/ 74937 h 199831"/>
                <a:gd name="connsiteX4" fmla="*/ 554533 w 599495"/>
                <a:gd name="connsiteY4" fmla="*/ 124895 h 199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99495" h="199831">
                  <a:moveTo>
                    <a:pt x="554533" y="124895"/>
                  </a:moveTo>
                  <a:cubicBezTo>
                    <a:pt x="554533" y="154870"/>
                    <a:pt x="444626" y="174853"/>
                    <a:pt x="314735" y="174853"/>
                  </a:cubicBezTo>
                  <a:cubicBezTo>
                    <a:pt x="184844" y="174853"/>
                    <a:pt x="74937" y="154870"/>
                    <a:pt x="74937" y="124895"/>
                  </a:cubicBezTo>
                  <a:cubicBezTo>
                    <a:pt x="74937" y="94920"/>
                    <a:pt x="184844" y="74937"/>
                    <a:pt x="314735" y="74937"/>
                  </a:cubicBezTo>
                  <a:cubicBezTo>
                    <a:pt x="444626" y="74937"/>
                    <a:pt x="554533" y="84929"/>
                    <a:pt x="554533" y="124895"/>
                  </a:cubicBezTo>
                  <a:close/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" name="任意多边形: 形状 4">
              <a:extLst>
                <a:ext uri="{FF2B5EF4-FFF2-40B4-BE49-F238E27FC236}">
                  <a16:creationId xmlns:a16="http://schemas.microsoft.com/office/drawing/2014/main" id="{AC68A6CF-D6E3-4328-925F-8499643D20CF}"/>
                </a:ext>
              </a:extLst>
            </p:cNvPr>
            <p:cNvSpPr/>
            <p:nvPr userDrawn="1"/>
          </p:nvSpPr>
          <p:spPr>
            <a:xfrm>
              <a:off x="4816670" y="6404251"/>
              <a:ext cx="584011" cy="194670"/>
            </a:xfrm>
            <a:custGeom>
              <a:avLst/>
              <a:gdLst>
                <a:gd name="connsiteX0" fmla="*/ 554533 w 599495"/>
                <a:gd name="connsiteY0" fmla="*/ 74937 h 199831"/>
                <a:gd name="connsiteX1" fmla="*/ 314735 w 599495"/>
                <a:gd name="connsiteY1" fmla="*/ 124895 h 199831"/>
                <a:gd name="connsiteX2" fmla="*/ 74937 w 599495"/>
                <a:gd name="connsiteY2" fmla="*/ 74937 h 199831"/>
                <a:gd name="connsiteX3" fmla="*/ 74937 w 599495"/>
                <a:gd name="connsiteY3" fmla="*/ 94920 h 199831"/>
                <a:gd name="connsiteX4" fmla="*/ 74937 w 599495"/>
                <a:gd name="connsiteY4" fmla="*/ 94920 h 199831"/>
                <a:gd name="connsiteX5" fmla="*/ 314735 w 599495"/>
                <a:gd name="connsiteY5" fmla="*/ 144878 h 199831"/>
                <a:gd name="connsiteX6" fmla="*/ 554533 w 599495"/>
                <a:gd name="connsiteY6" fmla="*/ 94920 h 199831"/>
                <a:gd name="connsiteX7" fmla="*/ 554533 w 599495"/>
                <a:gd name="connsiteY7" fmla="*/ 94920 h 199831"/>
                <a:gd name="connsiteX8" fmla="*/ 554533 w 599495"/>
                <a:gd name="connsiteY8" fmla="*/ 94920 h 199831"/>
                <a:gd name="connsiteX9" fmla="*/ 554533 w 599495"/>
                <a:gd name="connsiteY9" fmla="*/ 94920 h 199831"/>
                <a:gd name="connsiteX10" fmla="*/ 554533 w 599495"/>
                <a:gd name="connsiteY10" fmla="*/ 94920 h 199831"/>
                <a:gd name="connsiteX11" fmla="*/ 554533 w 599495"/>
                <a:gd name="connsiteY11" fmla="*/ 74937 h 199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99495" h="199831">
                  <a:moveTo>
                    <a:pt x="554533" y="74937"/>
                  </a:moveTo>
                  <a:cubicBezTo>
                    <a:pt x="534550" y="104912"/>
                    <a:pt x="434634" y="124895"/>
                    <a:pt x="314735" y="124895"/>
                  </a:cubicBezTo>
                  <a:cubicBezTo>
                    <a:pt x="184844" y="124895"/>
                    <a:pt x="74937" y="104912"/>
                    <a:pt x="74937" y="74937"/>
                  </a:cubicBezTo>
                  <a:cubicBezTo>
                    <a:pt x="74937" y="74937"/>
                    <a:pt x="74937" y="94920"/>
                    <a:pt x="74937" y="94920"/>
                  </a:cubicBezTo>
                  <a:lnTo>
                    <a:pt x="74937" y="94920"/>
                  </a:lnTo>
                  <a:cubicBezTo>
                    <a:pt x="74937" y="124895"/>
                    <a:pt x="184844" y="144878"/>
                    <a:pt x="314735" y="144878"/>
                  </a:cubicBezTo>
                  <a:cubicBezTo>
                    <a:pt x="444626" y="144878"/>
                    <a:pt x="554533" y="124895"/>
                    <a:pt x="554533" y="94920"/>
                  </a:cubicBezTo>
                  <a:lnTo>
                    <a:pt x="554533" y="94920"/>
                  </a:lnTo>
                  <a:lnTo>
                    <a:pt x="554533" y="94920"/>
                  </a:lnTo>
                  <a:cubicBezTo>
                    <a:pt x="554533" y="94920"/>
                    <a:pt x="554533" y="94920"/>
                    <a:pt x="554533" y="94920"/>
                  </a:cubicBezTo>
                  <a:cubicBezTo>
                    <a:pt x="554533" y="94920"/>
                    <a:pt x="554533" y="94920"/>
                    <a:pt x="554533" y="94920"/>
                  </a:cubicBezTo>
                  <a:cubicBezTo>
                    <a:pt x="554533" y="94920"/>
                    <a:pt x="554533" y="74937"/>
                    <a:pt x="554533" y="74937"/>
                  </a:cubicBezTo>
                  <a:close/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" name="任意多边形: 形状 5">
              <a:extLst>
                <a:ext uri="{FF2B5EF4-FFF2-40B4-BE49-F238E27FC236}">
                  <a16:creationId xmlns:a16="http://schemas.microsoft.com/office/drawing/2014/main" id="{E3C25B4A-4C8D-4FB4-8363-905A0BD90189}"/>
                </a:ext>
              </a:extLst>
            </p:cNvPr>
            <p:cNvSpPr/>
            <p:nvPr userDrawn="1"/>
          </p:nvSpPr>
          <p:spPr>
            <a:xfrm>
              <a:off x="4914005" y="5041559"/>
              <a:ext cx="194670" cy="1460026"/>
            </a:xfrm>
            <a:custGeom>
              <a:avLst/>
              <a:gdLst>
                <a:gd name="connsiteX0" fmla="*/ 204827 w 199831"/>
                <a:gd name="connsiteY0" fmla="*/ 1463768 h 1498738"/>
                <a:gd name="connsiteX1" fmla="*/ 134886 w 199831"/>
                <a:gd name="connsiteY1" fmla="*/ 1463768 h 1498738"/>
                <a:gd name="connsiteX2" fmla="*/ 134886 w 199831"/>
                <a:gd name="connsiteY2" fmla="*/ 1193995 h 1498738"/>
                <a:gd name="connsiteX3" fmla="*/ 84928 w 199831"/>
                <a:gd name="connsiteY3" fmla="*/ 1004155 h 1498738"/>
                <a:gd name="connsiteX4" fmla="*/ 74937 w 199831"/>
                <a:gd name="connsiteY4" fmla="*/ 74937 h 1498738"/>
                <a:gd name="connsiteX5" fmla="*/ 204827 w 199831"/>
                <a:gd name="connsiteY5" fmla="*/ 74937 h 1498738"/>
                <a:gd name="connsiteX6" fmla="*/ 204827 w 199831"/>
                <a:gd name="connsiteY6" fmla="*/ 1463768 h 14987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99831" h="1498738">
                  <a:moveTo>
                    <a:pt x="204827" y="1463768"/>
                  </a:moveTo>
                  <a:lnTo>
                    <a:pt x="134886" y="1463768"/>
                  </a:lnTo>
                  <a:lnTo>
                    <a:pt x="134886" y="1193995"/>
                  </a:lnTo>
                  <a:cubicBezTo>
                    <a:pt x="134886" y="1193995"/>
                    <a:pt x="94920" y="1084087"/>
                    <a:pt x="84928" y="1004155"/>
                  </a:cubicBezTo>
                  <a:cubicBezTo>
                    <a:pt x="84928" y="924222"/>
                    <a:pt x="84928" y="924222"/>
                    <a:pt x="74937" y="74937"/>
                  </a:cubicBezTo>
                  <a:cubicBezTo>
                    <a:pt x="74937" y="74937"/>
                    <a:pt x="144878" y="74937"/>
                    <a:pt x="204827" y="74937"/>
                  </a:cubicBezTo>
                  <a:cubicBezTo>
                    <a:pt x="214819" y="914230"/>
                    <a:pt x="204827" y="1463768"/>
                    <a:pt x="204827" y="1463768"/>
                  </a:cubicBezTo>
                  <a:close/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" name="任意多边形: 形状 6">
              <a:extLst>
                <a:ext uri="{FF2B5EF4-FFF2-40B4-BE49-F238E27FC236}">
                  <a16:creationId xmlns:a16="http://schemas.microsoft.com/office/drawing/2014/main" id="{727A7F04-734D-40A4-A9BD-96218F9B5C70}"/>
                </a:ext>
              </a:extLst>
            </p:cNvPr>
            <p:cNvSpPr/>
            <p:nvPr userDrawn="1"/>
          </p:nvSpPr>
          <p:spPr>
            <a:xfrm>
              <a:off x="5128143" y="5061025"/>
              <a:ext cx="194670" cy="1460026"/>
            </a:xfrm>
            <a:custGeom>
              <a:avLst/>
              <a:gdLst>
                <a:gd name="connsiteX0" fmla="*/ 84928 w 199831"/>
                <a:gd name="connsiteY0" fmla="*/ 74937 h 1498738"/>
                <a:gd name="connsiteX1" fmla="*/ 94920 w 199831"/>
                <a:gd name="connsiteY1" fmla="*/ 1014146 h 1498738"/>
                <a:gd name="connsiteX2" fmla="*/ 74937 w 199831"/>
                <a:gd name="connsiteY2" fmla="*/ 1184003 h 1498738"/>
                <a:gd name="connsiteX3" fmla="*/ 74937 w 199831"/>
                <a:gd name="connsiteY3" fmla="*/ 1463768 h 1498738"/>
                <a:gd name="connsiteX4" fmla="*/ 94920 w 199831"/>
                <a:gd name="connsiteY4" fmla="*/ 1443784 h 1498738"/>
                <a:gd name="connsiteX5" fmla="*/ 94920 w 199831"/>
                <a:gd name="connsiteY5" fmla="*/ 1193995 h 1498738"/>
                <a:gd name="connsiteX6" fmla="*/ 134886 w 199831"/>
                <a:gd name="connsiteY6" fmla="*/ 1004155 h 1498738"/>
                <a:gd name="connsiteX7" fmla="*/ 134886 w 199831"/>
                <a:gd name="connsiteY7" fmla="*/ 74937 h 1498738"/>
                <a:gd name="connsiteX8" fmla="*/ 84928 w 199831"/>
                <a:gd name="connsiteY8" fmla="*/ 74937 h 14987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99831" h="1498738">
                  <a:moveTo>
                    <a:pt x="84928" y="74937"/>
                  </a:moveTo>
                  <a:cubicBezTo>
                    <a:pt x="84928" y="94920"/>
                    <a:pt x="94920" y="964188"/>
                    <a:pt x="94920" y="1014146"/>
                  </a:cubicBezTo>
                  <a:cubicBezTo>
                    <a:pt x="94920" y="1064104"/>
                    <a:pt x="84928" y="1144037"/>
                    <a:pt x="74937" y="1184003"/>
                  </a:cubicBezTo>
                  <a:cubicBezTo>
                    <a:pt x="74937" y="1223970"/>
                    <a:pt x="74937" y="1433793"/>
                    <a:pt x="74937" y="1463768"/>
                  </a:cubicBezTo>
                  <a:lnTo>
                    <a:pt x="94920" y="1443784"/>
                  </a:lnTo>
                  <a:cubicBezTo>
                    <a:pt x="94920" y="1443784"/>
                    <a:pt x="94920" y="1273928"/>
                    <a:pt x="94920" y="1193995"/>
                  </a:cubicBezTo>
                  <a:cubicBezTo>
                    <a:pt x="104912" y="1154028"/>
                    <a:pt x="134886" y="1094079"/>
                    <a:pt x="134886" y="1004155"/>
                  </a:cubicBezTo>
                  <a:cubicBezTo>
                    <a:pt x="134886" y="944205"/>
                    <a:pt x="134886" y="74937"/>
                    <a:pt x="134886" y="74937"/>
                  </a:cubicBezTo>
                  <a:lnTo>
                    <a:pt x="84928" y="74937"/>
                  </a:lnTo>
                  <a:close/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" name="任意多边形: 形状 7">
              <a:extLst>
                <a:ext uri="{FF2B5EF4-FFF2-40B4-BE49-F238E27FC236}">
                  <a16:creationId xmlns:a16="http://schemas.microsoft.com/office/drawing/2014/main" id="{1BD23213-C670-4251-9470-439BE897EAD0}"/>
                </a:ext>
              </a:extLst>
            </p:cNvPr>
            <p:cNvSpPr/>
            <p:nvPr userDrawn="1"/>
          </p:nvSpPr>
          <p:spPr>
            <a:xfrm>
              <a:off x="5040541" y="5051292"/>
              <a:ext cx="194670" cy="1460026"/>
            </a:xfrm>
            <a:custGeom>
              <a:avLst/>
              <a:gdLst>
                <a:gd name="connsiteX0" fmla="*/ 84928 w 199831"/>
                <a:gd name="connsiteY0" fmla="*/ 84929 h 1498738"/>
                <a:gd name="connsiteX1" fmla="*/ 154870 w 199831"/>
                <a:gd name="connsiteY1" fmla="*/ 74937 h 1498738"/>
                <a:gd name="connsiteX2" fmla="*/ 164861 w 199831"/>
                <a:gd name="connsiteY2" fmla="*/ 1024138 h 1498738"/>
                <a:gd name="connsiteX3" fmla="*/ 144878 w 199831"/>
                <a:gd name="connsiteY3" fmla="*/ 1193995 h 1498738"/>
                <a:gd name="connsiteX4" fmla="*/ 144878 w 199831"/>
                <a:gd name="connsiteY4" fmla="*/ 1463768 h 1498738"/>
                <a:gd name="connsiteX5" fmla="*/ 74937 w 199831"/>
                <a:gd name="connsiteY5" fmla="*/ 1473759 h 1498738"/>
                <a:gd name="connsiteX6" fmla="*/ 84928 w 199831"/>
                <a:gd name="connsiteY6" fmla="*/ 84929 h 14987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99831" h="1498738">
                  <a:moveTo>
                    <a:pt x="84928" y="84929"/>
                  </a:moveTo>
                  <a:lnTo>
                    <a:pt x="154870" y="74937"/>
                  </a:lnTo>
                  <a:cubicBezTo>
                    <a:pt x="154870" y="74937"/>
                    <a:pt x="164861" y="964188"/>
                    <a:pt x="164861" y="1024138"/>
                  </a:cubicBezTo>
                  <a:cubicBezTo>
                    <a:pt x="164861" y="1074096"/>
                    <a:pt x="154870" y="1154028"/>
                    <a:pt x="144878" y="1193995"/>
                  </a:cubicBezTo>
                  <a:cubicBezTo>
                    <a:pt x="144878" y="1233961"/>
                    <a:pt x="144878" y="1463768"/>
                    <a:pt x="144878" y="1463768"/>
                  </a:cubicBezTo>
                  <a:lnTo>
                    <a:pt x="74937" y="1473759"/>
                  </a:lnTo>
                  <a:lnTo>
                    <a:pt x="84928" y="84929"/>
                  </a:lnTo>
                  <a:close/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" name="任意多边形: 形状 8">
              <a:extLst>
                <a:ext uri="{FF2B5EF4-FFF2-40B4-BE49-F238E27FC236}">
                  <a16:creationId xmlns:a16="http://schemas.microsoft.com/office/drawing/2014/main" id="{39A1D61C-EA45-4BEE-813D-A544A1C99F79}"/>
                </a:ext>
              </a:extLst>
            </p:cNvPr>
            <p:cNvSpPr/>
            <p:nvPr userDrawn="1"/>
          </p:nvSpPr>
          <p:spPr>
            <a:xfrm>
              <a:off x="4894538" y="5041559"/>
              <a:ext cx="389340" cy="194670"/>
            </a:xfrm>
            <a:custGeom>
              <a:avLst/>
              <a:gdLst>
                <a:gd name="connsiteX0" fmla="*/ 394668 w 399663"/>
                <a:gd name="connsiteY0" fmla="*/ 74937 h 199831"/>
                <a:gd name="connsiteX1" fmla="*/ 74937 w 399663"/>
                <a:gd name="connsiteY1" fmla="*/ 74937 h 199831"/>
                <a:gd name="connsiteX2" fmla="*/ 74937 w 399663"/>
                <a:gd name="connsiteY2" fmla="*/ 84929 h 199831"/>
                <a:gd name="connsiteX3" fmla="*/ 74937 w 399663"/>
                <a:gd name="connsiteY3" fmla="*/ 94920 h 199831"/>
                <a:gd name="connsiteX4" fmla="*/ 84928 w 399663"/>
                <a:gd name="connsiteY4" fmla="*/ 94920 h 199831"/>
                <a:gd name="connsiteX5" fmla="*/ 84928 w 399663"/>
                <a:gd name="connsiteY5" fmla="*/ 124895 h 199831"/>
                <a:gd name="connsiteX6" fmla="*/ 74937 w 399663"/>
                <a:gd name="connsiteY6" fmla="*/ 124895 h 199831"/>
                <a:gd name="connsiteX7" fmla="*/ 74937 w 399663"/>
                <a:gd name="connsiteY7" fmla="*/ 134886 h 199831"/>
                <a:gd name="connsiteX8" fmla="*/ 74937 w 399663"/>
                <a:gd name="connsiteY8" fmla="*/ 144878 h 199831"/>
                <a:gd name="connsiteX9" fmla="*/ 84928 w 399663"/>
                <a:gd name="connsiteY9" fmla="*/ 144878 h 199831"/>
                <a:gd name="connsiteX10" fmla="*/ 84928 w 399663"/>
                <a:gd name="connsiteY10" fmla="*/ 164861 h 199831"/>
                <a:gd name="connsiteX11" fmla="*/ 74937 w 399663"/>
                <a:gd name="connsiteY11" fmla="*/ 164861 h 199831"/>
                <a:gd name="connsiteX12" fmla="*/ 74937 w 399663"/>
                <a:gd name="connsiteY12" fmla="*/ 174853 h 199831"/>
                <a:gd name="connsiteX13" fmla="*/ 74937 w 399663"/>
                <a:gd name="connsiteY13" fmla="*/ 184844 h 199831"/>
                <a:gd name="connsiteX14" fmla="*/ 394668 w 399663"/>
                <a:gd name="connsiteY14" fmla="*/ 184844 h 199831"/>
                <a:gd name="connsiteX15" fmla="*/ 394668 w 399663"/>
                <a:gd name="connsiteY15" fmla="*/ 174853 h 199831"/>
                <a:gd name="connsiteX16" fmla="*/ 394668 w 399663"/>
                <a:gd name="connsiteY16" fmla="*/ 164861 h 199831"/>
                <a:gd name="connsiteX17" fmla="*/ 384676 w 399663"/>
                <a:gd name="connsiteY17" fmla="*/ 164861 h 199831"/>
                <a:gd name="connsiteX18" fmla="*/ 384676 w 399663"/>
                <a:gd name="connsiteY18" fmla="*/ 144878 h 199831"/>
                <a:gd name="connsiteX19" fmla="*/ 394668 w 399663"/>
                <a:gd name="connsiteY19" fmla="*/ 144878 h 199831"/>
                <a:gd name="connsiteX20" fmla="*/ 394668 w 399663"/>
                <a:gd name="connsiteY20" fmla="*/ 134886 h 199831"/>
                <a:gd name="connsiteX21" fmla="*/ 394668 w 399663"/>
                <a:gd name="connsiteY21" fmla="*/ 124895 h 199831"/>
                <a:gd name="connsiteX22" fmla="*/ 384676 w 399663"/>
                <a:gd name="connsiteY22" fmla="*/ 124895 h 199831"/>
                <a:gd name="connsiteX23" fmla="*/ 384676 w 399663"/>
                <a:gd name="connsiteY23" fmla="*/ 94920 h 199831"/>
                <a:gd name="connsiteX24" fmla="*/ 394668 w 399663"/>
                <a:gd name="connsiteY24" fmla="*/ 94920 h 199831"/>
                <a:gd name="connsiteX25" fmla="*/ 394668 w 399663"/>
                <a:gd name="connsiteY25" fmla="*/ 74937 h 199831"/>
                <a:gd name="connsiteX26" fmla="*/ 394668 w 399663"/>
                <a:gd name="connsiteY26" fmla="*/ 74937 h 199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399663" h="199831">
                  <a:moveTo>
                    <a:pt x="394668" y="74937"/>
                  </a:moveTo>
                  <a:lnTo>
                    <a:pt x="74937" y="74937"/>
                  </a:lnTo>
                  <a:cubicBezTo>
                    <a:pt x="74937" y="74937"/>
                    <a:pt x="74937" y="74937"/>
                    <a:pt x="74937" y="84929"/>
                  </a:cubicBezTo>
                  <a:cubicBezTo>
                    <a:pt x="74937" y="84929"/>
                    <a:pt x="74937" y="94920"/>
                    <a:pt x="74937" y="94920"/>
                  </a:cubicBezTo>
                  <a:lnTo>
                    <a:pt x="84928" y="94920"/>
                  </a:lnTo>
                  <a:lnTo>
                    <a:pt x="84928" y="124895"/>
                  </a:lnTo>
                  <a:lnTo>
                    <a:pt x="74937" y="124895"/>
                  </a:lnTo>
                  <a:cubicBezTo>
                    <a:pt x="74937" y="124895"/>
                    <a:pt x="74937" y="124895"/>
                    <a:pt x="74937" y="134886"/>
                  </a:cubicBezTo>
                  <a:cubicBezTo>
                    <a:pt x="74937" y="134886"/>
                    <a:pt x="74937" y="144878"/>
                    <a:pt x="74937" y="144878"/>
                  </a:cubicBezTo>
                  <a:lnTo>
                    <a:pt x="84928" y="144878"/>
                  </a:lnTo>
                  <a:lnTo>
                    <a:pt x="84928" y="164861"/>
                  </a:lnTo>
                  <a:lnTo>
                    <a:pt x="74937" y="164861"/>
                  </a:lnTo>
                  <a:cubicBezTo>
                    <a:pt x="74937" y="164861"/>
                    <a:pt x="74937" y="164861"/>
                    <a:pt x="74937" y="174853"/>
                  </a:cubicBezTo>
                  <a:cubicBezTo>
                    <a:pt x="74937" y="174853"/>
                    <a:pt x="74937" y="184844"/>
                    <a:pt x="74937" y="184844"/>
                  </a:cubicBezTo>
                  <a:lnTo>
                    <a:pt x="394668" y="184844"/>
                  </a:lnTo>
                  <a:cubicBezTo>
                    <a:pt x="394668" y="184844"/>
                    <a:pt x="394668" y="184844"/>
                    <a:pt x="394668" y="174853"/>
                  </a:cubicBezTo>
                  <a:cubicBezTo>
                    <a:pt x="394668" y="174853"/>
                    <a:pt x="394668" y="164861"/>
                    <a:pt x="394668" y="164861"/>
                  </a:cubicBezTo>
                  <a:lnTo>
                    <a:pt x="384676" y="164861"/>
                  </a:lnTo>
                  <a:lnTo>
                    <a:pt x="384676" y="144878"/>
                  </a:lnTo>
                  <a:lnTo>
                    <a:pt x="394668" y="144878"/>
                  </a:lnTo>
                  <a:cubicBezTo>
                    <a:pt x="394668" y="144878"/>
                    <a:pt x="394668" y="144878"/>
                    <a:pt x="394668" y="134886"/>
                  </a:cubicBezTo>
                  <a:cubicBezTo>
                    <a:pt x="394668" y="134886"/>
                    <a:pt x="394668" y="124895"/>
                    <a:pt x="394668" y="124895"/>
                  </a:cubicBezTo>
                  <a:lnTo>
                    <a:pt x="384676" y="124895"/>
                  </a:lnTo>
                  <a:lnTo>
                    <a:pt x="384676" y="94920"/>
                  </a:lnTo>
                  <a:lnTo>
                    <a:pt x="394668" y="94920"/>
                  </a:lnTo>
                  <a:cubicBezTo>
                    <a:pt x="394668" y="94920"/>
                    <a:pt x="404659" y="94920"/>
                    <a:pt x="394668" y="74937"/>
                  </a:cubicBezTo>
                  <a:cubicBezTo>
                    <a:pt x="404659" y="84929"/>
                    <a:pt x="394668" y="74937"/>
                    <a:pt x="394668" y="74937"/>
                  </a:cubicBezTo>
                  <a:close/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" name="任意多边形: 形状 9">
              <a:extLst>
                <a:ext uri="{FF2B5EF4-FFF2-40B4-BE49-F238E27FC236}">
                  <a16:creationId xmlns:a16="http://schemas.microsoft.com/office/drawing/2014/main" id="{74D8FE18-6107-43D0-81AE-03ADF3CB2085}"/>
                </a:ext>
              </a:extLst>
            </p:cNvPr>
            <p:cNvSpPr/>
            <p:nvPr userDrawn="1"/>
          </p:nvSpPr>
          <p:spPr>
            <a:xfrm>
              <a:off x="4845870" y="4360213"/>
              <a:ext cx="486676" cy="1654698"/>
            </a:xfrm>
            <a:custGeom>
              <a:avLst/>
              <a:gdLst>
                <a:gd name="connsiteX0" fmla="*/ 74937 w 499579"/>
                <a:gd name="connsiteY0" fmla="*/ 1663599 h 1698569"/>
                <a:gd name="connsiteX1" fmla="*/ 74937 w 499579"/>
                <a:gd name="connsiteY1" fmla="*/ 84929 h 1698569"/>
                <a:gd name="connsiteX2" fmla="*/ 84929 w 499579"/>
                <a:gd name="connsiteY2" fmla="*/ 74937 h 1698569"/>
                <a:gd name="connsiteX3" fmla="*/ 84929 w 499579"/>
                <a:gd name="connsiteY3" fmla="*/ 74937 h 1698569"/>
                <a:gd name="connsiteX4" fmla="*/ 474600 w 499579"/>
                <a:gd name="connsiteY4" fmla="*/ 74937 h 1698569"/>
                <a:gd name="connsiteX5" fmla="*/ 484592 w 499579"/>
                <a:gd name="connsiteY5" fmla="*/ 74937 h 1698569"/>
                <a:gd name="connsiteX6" fmla="*/ 484592 w 499579"/>
                <a:gd name="connsiteY6" fmla="*/ 74937 h 1698569"/>
                <a:gd name="connsiteX7" fmla="*/ 484592 w 499579"/>
                <a:gd name="connsiteY7" fmla="*/ 84929 h 1698569"/>
                <a:gd name="connsiteX8" fmla="*/ 484592 w 499579"/>
                <a:gd name="connsiteY8" fmla="*/ 84929 h 1698569"/>
                <a:gd name="connsiteX9" fmla="*/ 484592 w 499579"/>
                <a:gd name="connsiteY9" fmla="*/ 1663599 h 1698569"/>
                <a:gd name="connsiteX10" fmla="*/ 484592 w 499579"/>
                <a:gd name="connsiteY10" fmla="*/ 1673591 h 1698569"/>
                <a:gd name="connsiteX11" fmla="*/ 484592 w 499579"/>
                <a:gd name="connsiteY11" fmla="*/ 1673591 h 1698569"/>
                <a:gd name="connsiteX12" fmla="*/ 414651 w 499579"/>
                <a:gd name="connsiteY12" fmla="*/ 1693574 h 1698569"/>
                <a:gd name="connsiteX13" fmla="*/ 414651 w 499579"/>
                <a:gd name="connsiteY13" fmla="*/ 1693574 h 1698569"/>
                <a:gd name="connsiteX14" fmla="*/ 284760 w 499579"/>
                <a:gd name="connsiteY14" fmla="*/ 1703566 h 1698569"/>
                <a:gd name="connsiteX15" fmla="*/ 284760 w 499579"/>
                <a:gd name="connsiteY15" fmla="*/ 1703566 h 1698569"/>
                <a:gd name="connsiteX16" fmla="*/ 154870 w 499579"/>
                <a:gd name="connsiteY16" fmla="*/ 1693574 h 1698569"/>
                <a:gd name="connsiteX17" fmla="*/ 154870 w 499579"/>
                <a:gd name="connsiteY17" fmla="*/ 1693574 h 1698569"/>
                <a:gd name="connsiteX18" fmla="*/ 84929 w 499579"/>
                <a:gd name="connsiteY18" fmla="*/ 1683583 h 1698569"/>
                <a:gd name="connsiteX19" fmla="*/ 84929 w 499579"/>
                <a:gd name="connsiteY19" fmla="*/ 1683583 h 1698569"/>
                <a:gd name="connsiteX20" fmla="*/ 74937 w 499579"/>
                <a:gd name="connsiteY20" fmla="*/ 1663599 h 1698569"/>
                <a:gd name="connsiteX21" fmla="*/ 74937 w 499579"/>
                <a:gd name="connsiteY21" fmla="*/ 1663599 h 1698569"/>
                <a:gd name="connsiteX22" fmla="*/ 74937 w 499579"/>
                <a:gd name="connsiteY22" fmla="*/ 1663599 h 1698569"/>
                <a:gd name="connsiteX23" fmla="*/ 74937 w 499579"/>
                <a:gd name="connsiteY23" fmla="*/ 1663599 h 1698569"/>
                <a:gd name="connsiteX24" fmla="*/ 104912 w 499579"/>
                <a:gd name="connsiteY24" fmla="*/ 1653608 h 1698569"/>
                <a:gd name="connsiteX25" fmla="*/ 154870 w 499579"/>
                <a:gd name="connsiteY25" fmla="*/ 1663599 h 1698569"/>
                <a:gd name="connsiteX26" fmla="*/ 154870 w 499579"/>
                <a:gd name="connsiteY26" fmla="*/ 1663599 h 1698569"/>
                <a:gd name="connsiteX27" fmla="*/ 284760 w 499579"/>
                <a:gd name="connsiteY27" fmla="*/ 1673591 h 1698569"/>
                <a:gd name="connsiteX28" fmla="*/ 284760 w 499579"/>
                <a:gd name="connsiteY28" fmla="*/ 1673591 h 1698569"/>
                <a:gd name="connsiteX29" fmla="*/ 404659 w 499579"/>
                <a:gd name="connsiteY29" fmla="*/ 1663599 h 1698569"/>
                <a:gd name="connsiteX30" fmla="*/ 404659 w 499579"/>
                <a:gd name="connsiteY30" fmla="*/ 1663599 h 1698569"/>
                <a:gd name="connsiteX31" fmla="*/ 454617 w 499579"/>
                <a:gd name="connsiteY31" fmla="*/ 1653608 h 1698569"/>
                <a:gd name="connsiteX32" fmla="*/ 454617 w 499579"/>
                <a:gd name="connsiteY32" fmla="*/ 1653608 h 1698569"/>
                <a:gd name="connsiteX33" fmla="*/ 464609 w 499579"/>
                <a:gd name="connsiteY33" fmla="*/ 1653608 h 1698569"/>
                <a:gd name="connsiteX34" fmla="*/ 464609 w 499579"/>
                <a:gd name="connsiteY34" fmla="*/ 1653608 h 1698569"/>
                <a:gd name="connsiteX35" fmla="*/ 464609 w 499579"/>
                <a:gd name="connsiteY35" fmla="*/ 94920 h 1698569"/>
                <a:gd name="connsiteX36" fmla="*/ 104912 w 499579"/>
                <a:gd name="connsiteY36" fmla="*/ 94920 h 1698569"/>
                <a:gd name="connsiteX37" fmla="*/ 104912 w 499579"/>
                <a:gd name="connsiteY37" fmla="*/ 1653608 h 1698569"/>
                <a:gd name="connsiteX38" fmla="*/ 104912 w 499579"/>
                <a:gd name="connsiteY38" fmla="*/ 1653608 h 16985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499579" h="1698569">
                  <a:moveTo>
                    <a:pt x="74937" y="1663599"/>
                  </a:moveTo>
                  <a:lnTo>
                    <a:pt x="74937" y="84929"/>
                  </a:lnTo>
                  <a:cubicBezTo>
                    <a:pt x="74937" y="74937"/>
                    <a:pt x="74937" y="74937"/>
                    <a:pt x="84929" y="74937"/>
                  </a:cubicBezTo>
                  <a:lnTo>
                    <a:pt x="84929" y="74937"/>
                  </a:lnTo>
                  <a:lnTo>
                    <a:pt x="474600" y="74937"/>
                  </a:lnTo>
                  <a:cubicBezTo>
                    <a:pt x="474600" y="74937"/>
                    <a:pt x="484592" y="74937"/>
                    <a:pt x="484592" y="74937"/>
                  </a:cubicBezTo>
                  <a:lnTo>
                    <a:pt x="484592" y="74937"/>
                  </a:lnTo>
                  <a:cubicBezTo>
                    <a:pt x="484592" y="74937"/>
                    <a:pt x="484592" y="74937"/>
                    <a:pt x="484592" y="84929"/>
                  </a:cubicBezTo>
                  <a:lnTo>
                    <a:pt x="484592" y="84929"/>
                  </a:lnTo>
                  <a:lnTo>
                    <a:pt x="484592" y="1663599"/>
                  </a:lnTo>
                  <a:cubicBezTo>
                    <a:pt x="484592" y="1663599"/>
                    <a:pt x="484592" y="1673591"/>
                    <a:pt x="484592" y="1673591"/>
                  </a:cubicBezTo>
                  <a:lnTo>
                    <a:pt x="484592" y="1673591"/>
                  </a:lnTo>
                  <a:cubicBezTo>
                    <a:pt x="484592" y="1673591"/>
                    <a:pt x="464609" y="1683583"/>
                    <a:pt x="414651" y="1693574"/>
                  </a:cubicBezTo>
                  <a:lnTo>
                    <a:pt x="414651" y="1693574"/>
                  </a:lnTo>
                  <a:cubicBezTo>
                    <a:pt x="384676" y="1693574"/>
                    <a:pt x="344710" y="1703566"/>
                    <a:pt x="284760" y="1703566"/>
                  </a:cubicBezTo>
                  <a:lnTo>
                    <a:pt x="284760" y="1703566"/>
                  </a:lnTo>
                  <a:cubicBezTo>
                    <a:pt x="234802" y="1703566"/>
                    <a:pt x="184844" y="1703566"/>
                    <a:pt x="154870" y="1693574"/>
                  </a:cubicBezTo>
                  <a:lnTo>
                    <a:pt x="154870" y="1693574"/>
                  </a:lnTo>
                  <a:cubicBezTo>
                    <a:pt x="114903" y="1683583"/>
                    <a:pt x="84929" y="1683583"/>
                    <a:pt x="84929" y="1683583"/>
                  </a:cubicBezTo>
                  <a:lnTo>
                    <a:pt x="84929" y="1683583"/>
                  </a:lnTo>
                  <a:cubicBezTo>
                    <a:pt x="84929" y="1673591"/>
                    <a:pt x="84929" y="1673591"/>
                    <a:pt x="74937" y="1663599"/>
                  </a:cubicBezTo>
                  <a:lnTo>
                    <a:pt x="74937" y="1663599"/>
                  </a:lnTo>
                  <a:cubicBezTo>
                    <a:pt x="74937" y="1673591"/>
                    <a:pt x="74937" y="1663599"/>
                    <a:pt x="74937" y="1663599"/>
                  </a:cubicBezTo>
                  <a:lnTo>
                    <a:pt x="74937" y="1663599"/>
                  </a:lnTo>
                  <a:close/>
                  <a:moveTo>
                    <a:pt x="104912" y="1653608"/>
                  </a:moveTo>
                  <a:cubicBezTo>
                    <a:pt x="114903" y="1653608"/>
                    <a:pt x="134886" y="1663599"/>
                    <a:pt x="154870" y="1663599"/>
                  </a:cubicBezTo>
                  <a:lnTo>
                    <a:pt x="154870" y="1663599"/>
                  </a:lnTo>
                  <a:cubicBezTo>
                    <a:pt x="184844" y="1663599"/>
                    <a:pt x="234802" y="1673591"/>
                    <a:pt x="284760" y="1673591"/>
                  </a:cubicBezTo>
                  <a:lnTo>
                    <a:pt x="284760" y="1673591"/>
                  </a:lnTo>
                  <a:cubicBezTo>
                    <a:pt x="334718" y="1673591"/>
                    <a:pt x="374685" y="1673591"/>
                    <a:pt x="404659" y="1663599"/>
                  </a:cubicBezTo>
                  <a:lnTo>
                    <a:pt x="404659" y="1663599"/>
                  </a:lnTo>
                  <a:cubicBezTo>
                    <a:pt x="424642" y="1663599"/>
                    <a:pt x="444626" y="1653608"/>
                    <a:pt x="454617" y="1653608"/>
                  </a:cubicBezTo>
                  <a:lnTo>
                    <a:pt x="454617" y="1653608"/>
                  </a:lnTo>
                  <a:cubicBezTo>
                    <a:pt x="454617" y="1653608"/>
                    <a:pt x="464609" y="1653608"/>
                    <a:pt x="464609" y="1653608"/>
                  </a:cubicBezTo>
                  <a:lnTo>
                    <a:pt x="464609" y="1653608"/>
                  </a:lnTo>
                  <a:lnTo>
                    <a:pt x="464609" y="94920"/>
                  </a:lnTo>
                  <a:lnTo>
                    <a:pt x="104912" y="94920"/>
                  </a:lnTo>
                  <a:lnTo>
                    <a:pt x="104912" y="1653608"/>
                  </a:lnTo>
                  <a:lnTo>
                    <a:pt x="104912" y="1653608"/>
                  </a:lnTo>
                  <a:close/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" name="任意多边形: 形状 10">
              <a:extLst>
                <a:ext uri="{FF2B5EF4-FFF2-40B4-BE49-F238E27FC236}">
                  <a16:creationId xmlns:a16="http://schemas.microsoft.com/office/drawing/2014/main" id="{500C1CFF-D64D-4DF5-959A-D5A34C7193F9}"/>
                </a:ext>
              </a:extLst>
            </p:cNvPr>
            <p:cNvSpPr/>
            <p:nvPr userDrawn="1"/>
          </p:nvSpPr>
          <p:spPr>
            <a:xfrm>
              <a:off x="4845870" y="4194743"/>
              <a:ext cx="486676" cy="973352"/>
            </a:xfrm>
            <a:custGeom>
              <a:avLst/>
              <a:gdLst>
                <a:gd name="connsiteX0" fmla="*/ 74937 w 499579"/>
                <a:gd name="connsiteY0" fmla="*/ 254786 h 999158"/>
                <a:gd name="connsiteX1" fmla="*/ 74937 w 499579"/>
                <a:gd name="connsiteY1" fmla="*/ 254786 h 999158"/>
                <a:gd name="connsiteX2" fmla="*/ 74937 w 499579"/>
                <a:gd name="connsiteY2" fmla="*/ 254786 h 999158"/>
                <a:gd name="connsiteX3" fmla="*/ 84929 w 499579"/>
                <a:gd name="connsiteY3" fmla="*/ 234802 h 999158"/>
                <a:gd name="connsiteX4" fmla="*/ 84929 w 499579"/>
                <a:gd name="connsiteY4" fmla="*/ 234802 h 999158"/>
                <a:gd name="connsiteX5" fmla="*/ 114903 w 499579"/>
                <a:gd name="connsiteY5" fmla="*/ 224811 h 999158"/>
                <a:gd name="connsiteX6" fmla="*/ 114903 w 499579"/>
                <a:gd name="connsiteY6" fmla="*/ 224811 h 999158"/>
                <a:gd name="connsiteX7" fmla="*/ 214819 w 499579"/>
                <a:gd name="connsiteY7" fmla="*/ 204828 h 999158"/>
                <a:gd name="connsiteX8" fmla="*/ 214819 w 499579"/>
                <a:gd name="connsiteY8" fmla="*/ 204828 h 999158"/>
                <a:gd name="connsiteX9" fmla="*/ 224811 w 499579"/>
                <a:gd name="connsiteY9" fmla="*/ 204828 h 999158"/>
                <a:gd name="connsiteX10" fmla="*/ 224811 w 499579"/>
                <a:gd name="connsiteY10" fmla="*/ 204828 h 999158"/>
                <a:gd name="connsiteX11" fmla="*/ 224811 w 499579"/>
                <a:gd name="connsiteY11" fmla="*/ 94920 h 999158"/>
                <a:gd name="connsiteX12" fmla="*/ 224811 w 499579"/>
                <a:gd name="connsiteY12" fmla="*/ 94920 h 999158"/>
                <a:gd name="connsiteX13" fmla="*/ 224811 w 499579"/>
                <a:gd name="connsiteY13" fmla="*/ 74937 h 999158"/>
                <a:gd name="connsiteX14" fmla="*/ 354701 w 499579"/>
                <a:gd name="connsiteY14" fmla="*/ 74937 h 999158"/>
                <a:gd name="connsiteX15" fmla="*/ 354701 w 499579"/>
                <a:gd name="connsiteY15" fmla="*/ 84929 h 999158"/>
                <a:gd name="connsiteX16" fmla="*/ 354701 w 499579"/>
                <a:gd name="connsiteY16" fmla="*/ 194836 h 999158"/>
                <a:gd name="connsiteX17" fmla="*/ 354701 w 499579"/>
                <a:gd name="connsiteY17" fmla="*/ 194836 h 999158"/>
                <a:gd name="connsiteX18" fmla="*/ 354701 w 499579"/>
                <a:gd name="connsiteY18" fmla="*/ 194836 h 999158"/>
                <a:gd name="connsiteX19" fmla="*/ 354701 w 499579"/>
                <a:gd name="connsiteY19" fmla="*/ 194836 h 999158"/>
                <a:gd name="connsiteX20" fmla="*/ 364693 w 499579"/>
                <a:gd name="connsiteY20" fmla="*/ 194836 h 999158"/>
                <a:gd name="connsiteX21" fmla="*/ 364693 w 499579"/>
                <a:gd name="connsiteY21" fmla="*/ 194836 h 999158"/>
                <a:gd name="connsiteX22" fmla="*/ 404659 w 499579"/>
                <a:gd name="connsiteY22" fmla="*/ 204828 h 999158"/>
                <a:gd name="connsiteX23" fmla="*/ 404659 w 499579"/>
                <a:gd name="connsiteY23" fmla="*/ 204828 h 999158"/>
                <a:gd name="connsiteX24" fmla="*/ 484592 w 499579"/>
                <a:gd name="connsiteY24" fmla="*/ 224811 h 999158"/>
                <a:gd name="connsiteX25" fmla="*/ 484592 w 499579"/>
                <a:gd name="connsiteY25" fmla="*/ 224811 h 999158"/>
                <a:gd name="connsiteX26" fmla="*/ 494584 w 499579"/>
                <a:gd name="connsiteY26" fmla="*/ 234802 h 999158"/>
                <a:gd name="connsiteX27" fmla="*/ 494584 w 499579"/>
                <a:gd name="connsiteY27" fmla="*/ 234802 h 999158"/>
                <a:gd name="connsiteX28" fmla="*/ 494584 w 499579"/>
                <a:gd name="connsiteY28" fmla="*/ 234802 h 999158"/>
                <a:gd name="connsiteX29" fmla="*/ 494584 w 499579"/>
                <a:gd name="connsiteY29" fmla="*/ 934213 h 999158"/>
                <a:gd name="connsiteX30" fmla="*/ 484592 w 499579"/>
                <a:gd name="connsiteY30" fmla="*/ 934213 h 999158"/>
                <a:gd name="connsiteX31" fmla="*/ 494584 w 499579"/>
                <a:gd name="connsiteY31" fmla="*/ 934213 h 999158"/>
                <a:gd name="connsiteX32" fmla="*/ 494584 w 499579"/>
                <a:gd name="connsiteY32" fmla="*/ 944205 h 999158"/>
                <a:gd name="connsiteX33" fmla="*/ 84929 w 499579"/>
                <a:gd name="connsiteY33" fmla="*/ 944205 h 999158"/>
                <a:gd name="connsiteX34" fmla="*/ 74937 w 499579"/>
                <a:gd name="connsiteY34" fmla="*/ 254786 h 999158"/>
                <a:gd name="connsiteX35" fmla="*/ 74937 w 499579"/>
                <a:gd name="connsiteY35" fmla="*/ 254786 h 999158"/>
                <a:gd name="connsiteX36" fmla="*/ 104912 w 499579"/>
                <a:gd name="connsiteY36" fmla="*/ 944205 h 999158"/>
                <a:gd name="connsiteX37" fmla="*/ 464609 w 499579"/>
                <a:gd name="connsiteY37" fmla="*/ 944205 h 999158"/>
                <a:gd name="connsiteX38" fmla="*/ 464609 w 499579"/>
                <a:gd name="connsiteY38" fmla="*/ 254786 h 999158"/>
                <a:gd name="connsiteX39" fmla="*/ 464609 w 499579"/>
                <a:gd name="connsiteY39" fmla="*/ 254786 h 999158"/>
                <a:gd name="connsiteX40" fmla="*/ 394668 w 499579"/>
                <a:gd name="connsiteY40" fmla="*/ 234802 h 999158"/>
                <a:gd name="connsiteX41" fmla="*/ 394668 w 499579"/>
                <a:gd name="connsiteY41" fmla="*/ 234802 h 999158"/>
                <a:gd name="connsiteX42" fmla="*/ 334718 w 499579"/>
                <a:gd name="connsiteY42" fmla="*/ 214819 h 999158"/>
                <a:gd name="connsiteX43" fmla="*/ 334718 w 499579"/>
                <a:gd name="connsiteY43" fmla="*/ 214819 h 999158"/>
                <a:gd name="connsiteX44" fmla="*/ 334718 w 499579"/>
                <a:gd name="connsiteY44" fmla="*/ 214819 h 999158"/>
                <a:gd name="connsiteX45" fmla="*/ 334718 w 499579"/>
                <a:gd name="connsiteY45" fmla="*/ 214819 h 999158"/>
                <a:gd name="connsiteX46" fmla="*/ 334718 w 499579"/>
                <a:gd name="connsiteY46" fmla="*/ 204828 h 999158"/>
                <a:gd name="connsiteX47" fmla="*/ 334718 w 499579"/>
                <a:gd name="connsiteY47" fmla="*/ 204828 h 999158"/>
                <a:gd name="connsiteX48" fmla="*/ 334718 w 499579"/>
                <a:gd name="connsiteY48" fmla="*/ 94920 h 999158"/>
                <a:gd name="connsiteX49" fmla="*/ 334718 w 499579"/>
                <a:gd name="connsiteY49" fmla="*/ 94920 h 999158"/>
                <a:gd name="connsiteX50" fmla="*/ 244794 w 499579"/>
                <a:gd name="connsiteY50" fmla="*/ 94920 h 999158"/>
                <a:gd name="connsiteX51" fmla="*/ 244794 w 499579"/>
                <a:gd name="connsiteY51" fmla="*/ 204828 h 999158"/>
                <a:gd name="connsiteX52" fmla="*/ 244794 w 499579"/>
                <a:gd name="connsiteY52" fmla="*/ 204828 h 999158"/>
                <a:gd name="connsiteX53" fmla="*/ 244794 w 499579"/>
                <a:gd name="connsiteY53" fmla="*/ 214819 h 999158"/>
                <a:gd name="connsiteX54" fmla="*/ 244794 w 499579"/>
                <a:gd name="connsiteY54" fmla="*/ 214819 h 999158"/>
                <a:gd name="connsiteX55" fmla="*/ 194836 w 499579"/>
                <a:gd name="connsiteY55" fmla="*/ 234802 h 999158"/>
                <a:gd name="connsiteX56" fmla="*/ 194836 w 499579"/>
                <a:gd name="connsiteY56" fmla="*/ 234802 h 999158"/>
                <a:gd name="connsiteX57" fmla="*/ 124895 w 499579"/>
                <a:gd name="connsiteY57" fmla="*/ 244794 h 999158"/>
                <a:gd name="connsiteX58" fmla="*/ 124895 w 499579"/>
                <a:gd name="connsiteY58" fmla="*/ 244794 h 999158"/>
                <a:gd name="connsiteX59" fmla="*/ 114903 w 499579"/>
                <a:gd name="connsiteY59" fmla="*/ 254786 h 999158"/>
                <a:gd name="connsiteX60" fmla="*/ 114903 w 499579"/>
                <a:gd name="connsiteY60" fmla="*/ 254786 h 999158"/>
                <a:gd name="connsiteX61" fmla="*/ 104912 w 499579"/>
                <a:gd name="connsiteY61" fmla="*/ 944205 h 999158"/>
                <a:gd name="connsiteX62" fmla="*/ 104912 w 499579"/>
                <a:gd name="connsiteY62" fmla="*/ 944205 h 9991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</a:cxnLst>
              <a:rect l="l" t="t" r="r" b="b"/>
              <a:pathLst>
                <a:path w="499579" h="999158">
                  <a:moveTo>
                    <a:pt x="74937" y="254786"/>
                  </a:moveTo>
                  <a:lnTo>
                    <a:pt x="74937" y="254786"/>
                  </a:lnTo>
                  <a:lnTo>
                    <a:pt x="74937" y="254786"/>
                  </a:lnTo>
                  <a:cubicBezTo>
                    <a:pt x="74937" y="244794"/>
                    <a:pt x="74937" y="244794"/>
                    <a:pt x="84929" y="234802"/>
                  </a:cubicBezTo>
                  <a:lnTo>
                    <a:pt x="84929" y="234802"/>
                  </a:lnTo>
                  <a:cubicBezTo>
                    <a:pt x="94920" y="224811"/>
                    <a:pt x="94920" y="224811"/>
                    <a:pt x="114903" y="224811"/>
                  </a:cubicBezTo>
                  <a:lnTo>
                    <a:pt x="114903" y="224811"/>
                  </a:lnTo>
                  <a:cubicBezTo>
                    <a:pt x="144878" y="214819"/>
                    <a:pt x="184844" y="214819"/>
                    <a:pt x="214819" y="204828"/>
                  </a:cubicBezTo>
                  <a:lnTo>
                    <a:pt x="214819" y="204828"/>
                  </a:lnTo>
                  <a:cubicBezTo>
                    <a:pt x="214819" y="204828"/>
                    <a:pt x="224811" y="204828"/>
                    <a:pt x="224811" y="204828"/>
                  </a:cubicBezTo>
                  <a:lnTo>
                    <a:pt x="224811" y="204828"/>
                  </a:lnTo>
                  <a:cubicBezTo>
                    <a:pt x="224811" y="184844"/>
                    <a:pt x="224811" y="94920"/>
                    <a:pt x="224811" y="94920"/>
                  </a:cubicBezTo>
                  <a:lnTo>
                    <a:pt x="224811" y="94920"/>
                  </a:lnTo>
                  <a:lnTo>
                    <a:pt x="224811" y="74937"/>
                  </a:lnTo>
                  <a:lnTo>
                    <a:pt x="354701" y="74937"/>
                  </a:lnTo>
                  <a:lnTo>
                    <a:pt x="354701" y="84929"/>
                  </a:lnTo>
                  <a:cubicBezTo>
                    <a:pt x="354701" y="84929"/>
                    <a:pt x="354701" y="174853"/>
                    <a:pt x="354701" y="194836"/>
                  </a:cubicBezTo>
                  <a:lnTo>
                    <a:pt x="354701" y="194836"/>
                  </a:lnTo>
                  <a:lnTo>
                    <a:pt x="354701" y="194836"/>
                  </a:lnTo>
                  <a:lnTo>
                    <a:pt x="354701" y="194836"/>
                  </a:lnTo>
                  <a:cubicBezTo>
                    <a:pt x="354701" y="194836"/>
                    <a:pt x="364693" y="194836"/>
                    <a:pt x="364693" y="194836"/>
                  </a:cubicBezTo>
                  <a:lnTo>
                    <a:pt x="364693" y="194836"/>
                  </a:lnTo>
                  <a:cubicBezTo>
                    <a:pt x="374685" y="194836"/>
                    <a:pt x="384676" y="204828"/>
                    <a:pt x="404659" y="204828"/>
                  </a:cubicBezTo>
                  <a:lnTo>
                    <a:pt x="404659" y="204828"/>
                  </a:lnTo>
                  <a:cubicBezTo>
                    <a:pt x="434634" y="214819"/>
                    <a:pt x="464609" y="214819"/>
                    <a:pt x="484592" y="224811"/>
                  </a:cubicBezTo>
                  <a:lnTo>
                    <a:pt x="484592" y="224811"/>
                  </a:lnTo>
                  <a:cubicBezTo>
                    <a:pt x="484592" y="224811"/>
                    <a:pt x="494584" y="234802"/>
                    <a:pt x="494584" y="234802"/>
                  </a:cubicBezTo>
                  <a:lnTo>
                    <a:pt x="494584" y="234802"/>
                  </a:lnTo>
                  <a:lnTo>
                    <a:pt x="494584" y="234802"/>
                  </a:lnTo>
                  <a:lnTo>
                    <a:pt x="494584" y="934213"/>
                  </a:lnTo>
                  <a:lnTo>
                    <a:pt x="484592" y="934213"/>
                  </a:lnTo>
                  <a:lnTo>
                    <a:pt x="494584" y="934213"/>
                  </a:lnTo>
                  <a:lnTo>
                    <a:pt x="494584" y="944205"/>
                  </a:lnTo>
                  <a:lnTo>
                    <a:pt x="84929" y="944205"/>
                  </a:lnTo>
                  <a:lnTo>
                    <a:pt x="74937" y="254786"/>
                  </a:lnTo>
                  <a:lnTo>
                    <a:pt x="74937" y="254786"/>
                  </a:lnTo>
                  <a:close/>
                  <a:moveTo>
                    <a:pt x="104912" y="944205"/>
                  </a:moveTo>
                  <a:lnTo>
                    <a:pt x="464609" y="944205"/>
                  </a:lnTo>
                  <a:lnTo>
                    <a:pt x="464609" y="254786"/>
                  </a:lnTo>
                  <a:lnTo>
                    <a:pt x="464609" y="254786"/>
                  </a:lnTo>
                  <a:cubicBezTo>
                    <a:pt x="454617" y="254786"/>
                    <a:pt x="424642" y="244794"/>
                    <a:pt x="394668" y="234802"/>
                  </a:cubicBezTo>
                  <a:lnTo>
                    <a:pt x="394668" y="234802"/>
                  </a:lnTo>
                  <a:cubicBezTo>
                    <a:pt x="364693" y="224811"/>
                    <a:pt x="344710" y="224811"/>
                    <a:pt x="334718" y="214819"/>
                  </a:cubicBezTo>
                  <a:lnTo>
                    <a:pt x="334718" y="214819"/>
                  </a:lnTo>
                  <a:cubicBezTo>
                    <a:pt x="334718" y="214819"/>
                    <a:pt x="334718" y="214819"/>
                    <a:pt x="334718" y="214819"/>
                  </a:cubicBezTo>
                  <a:lnTo>
                    <a:pt x="334718" y="214819"/>
                  </a:lnTo>
                  <a:cubicBezTo>
                    <a:pt x="334718" y="214819"/>
                    <a:pt x="334718" y="214819"/>
                    <a:pt x="334718" y="204828"/>
                  </a:cubicBezTo>
                  <a:lnTo>
                    <a:pt x="334718" y="204828"/>
                  </a:lnTo>
                  <a:cubicBezTo>
                    <a:pt x="334718" y="194836"/>
                    <a:pt x="334718" y="124895"/>
                    <a:pt x="334718" y="94920"/>
                  </a:cubicBezTo>
                  <a:lnTo>
                    <a:pt x="334718" y="94920"/>
                  </a:lnTo>
                  <a:lnTo>
                    <a:pt x="244794" y="94920"/>
                  </a:lnTo>
                  <a:cubicBezTo>
                    <a:pt x="244794" y="124895"/>
                    <a:pt x="244794" y="194836"/>
                    <a:pt x="244794" y="204828"/>
                  </a:cubicBezTo>
                  <a:lnTo>
                    <a:pt x="244794" y="204828"/>
                  </a:lnTo>
                  <a:cubicBezTo>
                    <a:pt x="244794" y="204828"/>
                    <a:pt x="244794" y="214819"/>
                    <a:pt x="244794" y="214819"/>
                  </a:cubicBezTo>
                  <a:lnTo>
                    <a:pt x="244794" y="214819"/>
                  </a:lnTo>
                  <a:cubicBezTo>
                    <a:pt x="234802" y="224811"/>
                    <a:pt x="214819" y="224811"/>
                    <a:pt x="194836" y="234802"/>
                  </a:cubicBezTo>
                  <a:lnTo>
                    <a:pt x="194836" y="234802"/>
                  </a:lnTo>
                  <a:cubicBezTo>
                    <a:pt x="174853" y="234802"/>
                    <a:pt x="144878" y="244794"/>
                    <a:pt x="124895" y="244794"/>
                  </a:cubicBezTo>
                  <a:lnTo>
                    <a:pt x="124895" y="244794"/>
                  </a:lnTo>
                  <a:cubicBezTo>
                    <a:pt x="114903" y="244794"/>
                    <a:pt x="114903" y="244794"/>
                    <a:pt x="114903" y="254786"/>
                  </a:cubicBezTo>
                  <a:lnTo>
                    <a:pt x="114903" y="254786"/>
                  </a:lnTo>
                  <a:lnTo>
                    <a:pt x="104912" y="944205"/>
                  </a:lnTo>
                  <a:lnTo>
                    <a:pt x="104912" y="944205"/>
                  </a:lnTo>
                  <a:close/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" name="任意多边形: 形状 11">
              <a:extLst>
                <a:ext uri="{FF2B5EF4-FFF2-40B4-BE49-F238E27FC236}">
                  <a16:creationId xmlns:a16="http://schemas.microsoft.com/office/drawing/2014/main" id="{7E9F29CC-2DF0-4845-89B7-D32BF4FE2A2F}"/>
                </a:ext>
              </a:extLst>
            </p:cNvPr>
            <p:cNvSpPr/>
            <p:nvPr userDrawn="1"/>
          </p:nvSpPr>
          <p:spPr>
            <a:xfrm>
              <a:off x="5040541" y="3250592"/>
              <a:ext cx="97335" cy="778681"/>
            </a:xfrm>
            <a:custGeom>
              <a:avLst/>
              <a:gdLst>
                <a:gd name="connsiteX0" fmla="*/ 94920 w 99915"/>
                <a:gd name="connsiteY0" fmla="*/ 764357 h 799327"/>
                <a:gd name="connsiteX1" fmla="*/ 74937 w 99915"/>
                <a:gd name="connsiteY1" fmla="*/ 764357 h 799327"/>
                <a:gd name="connsiteX2" fmla="*/ 74937 w 99915"/>
                <a:gd name="connsiteY2" fmla="*/ 74937 h 799327"/>
                <a:gd name="connsiteX3" fmla="*/ 94920 w 99915"/>
                <a:gd name="connsiteY3" fmla="*/ 134886 h 799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9915" h="799327">
                  <a:moveTo>
                    <a:pt x="94920" y="764357"/>
                  </a:moveTo>
                  <a:lnTo>
                    <a:pt x="74937" y="764357"/>
                  </a:lnTo>
                  <a:lnTo>
                    <a:pt x="74937" y="74937"/>
                  </a:lnTo>
                  <a:lnTo>
                    <a:pt x="94920" y="134886"/>
                  </a:lnTo>
                  <a:close/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" name="任意多边形: 形状 12">
              <a:extLst>
                <a:ext uri="{FF2B5EF4-FFF2-40B4-BE49-F238E27FC236}">
                  <a16:creationId xmlns:a16="http://schemas.microsoft.com/office/drawing/2014/main" id="{2BFE4FBD-F151-4DBF-9D7C-4A5208087C48}"/>
                </a:ext>
              </a:extLst>
            </p:cNvPr>
            <p:cNvSpPr/>
            <p:nvPr userDrawn="1"/>
          </p:nvSpPr>
          <p:spPr>
            <a:xfrm>
              <a:off x="4962673" y="3931938"/>
              <a:ext cx="292005" cy="389341"/>
            </a:xfrm>
            <a:custGeom>
              <a:avLst/>
              <a:gdLst>
                <a:gd name="connsiteX0" fmla="*/ 194836 w 299747"/>
                <a:gd name="connsiteY0" fmla="*/ 94920 h 399663"/>
                <a:gd name="connsiteX1" fmla="*/ 184844 w 299747"/>
                <a:gd name="connsiteY1" fmla="*/ 74937 h 399663"/>
                <a:gd name="connsiteX2" fmla="*/ 174853 w 299747"/>
                <a:gd name="connsiteY2" fmla="*/ 74937 h 399663"/>
                <a:gd name="connsiteX3" fmla="*/ 164861 w 299747"/>
                <a:gd name="connsiteY3" fmla="*/ 84928 h 399663"/>
                <a:gd name="connsiteX4" fmla="*/ 164861 w 299747"/>
                <a:gd name="connsiteY4" fmla="*/ 204828 h 399663"/>
                <a:gd name="connsiteX5" fmla="*/ 154870 w 299747"/>
                <a:gd name="connsiteY5" fmla="*/ 214819 h 399663"/>
                <a:gd name="connsiteX6" fmla="*/ 144878 w 299747"/>
                <a:gd name="connsiteY6" fmla="*/ 204828 h 399663"/>
                <a:gd name="connsiteX7" fmla="*/ 144878 w 299747"/>
                <a:gd name="connsiteY7" fmla="*/ 84928 h 399663"/>
                <a:gd name="connsiteX8" fmla="*/ 144878 w 299747"/>
                <a:gd name="connsiteY8" fmla="*/ 74937 h 399663"/>
                <a:gd name="connsiteX9" fmla="*/ 134886 w 299747"/>
                <a:gd name="connsiteY9" fmla="*/ 74937 h 399663"/>
                <a:gd name="connsiteX10" fmla="*/ 124895 w 299747"/>
                <a:gd name="connsiteY10" fmla="*/ 94920 h 399663"/>
                <a:gd name="connsiteX11" fmla="*/ 114903 w 299747"/>
                <a:gd name="connsiteY11" fmla="*/ 94920 h 399663"/>
                <a:gd name="connsiteX12" fmla="*/ 114903 w 299747"/>
                <a:gd name="connsiteY12" fmla="*/ 194836 h 399663"/>
                <a:gd name="connsiteX13" fmla="*/ 94920 w 299747"/>
                <a:gd name="connsiteY13" fmla="*/ 234802 h 399663"/>
                <a:gd name="connsiteX14" fmla="*/ 74937 w 299747"/>
                <a:gd name="connsiteY14" fmla="*/ 394668 h 399663"/>
                <a:gd name="connsiteX15" fmla="*/ 154870 w 299747"/>
                <a:gd name="connsiteY15" fmla="*/ 394668 h 399663"/>
                <a:gd name="connsiteX16" fmla="*/ 234802 w 299747"/>
                <a:gd name="connsiteY16" fmla="*/ 394668 h 399663"/>
                <a:gd name="connsiteX17" fmla="*/ 214819 w 299747"/>
                <a:gd name="connsiteY17" fmla="*/ 234802 h 399663"/>
                <a:gd name="connsiteX18" fmla="*/ 204827 w 299747"/>
                <a:gd name="connsiteY18" fmla="*/ 194836 h 399663"/>
                <a:gd name="connsiteX19" fmla="*/ 204827 w 299747"/>
                <a:gd name="connsiteY19" fmla="*/ 94920 h 399663"/>
                <a:gd name="connsiteX20" fmla="*/ 194836 w 299747"/>
                <a:gd name="connsiteY20" fmla="*/ 94920 h 3996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99747" h="399663">
                  <a:moveTo>
                    <a:pt x="194836" y="94920"/>
                  </a:moveTo>
                  <a:cubicBezTo>
                    <a:pt x="194836" y="94920"/>
                    <a:pt x="194836" y="74937"/>
                    <a:pt x="184844" y="74937"/>
                  </a:cubicBezTo>
                  <a:cubicBezTo>
                    <a:pt x="184844" y="74937"/>
                    <a:pt x="174853" y="74937"/>
                    <a:pt x="174853" y="74937"/>
                  </a:cubicBezTo>
                  <a:lnTo>
                    <a:pt x="164861" y="84928"/>
                  </a:lnTo>
                  <a:lnTo>
                    <a:pt x="164861" y="204828"/>
                  </a:lnTo>
                  <a:cubicBezTo>
                    <a:pt x="164861" y="214819"/>
                    <a:pt x="154870" y="214819"/>
                    <a:pt x="154870" y="214819"/>
                  </a:cubicBezTo>
                  <a:cubicBezTo>
                    <a:pt x="144878" y="214819"/>
                    <a:pt x="144878" y="214819"/>
                    <a:pt x="144878" y="204828"/>
                  </a:cubicBezTo>
                  <a:lnTo>
                    <a:pt x="144878" y="84928"/>
                  </a:lnTo>
                  <a:lnTo>
                    <a:pt x="144878" y="74937"/>
                  </a:lnTo>
                  <a:cubicBezTo>
                    <a:pt x="144878" y="74937"/>
                    <a:pt x="134886" y="74937"/>
                    <a:pt x="134886" y="74937"/>
                  </a:cubicBezTo>
                  <a:cubicBezTo>
                    <a:pt x="134886" y="74937"/>
                    <a:pt x="124895" y="94920"/>
                    <a:pt x="124895" y="94920"/>
                  </a:cubicBezTo>
                  <a:cubicBezTo>
                    <a:pt x="124895" y="94920"/>
                    <a:pt x="114903" y="94920"/>
                    <a:pt x="114903" y="94920"/>
                  </a:cubicBezTo>
                  <a:cubicBezTo>
                    <a:pt x="114903" y="94920"/>
                    <a:pt x="114903" y="184844"/>
                    <a:pt x="114903" y="194836"/>
                  </a:cubicBezTo>
                  <a:cubicBezTo>
                    <a:pt x="114903" y="204828"/>
                    <a:pt x="104912" y="224811"/>
                    <a:pt x="94920" y="234802"/>
                  </a:cubicBezTo>
                  <a:cubicBezTo>
                    <a:pt x="84928" y="244794"/>
                    <a:pt x="74937" y="394668"/>
                    <a:pt x="74937" y="394668"/>
                  </a:cubicBezTo>
                  <a:cubicBezTo>
                    <a:pt x="74937" y="394668"/>
                    <a:pt x="84928" y="394668"/>
                    <a:pt x="154870" y="394668"/>
                  </a:cubicBezTo>
                  <a:cubicBezTo>
                    <a:pt x="214819" y="394668"/>
                    <a:pt x="234802" y="394668"/>
                    <a:pt x="234802" y="394668"/>
                  </a:cubicBezTo>
                  <a:cubicBezTo>
                    <a:pt x="234802" y="394668"/>
                    <a:pt x="224811" y="244794"/>
                    <a:pt x="214819" y="234802"/>
                  </a:cubicBezTo>
                  <a:cubicBezTo>
                    <a:pt x="214819" y="224811"/>
                    <a:pt x="204827" y="214819"/>
                    <a:pt x="204827" y="194836"/>
                  </a:cubicBezTo>
                  <a:cubicBezTo>
                    <a:pt x="204827" y="184844"/>
                    <a:pt x="214819" y="94920"/>
                    <a:pt x="204827" y="94920"/>
                  </a:cubicBezTo>
                  <a:cubicBezTo>
                    <a:pt x="204827" y="94920"/>
                    <a:pt x="194836" y="94920"/>
                    <a:pt x="194836" y="94920"/>
                  </a:cubicBezTo>
                  <a:close/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" name="任意多边形: 形状 13">
              <a:extLst>
                <a:ext uri="{FF2B5EF4-FFF2-40B4-BE49-F238E27FC236}">
                  <a16:creationId xmlns:a16="http://schemas.microsoft.com/office/drawing/2014/main" id="{9382255C-3FD6-4AE9-8D57-FF5A89E8EDDF}"/>
                </a:ext>
              </a:extLst>
            </p:cNvPr>
            <p:cNvSpPr/>
            <p:nvPr userDrawn="1"/>
          </p:nvSpPr>
          <p:spPr>
            <a:xfrm>
              <a:off x="5030807" y="3912471"/>
              <a:ext cx="97335" cy="97335"/>
            </a:xfrm>
            <a:custGeom>
              <a:avLst/>
              <a:gdLst>
                <a:gd name="connsiteX0" fmla="*/ 74937 w 99915"/>
                <a:gd name="connsiteY0" fmla="*/ 94920 h 99915"/>
                <a:gd name="connsiteX1" fmla="*/ 94920 w 99915"/>
                <a:gd name="connsiteY1" fmla="*/ 74937 h 99915"/>
                <a:gd name="connsiteX2" fmla="*/ 114903 w 99915"/>
                <a:gd name="connsiteY2" fmla="*/ 94920 h 99915"/>
                <a:gd name="connsiteX3" fmla="*/ 94920 w 99915"/>
                <a:gd name="connsiteY3" fmla="*/ 94920 h 99915"/>
                <a:gd name="connsiteX4" fmla="*/ 74937 w 99915"/>
                <a:gd name="connsiteY4" fmla="*/ 94920 h 999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9915" h="99915">
                  <a:moveTo>
                    <a:pt x="74937" y="94920"/>
                  </a:moveTo>
                  <a:cubicBezTo>
                    <a:pt x="74937" y="84928"/>
                    <a:pt x="84928" y="74937"/>
                    <a:pt x="94920" y="74937"/>
                  </a:cubicBezTo>
                  <a:cubicBezTo>
                    <a:pt x="104912" y="74937"/>
                    <a:pt x="114903" y="84928"/>
                    <a:pt x="114903" y="94920"/>
                  </a:cubicBezTo>
                  <a:cubicBezTo>
                    <a:pt x="114903" y="94920"/>
                    <a:pt x="104912" y="94920"/>
                    <a:pt x="94920" y="94920"/>
                  </a:cubicBezTo>
                  <a:cubicBezTo>
                    <a:pt x="74937" y="94920"/>
                    <a:pt x="74937" y="94920"/>
                    <a:pt x="74937" y="94920"/>
                  </a:cubicBezTo>
                  <a:close/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" name="任意多边形: 形状 14">
              <a:extLst>
                <a:ext uri="{FF2B5EF4-FFF2-40B4-BE49-F238E27FC236}">
                  <a16:creationId xmlns:a16="http://schemas.microsoft.com/office/drawing/2014/main" id="{CEA23051-4F45-41D3-A69B-14722D2561D0}"/>
                </a:ext>
              </a:extLst>
            </p:cNvPr>
            <p:cNvSpPr/>
            <p:nvPr userDrawn="1"/>
          </p:nvSpPr>
          <p:spPr>
            <a:xfrm>
              <a:off x="4952939" y="4233678"/>
              <a:ext cx="292005" cy="97335"/>
            </a:xfrm>
            <a:custGeom>
              <a:avLst/>
              <a:gdLst>
                <a:gd name="connsiteX0" fmla="*/ 264777 w 299747"/>
                <a:gd name="connsiteY0" fmla="*/ 84928 h 99915"/>
                <a:gd name="connsiteX1" fmla="*/ 264777 w 299747"/>
                <a:gd name="connsiteY1" fmla="*/ 84928 h 99915"/>
                <a:gd name="connsiteX2" fmla="*/ 84929 w 299747"/>
                <a:gd name="connsiteY2" fmla="*/ 94920 h 99915"/>
                <a:gd name="connsiteX3" fmla="*/ 74937 w 299747"/>
                <a:gd name="connsiteY3" fmla="*/ 84928 h 99915"/>
                <a:gd name="connsiteX4" fmla="*/ 74937 w 299747"/>
                <a:gd name="connsiteY4" fmla="*/ 84928 h 99915"/>
                <a:gd name="connsiteX5" fmla="*/ 84929 w 299747"/>
                <a:gd name="connsiteY5" fmla="*/ 74937 h 99915"/>
                <a:gd name="connsiteX6" fmla="*/ 264777 w 299747"/>
                <a:gd name="connsiteY6" fmla="*/ 84928 h 99915"/>
                <a:gd name="connsiteX7" fmla="*/ 264777 w 299747"/>
                <a:gd name="connsiteY7" fmla="*/ 84928 h 99915"/>
                <a:gd name="connsiteX8" fmla="*/ 264777 w 299747"/>
                <a:gd name="connsiteY8" fmla="*/ 84928 h 999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99747" h="99915">
                  <a:moveTo>
                    <a:pt x="264777" y="84928"/>
                  </a:moveTo>
                  <a:cubicBezTo>
                    <a:pt x="264777" y="94920"/>
                    <a:pt x="264777" y="94920"/>
                    <a:pt x="264777" y="84928"/>
                  </a:cubicBezTo>
                  <a:lnTo>
                    <a:pt x="84929" y="94920"/>
                  </a:lnTo>
                  <a:cubicBezTo>
                    <a:pt x="84929" y="94920"/>
                    <a:pt x="74937" y="94920"/>
                    <a:pt x="74937" y="84928"/>
                  </a:cubicBezTo>
                  <a:lnTo>
                    <a:pt x="74937" y="84928"/>
                  </a:lnTo>
                  <a:cubicBezTo>
                    <a:pt x="74937" y="84928"/>
                    <a:pt x="74937" y="74937"/>
                    <a:pt x="84929" y="74937"/>
                  </a:cubicBezTo>
                  <a:lnTo>
                    <a:pt x="264777" y="84928"/>
                  </a:lnTo>
                  <a:cubicBezTo>
                    <a:pt x="264777" y="84928"/>
                    <a:pt x="264777" y="84928"/>
                    <a:pt x="264777" y="84928"/>
                  </a:cubicBezTo>
                  <a:lnTo>
                    <a:pt x="264777" y="84928"/>
                  </a:lnTo>
                  <a:close/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" name="任意多边形: 形状 15">
              <a:extLst>
                <a:ext uri="{FF2B5EF4-FFF2-40B4-BE49-F238E27FC236}">
                  <a16:creationId xmlns:a16="http://schemas.microsoft.com/office/drawing/2014/main" id="{7904C8C8-97B7-4B95-884F-013A799A2980}"/>
                </a:ext>
              </a:extLst>
            </p:cNvPr>
            <p:cNvSpPr/>
            <p:nvPr userDrawn="1"/>
          </p:nvSpPr>
          <p:spPr>
            <a:xfrm>
              <a:off x="4916439" y="4438081"/>
              <a:ext cx="292005" cy="97335"/>
            </a:xfrm>
            <a:custGeom>
              <a:avLst/>
              <a:gdLst>
                <a:gd name="connsiteX0" fmla="*/ 82430 w 299747"/>
                <a:gd name="connsiteY0" fmla="*/ 84929 h 99915"/>
                <a:gd name="connsiteX1" fmla="*/ 82430 w 299747"/>
                <a:gd name="connsiteY1" fmla="*/ 84929 h 99915"/>
                <a:gd name="connsiteX2" fmla="*/ 82430 w 299747"/>
                <a:gd name="connsiteY2" fmla="*/ 84929 h 99915"/>
                <a:gd name="connsiteX3" fmla="*/ 82430 w 299747"/>
                <a:gd name="connsiteY3" fmla="*/ 84929 h 99915"/>
                <a:gd name="connsiteX4" fmla="*/ 82430 w 299747"/>
                <a:gd name="connsiteY4" fmla="*/ 84929 h 99915"/>
                <a:gd name="connsiteX5" fmla="*/ 282262 w 299747"/>
                <a:gd name="connsiteY5" fmla="*/ 74937 h 99915"/>
                <a:gd name="connsiteX6" fmla="*/ 282262 w 299747"/>
                <a:gd name="connsiteY6" fmla="*/ 74937 h 99915"/>
                <a:gd name="connsiteX7" fmla="*/ 282262 w 299747"/>
                <a:gd name="connsiteY7" fmla="*/ 74937 h 99915"/>
                <a:gd name="connsiteX8" fmla="*/ 282262 w 299747"/>
                <a:gd name="connsiteY8" fmla="*/ 74937 h 99915"/>
                <a:gd name="connsiteX9" fmla="*/ 282262 w 299747"/>
                <a:gd name="connsiteY9" fmla="*/ 74937 h 99915"/>
                <a:gd name="connsiteX10" fmla="*/ 82430 w 299747"/>
                <a:gd name="connsiteY10" fmla="*/ 84929 h 99915"/>
                <a:gd name="connsiteX11" fmla="*/ 82430 w 299747"/>
                <a:gd name="connsiteY11" fmla="*/ 84929 h 999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99747" h="99915">
                  <a:moveTo>
                    <a:pt x="82430" y="84929"/>
                  </a:moveTo>
                  <a:cubicBezTo>
                    <a:pt x="72439" y="84929"/>
                    <a:pt x="72439" y="84929"/>
                    <a:pt x="82430" y="84929"/>
                  </a:cubicBezTo>
                  <a:lnTo>
                    <a:pt x="82430" y="84929"/>
                  </a:lnTo>
                  <a:cubicBezTo>
                    <a:pt x="72439" y="84929"/>
                    <a:pt x="72439" y="84929"/>
                    <a:pt x="82430" y="84929"/>
                  </a:cubicBezTo>
                  <a:lnTo>
                    <a:pt x="82430" y="84929"/>
                  </a:lnTo>
                  <a:lnTo>
                    <a:pt x="282262" y="74937"/>
                  </a:lnTo>
                  <a:cubicBezTo>
                    <a:pt x="282262" y="74937"/>
                    <a:pt x="282262" y="74937"/>
                    <a:pt x="282262" y="74937"/>
                  </a:cubicBezTo>
                  <a:lnTo>
                    <a:pt x="282262" y="74937"/>
                  </a:lnTo>
                  <a:cubicBezTo>
                    <a:pt x="282262" y="74937"/>
                    <a:pt x="282262" y="74937"/>
                    <a:pt x="282262" y="74937"/>
                  </a:cubicBezTo>
                  <a:lnTo>
                    <a:pt x="282262" y="74937"/>
                  </a:lnTo>
                  <a:lnTo>
                    <a:pt x="82430" y="84929"/>
                  </a:lnTo>
                  <a:lnTo>
                    <a:pt x="82430" y="84929"/>
                  </a:lnTo>
                  <a:close/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" name="任意多边形: 形状 16">
              <a:extLst>
                <a:ext uri="{FF2B5EF4-FFF2-40B4-BE49-F238E27FC236}">
                  <a16:creationId xmlns:a16="http://schemas.microsoft.com/office/drawing/2014/main" id="{7AE6E51F-81AA-41D0-B39C-ECC32B37106D}"/>
                </a:ext>
              </a:extLst>
            </p:cNvPr>
            <p:cNvSpPr/>
            <p:nvPr userDrawn="1"/>
          </p:nvSpPr>
          <p:spPr>
            <a:xfrm>
              <a:off x="4919412" y="4700886"/>
              <a:ext cx="292005" cy="97335"/>
            </a:xfrm>
            <a:custGeom>
              <a:avLst/>
              <a:gdLst>
                <a:gd name="connsiteX0" fmla="*/ 79378 w 299747"/>
                <a:gd name="connsiteY0" fmla="*/ 84929 h 99915"/>
                <a:gd name="connsiteX1" fmla="*/ 79378 w 299747"/>
                <a:gd name="connsiteY1" fmla="*/ 84929 h 99915"/>
                <a:gd name="connsiteX2" fmla="*/ 79378 w 299747"/>
                <a:gd name="connsiteY2" fmla="*/ 84929 h 99915"/>
                <a:gd name="connsiteX3" fmla="*/ 79378 w 299747"/>
                <a:gd name="connsiteY3" fmla="*/ 84929 h 99915"/>
                <a:gd name="connsiteX4" fmla="*/ 79378 w 299747"/>
                <a:gd name="connsiteY4" fmla="*/ 84929 h 99915"/>
                <a:gd name="connsiteX5" fmla="*/ 279209 w 299747"/>
                <a:gd name="connsiteY5" fmla="*/ 74937 h 99915"/>
                <a:gd name="connsiteX6" fmla="*/ 279209 w 299747"/>
                <a:gd name="connsiteY6" fmla="*/ 74937 h 99915"/>
                <a:gd name="connsiteX7" fmla="*/ 279209 w 299747"/>
                <a:gd name="connsiteY7" fmla="*/ 74937 h 99915"/>
                <a:gd name="connsiteX8" fmla="*/ 279209 w 299747"/>
                <a:gd name="connsiteY8" fmla="*/ 74937 h 99915"/>
                <a:gd name="connsiteX9" fmla="*/ 279209 w 299747"/>
                <a:gd name="connsiteY9" fmla="*/ 74937 h 99915"/>
                <a:gd name="connsiteX10" fmla="*/ 79378 w 299747"/>
                <a:gd name="connsiteY10" fmla="*/ 84929 h 99915"/>
                <a:gd name="connsiteX11" fmla="*/ 79378 w 299747"/>
                <a:gd name="connsiteY11" fmla="*/ 84929 h 999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99747" h="99915">
                  <a:moveTo>
                    <a:pt x="79378" y="84929"/>
                  </a:moveTo>
                  <a:cubicBezTo>
                    <a:pt x="79378" y="84929"/>
                    <a:pt x="69386" y="84929"/>
                    <a:pt x="79378" y="84929"/>
                  </a:cubicBezTo>
                  <a:lnTo>
                    <a:pt x="79378" y="84929"/>
                  </a:lnTo>
                  <a:cubicBezTo>
                    <a:pt x="69386" y="84929"/>
                    <a:pt x="79378" y="84929"/>
                    <a:pt x="79378" y="84929"/>
                  </a:cubicBezTo>
                  <a:lnTo>
                    <a:pt x="79378" y="84929"/>
                  </a:lnTo>
                  <a:lnTo>
                    <a:pt x="279209" y="74937"/>
                  </a:lnTo>
                  <a:cubicBezTo>
                    <a:pt x="279209" y="74937"/>
                    <a:pt x="279209" y="74937"/>
                    <a:pt x="279209" y="74937"/>
                  </a:cubicBezTo>
                  <a:lnTo>
                    <a:pt x="279209" y="74937"/>
                  </a:lnTo>
                  <a:cubicBezTo>
                    <a:pt x="279209" y="74937"/>
                    <a:pt x="279209" y="74937"/>
                    <a:pt x="279209" y="74937"/>
                  </a:cubicBezTo>
                  <a:lnTo>
                    <a:pt x="279209" y="74937"/>
                  </a:lnTo>
                  <a:lnTo>
                    <a:pt x="79378" y="84929"/>
                  </a:lnTo>
                  <a:lnTo>
                    <a:pt x="79378" y="84929"/>
                  </a:lnTo>
                  <a:close/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" name="任意多边形: 形状 17">
              <a:extLst>
                <a:ext uri="{FF2B5EF4-FFF2-40B4-BE49-F238E27FC236}">
                  <a16:creationId xmlns:a16="http://schemas.microsoft.com/office/drawing/2014/main" id="{953B2B3E-7858-4CC2-B5F1-3F6624888A49}"/>
                </a:ext>
              </a:extLst>
            </p:cNvPr>
            <p:cNvSpPr/>
            <p:nvPr userDrawn="1"/>
          </p:nvSpPr>
          <p:spPr>
            <a:xfrm>
              <a:off x="4919412" y="4973424"/>
              <a:ext cx="292005" cy="97335"/>
            </a:xfrm>
            <a:custGeom>
              <a:avLst/>
              <a:gdLst>
                <a:gd name="connsiteX0" fmla="*/ 79378 w 299747"/>
                <a:gd name="connsiteY0" fmla="*/ 84928 h 99915"/>
                <a:gd name="connsiteX1" fmla="*/ 79378 w 299747"/>
                <a:gd name="connsiteY1" fmla="*/ 84928 h 99915"/>
                <a:gd name="connsiteX2" fmla="*/ 79378 w 299747"/>
                <a:gd name="connsiteY2" fmla="*/ 84928 h 99915"/>
                <a:gd name="connsiteX3" fmla="*/ 79378 w 299747"/>
                <a:gd name="connsiteY3" fmla="*/ 84928 h 99915"/>
                <a:gd name="connsiteX4" fmla="*/ 79378 w 299747"/>
                <a:gd name="connsiteY4" fmla="*/ 84928 h 99915"/>
                <a:gd name="connsiteX5" fmla="*/ 279209 w 299747"/>
                <a:gd name="connsiteY5" fmla="*/ 74937 h 99915"/>
                <a:gd name="connsiteX6" fmla="*/ 279209 w 299747"/>
                <a:gd name="connsiteY6" fmla="*/ 74937 h 99915"/>
                <a:gd name="connsiteX7" fmla="*/ 279209 w 299747"/>
                <a:gd name="connsiteY7" fmla="*/ 74937 h 99915"/>
                <a:gd name="connsiteX8" fmla="*/ 279209 w 299747"/>
                <a:gd name="connsiteY8" fmla="*/ 74937 h 99915"/>
                <a:gd name="connsiteX9" fmla="*/ 279209 w 299747"/>
                <a:gd name="connsiteY9" fmla="*/ 74937 h 99915"/>
                <a:gd name="connsiteX10" fmla="*/ 79378 w 299747"/>
                <a:gd name="connsiteY10" fmla="*/ 84928 h 99915"/>
                <a:gd name="connsiteX11" fmla="*/ 79378 w 299747"/>
                <a:gd name="connsiteY11" fmla="*/ 84928 h 999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99747" h="99915">
                  <a:moveTo>
                    <a:pt x="79378" y="84928"/>
                  </a:moveTo>
                  <a:cubicBezTo>
                    <a:pt x="79378" y="84928"/>
                    <a:pt x="69386" y="84928"/>
                    <a:pt x="79378" y="84928"/>
                  </a:cubicBezTo>
                  <a:lnTo>
                    <a:pt x="79378" y="84928"/>
                  </a:lnTo>
                  <a:cubicBezTo>
                    <a:pt x="69386" y="84928"/>
                    <a:pt x="79378" y="84928"/>
                    <a:pt x="79378" y="84928"/>
                  </a:cubicBezTo>
                  <a:lnTo>
                    <a:pt x="79378" y="84928"/>
                  </a:lnTo>
                  <a:lnTo>
                    <a:pt x="279209" y="74937"/>
                  </a:lnTo>
                  <a:cubicBezTo>
                    <a:pt x="279209" y="74937"/>
                    <a:pt x="279209" y="74937"/>
                    <a:pt x="279209" y="74937"/>
                  </a:cubicBezTo>
                  <a:lnTo>
                    <a:pt x="279209" y="74937"/>
                  </a:lnTo>
                  <a:cubicBezTo>
                    <a:pt x="279209" y="74937"/>
                    <a:pt x="279209" y="74937"/>
                    <a:pt x="279209" y="74937"/>
                  </a:cubicBezTo>
                  <a:lnTo>
                    <a:pt x="279209" y="74937"/>
                  </a:lnTo>
                  <a:lnTo>
                    <a:pt x="79378" y="84928"/>
                  </a:lnTo>
                  <a:lnTo>
                    <a:pt x="79378" y="84928"/>
                  </a:lnTo>
                  <a:close/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" name="任意多边形: 形状 18">
              <a:extLst>
                <a:ext uri="{FF2B5EF4-FFF2-40B4-BE49-F238E27FC236}">
                  <a16:creationId xmlns:a16="http://schemas.microsoft.com/office/drawing/2014/main" id="{58C7A0F2-9D33-4210-BF79-8EC8332E740B}"/>
                </a:ext>
              </a:extLst>
            </p:cNvPr>
            <p:cNvSpPr/>
            <p:nvPr userDrawn="1"/>
          </p:nvSpPr>
          <p:spPr>
            <a:xfrm>
              <a:off x="4916439" y="4486748"/>
              <a:ext cx="194670" cy="97335"/>
            </a:xfrm>
            <a:custGeom>
              <a:avLst/>
              <a:gdLst>
                <a:gd name="connsiteX0" fmla="*/ 82430 w 199831"/>
                <a:gd name="connsiteY0" fmla="*/ 84929 h 99915"/>
                <a:gd name="connsiteX1" fmla="*/ 82430 w 199831"/>
                <a:gd name="connsiteY1" fmla="*/ 84929 h 99915"/>
                <a:gd name="connsiteX2" fmla="*/ 82430 w 199831"/>
                <a:gd name="connsiteY2" fmla="*/ 84929 h 99915"/>
                <a:gd name="connsiteX3" fmla="*/ 82430 w 199831"/>
                <a:gd name="connsiteY3" fmla="*/ 84929 h 99915"/>
                <a:gd name="connsiteX4" fmla="*/ 82430 w 199831"/>
                <a:gd name="connsiteY4" fmla="*/ 84929 h 99915"/>
                <a:gd name="connsiteX5" fmla="*/ 172355 w 199831"/>
                <a:gd name="connsiteY5" fmla="*/ 74937 h 99915"/>
                <a:gd name="connsiteX6" fmla="*/ 172355 w 199831"/>
                <a:gd name="connsiteY6" fmla="*/ 74937 h 99915"/>
                <a:gd name="connsiteX7" fmla="*/ 172355 w 199831"/>
                <a:gd name="connsiteY7" fmla="*/ 74937 h 99915"/>
                <a:gd name="connsiteX8" fmla="*/ 172355 w 199831"/>
                <a:gd name="connsiteY8" fmla="*/ 74937 h 99915"/>
                <a:gd name="connsiteX9" fmla="*/ 172355 w 199831"/>
                <a:gd name="connsiteY9" fmla="*/ 74937 h 99915"/>
                <a:gd name="connsiteX10" fmla="*/ 82430 w 199831"/>
                <a:gd name="connsiteY10" fmla="*/ 84929 h 99915"/>
                <a:gd name="connsiteX11" fmla="*/ 82430 w 199831"/>
                <a:gd name="connsiteY11" fmla="*/ 84929 h 999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99831" h="99915">
                  <a:moveTo>
                    <a:pt x="82430" y="84929"/>
                  </a:moveTo>
                  <a:cubicBezTo>
                    <a:pt x="72439" y="84929"/>
                    <a:pt x="72439" y="84929"/>
                    <a:pt x="82430" y="84929"/>
                  </a:cubicBezTo>
                  <a:lnTo>
                    <a:pt x="82430" y="84929"/>
                  </a:lnTo>
                  <a:cubicBezTo>
                    <a:pt x="72439" y="84929"/>
                    <a:pt x="72439" y="84929"/>
                    <a:pt x="82430" y="84929"/>
                  </a:cubicBezTo>
                  <a:lnTo>
                    <a:pt x="82430" y="84929"/>
                  </a:lnTo>
                  <a:lnTo>
                    <a:pt x="172355" y="74937"/>
                  </a:lnTo>
                  <a:cubicBezTo>
                    <a:pt x="172355" y="74937"/>
                    <a:pt x="172355" y="74937"/>
                    <a:pt x="172355" y="74937"/>
                  </a:cubicBezTo>
                  <a:lnTo>
                    <a:pt x="172355" y="74937"/>
                  </a:lnTo>
                  <a:cubicBezTo>
                    <a:pt x="172355" y="74937"/>
                    <a:pt x="172355" y="74937"/>
                    <a:pt x="172355" y="74937"/>
                  </a:cubicBezTo>
                  <a:lnTo>
                    <a:pt x="172355" y="74937"/>
                  </a:lnTo>
                  <a:lnTo>
                    <a:pt x="82430" y="84929"/>
                  </a:lnTo>
                  <a:lnTo>
                    <a:pt x="82430" y="84929"/>
                  </a:lnTo>
                  <a:close/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2" name="任意多边形: 形状 21">
              <a:extLst>
                <a:ext uri="{FF2B5EF4-FFF2-40B4-BE49-F238E27FC236}">
                  <a16:creationId xmlns:a16="http://schemas.microsoft.com/office/drawing/2014/main" id="{DA9F187B-7A15-4601-80DC-7311E9E1026A}"/>
                </a:ext>
              </a:extLst>
            </p:cNvPr>
            <p:cNvSpPr/>
            <p:nvPr userDrawn="1"/>
          </p:nvSpPr>
          <p:spPr>
            <a:xfrm>
              <a:off x="4916439" y="4545149"/>
              <a:ext cx="194670" cy="97335"/>
            </a:xfrm>
            <a:custGeom>
              <a:avLst/>
              <a:gdLst>
                <a:gd name="connsiteX0" fmla="*/ 82430 w 199831"/>
                <a:gd name="connsiteY0" fmla="*/ 84928 h 99915"/>
                <a:gd name="connsiteX1" fmla="*/ 82430 w 199831"/>
                <a:gd name="connsiteY1" fmla="*/ 84928 h 99915"/>
                <a:gd name="connsiteX2" fmla="*/ 82430 w 199831"/>
                <a:gd name="connsiteY2" fmla="*/ 84928 h 99915"/>
                <a:gd name="connsiteX3" fmla="*/ 82430 w 199831"/>
                <a:gd name="connsiteY3" fmla="*/ 84928 h 99915"/>
                <a:gd name="connsiteX4" fmla="*/ 82430 w 199831"/>
                <a:gd name="connsiteY4" fmla="*/ 84928 h 99915"/>
                <a:gd name="connsiteX5" fmla="*/ 172355 w 199831"/>
                <a:gd name="connsiteY5" fmla="*/ 74937 h 99915"/>
                <a:gd name="connsiteX6" fmla="*/ 172355 w 199831"/>
                <a:gd name="connsiteY6" fmla="*/ 74937 h 99915"/>
                <a:gd name="connsiteX7" fmla="*/ 172355 w 199831"/>
                <a:gd name="connsiteY7" fmla="*/ 74937 h 99915"/>
                <a:gd name="connsiteX8" fmla="*/ 172355 w 199831"/>
                <a:gd name="connsiteY8" fmla="*/ 74937 h 99915"/>
                <a:gd name="connsiteX9" fmla="*/ 172355 w 199831"/>
                <a:gd name="connsiteY9" fmla="*/ 74937 h 99915"/>
                <a:gd name="connsiteX10" fmla="*/ 82430 w 199831"/>
                <a:gd name="connsiteY10" fmla="*/ 84928 h 99915"/>
                <a:gd name="connsiteX11" fmla="*/ 82430 w 199831"/>
                <a:gd name="connsiteY11" fmla="*/ 84928 h 999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99831" h="99915">
                  <a:moveTo>
                    <a:pt x="82430" y="84928"/>
                  </a:moveTo>
                  <a:cubicBezTo>
                    <a:pt x="72439" y="84928"/>
                    <a:pt x="72439" y="84928"/>
                    <a:pt x="82430" y="84928"/>
                  </a:cubicBezTo>
                  <a:lnTo>
                    <a:pt x="82430" y="84928"/>
                  </a:lnTo>
                  <a:cubicBezTo>
                    <a:pt x="72439" y="74937"/>
                    <a:pt x="72439" y="74937"/>
                    <a:pt x="82430" y="84928"/>
                  </a:cubicBezTo>
                  <a:lnTo>
                    <a:pt x="82430" y="84928"/>
                  </a:lnTo>
                  <a:lnTo>
                    <a:pt x="172355" y="74937"/>
                  </a:lnTo>
                  <a:cubicBezTo>
                    <a:pt x="172355" y="74937"/>
                    <a:pt x="172355" y="74937"/>
                    <a:pt x="172355" y="74937"/>
                  </a:cubicBezTo>
                  <a:lnTo>
                    <a:pt x="172355" y="74937"/>
                  </a:lnTo>
                  <a:cubicBezTo>
                    <a:pt x="172355" y="74937"/>
                    <a:pt x="172355" y="74937"/>
                    <a:pt x="172355" y="74937"/>
                  </a:cubicBezTo>
                  <a:lnTo>
                    <a:pt x="172355" y="74937"/>
                  </a:lnTo>
                  <a:lnTo>
                    <a:pt x="82430" y="84928"/>
                  </a:lnTo>
                  <a:lnTo>
                    <a:pt x="82430" y="84928"/>
                  </a:lnTo>
                  <a:close/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3" name="任意多边形: 形状 22">
              <a:extLst>
                <a:ext uri="{FF2B5EF4-FFF2-40B4-BE49-F238E27FC236}">
                  <a16:creationId xmlns:a16="http://schemas.microsoft.com/office/drawing/2014/main" id="{1DF596AE-63B3-4F55-A4E4-4ED82FED3D6F}"/>
                </a:ext>
              </a:extLst>
            </p:cNvPr>
            <p:cNvSpPr/>
            <p:nvPr userDrawn="1"/>
          </p:nvSpPr>
          <p:spPr>
            <a:xfrm>
              <a:off x="4919412" y="4593817"/>
              <a:ext cx="194670" cy="97335"/>
            </a:xfrm>
            <a:custGeom>
              <a:avLst/>
              <a:gdLst>
                <a:gd name="connsiteX0" fmla="*/ 79378 w 199831"/>
                <a:gd name="connsiteY0" fmla="*/ 84928 h 99915"/>
                <a:gd name="connsiteX1" fmla="*/ 79378 w 199831"/>
                <a:gd name="connsiteY1" fmla="*/ 84928 h 99915"/>
                <a:gd name="connsiteX2" fmla="*/ 79378 w 199831"/>
                <a:gd name="connsiteY2" fmla="*/ 84928 h 99915"/>
                <a:gd name="connsiteX3" fmla="*/ 79378 w 199831"/>
                <a:gd name="connsiteY3" fmla="*/ 84928 h 99915"/>
                <a:gd name="connsiteX4" fmla="*/ 79378 w 199831"/>
                <a:gd name="connsiteY4" fmla="*/ 84928 h 99915"/>
                <a:gd name="connsiteX5" fmla="*/ 169302 w 199831"/>
                <a:gd name="connsiteY5" fmla="*/ 74937 h 99915"/>
                <a:gd name="connsiteX6" fmla="*/ 169302 w 199831"/>
                <a:gd name="connsiteY6" fmla="*/ 74937 h 99915"/>
                <a:gd name="connsiteX7" fmla="*/ 169302 w 199831"/>
                <a:gd name="connsiteY7" fmla="*/ 74937 h 99915"/>
                <a:gd name="connsiteX8" fmla="*/ 169302 w 199831"/>
                <a:gd name="connsiteY8" fmla="*/ 74937 h 99915"/>
                <a:gd name="connsiteX9" fmla="*/ 169302 w 199831"/>
                <a:gd name="connsiteY9" fmla="*/ 74937 h 99915"/>
                <a:gd name="connsiteX10" fmla="*/ 79378 w 199831"/>
                <a:gd name="connsiteY10" fmla="*/ 84928 h 99915"/>
                <a:gd name="connsiteX11" fmla="*/ 79378 w 199831"/>
                <a:gd name="connsiteY11" fmla="*/ 84928 h 999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99831" h="99915">
                  <a:moveTo>
                    <a:pt x="79378" y="84928"/>
                  </a:moveTo>
                  <a:cubicBezTo>
                    <a:pt x="79378" y="84928"/>
                    <a:pt x="69386" y="84928"/>
                    <a:pt x="79378" y="84928"/>
                  </a:cubicBezTo>
                  <a:lnTo>
                    <a:pt x="79378" y="84928"/>
                  </a:lnTo>
                  <a:cubicBezTo>
                    <a:pt x="69386" y="84928"/>
                    <a:pt x="79378" y="84928"/>
                    <a:pt x="79378" y="84928"/>
                  </a:cubicBezTo>
                  <a:lnTo>
                    <a:pt x="79378" y="84928"/>
                  </a:lnTo>
                  <a:lnTo>
                    <a:pt x="169302" y="74937"/>
                  </a:lnTo>
                  <a:cubicBezTo>
                    <a:pt x="169302" y="74937"/>
                    <a:pt x="169302" y="74937"/>
                    <a:pt x="169302" y="74937"/>
                  </a:cubicBezTo>
                  <a:lnTo>
                    <a:pt x="169302" y="74937"/>
                  </a:lnTo>
                  <a:cubicBezTo>
                    <a:pt x="169302" y="74937"/>
                    <a:pt x="169302" y="74937"/>
                    <a:pt x="169302" y="74937"/>
                  </a:cubicBezTo>
                  <a:lnTo>
                    <a:pt x="169302" y="74937"/>
                  </a:lnTo>
                  <a:lnTo>
                    <a:pt x="79378" y="84928"/>
                  </a:lnTo>
                  <a:lnTo>
                    <a:pt x="79378" y="84928"/>
                  </a:lnTo>
                  <a:close/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4" name="任意多边形: 形状 23">
              <a:extLst>
                <a:ext uri="{FF2B5EF4-FFF2-40B4-BE49-F238E27FC236}">
                  <a16:creationId xmlns:a16="http://schemas.microsoft.com/office/drawing/2014/main" id="{F4D1C852-4991-4308-A740-F324C79D01FA}"/>
                </a:ext>
              </a:extLst>
            </p:cNvPr>
            <p:cNvSpPr/>
            <p:nvPr userDrawn="1"/>
          </p:nvSpPr>
          <p:spPr>
            <a:xfrm>
              <a:off x="4919412" y="4652218"/>
              <a:ext cx="194670" cy="97335"/>
            </a:xfrm>
            <a:custGeom>
              <a:avLst/>
              <a:gdLst>
                <a:gd name="connsiteX0" fmla="*/ 79378 w 199831"/>
                <a:gd name="connsiteY0" fmla="*/ 84929 h 99915"/>
                <a:gd name="connsiteX1" fmla="*/ 79378 w 199831"/>
                <a:gd name="connsiteY1" fmla="*/ 84929 h 99915"/>
                <a:gd name="connsiteX2" fmla="*/ 79378 w 199831"/>
                <a:gd name="connsiteY2" fmla="*/ 84929 h 99915"/>
                <a:gd name="connsiteX3" fmla="*/ 79378 w 199831"/>
                <a:gd name="connsiteY3" fmla="*/ 84929 h 99915"/>
                <a:gd name="connsiteX4" fmla="*/ 79378 w 199831"/>
                <a:gd name="connsiteY4" fmla="*/ 84929 h 99915"/>
                <a:gd name="connsiteX5" fmla="*/ 169302 w 199831"/>
                <a:gd name="connsiteY5" fmla="*/ 74937 h 99915"/>
                <a:gd name="connsiteX6" fmla="*/ 169302 w 199831"/>
                <a:gd name="connsiteY6" fmla="*/ 74937 h 99915"/>
                <a:gd name="connsiteX7" fmla="*/ 169302 w 199831"/>
                <a:gd name="connsiteY7" fmla="*/ 74937 h 99915"/>
                <a:gd name="connsiteX8" fmla="*/ 169302 w 199831"/>
                <a:gd name="connsiteY8" fmla="*/ 74937 h 99915"/>
                <a:gd name="connsiteX9" fmla="*/ 169302 w 199831"/>
                <a:gd name="connsiteY9" fmla="*/ 74937 h 99915"/>
                <a:gd name="connsiteX10" fmla="*/ 79378 w 199831"/>
                <a:gd name="connsiteY10" fmla="*/ 84929 h 99915"/>
                <a:gd name="connsiteX11" fmla="*/ 79378 w 199831"/>
                <a:gd name="connsiteY11" fmla="*/ 84929 h 999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99831" h="99915">
                  <a:moveTo>
                    <a:pt x="79378" y="84929"/>
                  </a:moveTo>
                  <a:cubicBezTo>
                    <a:pt x="79378" y="84929"/>
                    <a:pt x="69386" y="84929"/>
                    <a:pt x="79378" y="84929"/>
                  </a:cubicBezTo>
                  <a:lnTo>
                    <a:pt x="79378" y="84929"/>
                  </a:lnTo>
                  <a:cubicBezTo>
                    <a:pt x="69386" y="74937"/>
                    <a:pt x="79378" y="74937"/>
                    <a:pt x="79378" y="84929"/>
                  </a:cubicBezTo>
                  <a:lnTo>
                    <a:pt x="79378" y="84929"/>
                  </a:lnTo>
                  <a:lnTo>
                    <a:pt x="169302" y="74937"/>
                  </a:lnTo>
                  <a:cubicBezTo>
                    <a:pt x="169302" y="74937"/>
                    <a:pt x="169302" y="74937"/>
                    <a:pt x="169302" y="74937"/>
                  </a:cubicBezTo>
                  <a:lnTo>
                    <a:pt x="169302" y="74937"/>
                  </a:lnTo>
                  <a:cubicBezTo>
                    <a:pt x="169302" y="74937"/>
                    <a:pt x="169302" y="74937"/>
                    <a:pt x="169302" y="74937"/>
                  </a:cubicBezTo>
                  <a:lnTo>
                    <a:pt x="169302" y="74937"/>
                  </a:lnTo>
                  <a:lnTo>
                    <a:pt x="79378" y="84929"/>
                  </a:lnTo>
                  <a:lnTo>
                    <a:pt x="79378" y="84929"/>
                  </a:lnTo>
                  <a:close/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5" name="任意多边形: 形状 24">
              <a:extLst>
                <a:ext uri="{FF2B5EF4-FFF2-40B4-BE49-F238E27FC236}">
                  <a16:creationId xmlns:a16="http://schemas.microsoft.com/office/drawing/2014/main" id="{C0D07695-AFAF-4A8D-8212-8E7DDC735FA3}"/>
                </a:ext>
              </a:extLst>
            </p:cNvPr>
            <p:cNvSpPr/>
            <p:nvPr userDrawn="1"/>
          </p:nvSpPr>
          <p:spPr>
            <a:xfrm>
              <a:off x="4919412" y="4759286"/>
              <a:ext cx="194670" cy="97335"/>
            </a:xfrm>
            <a:custGeom>
              <a:avLst/>
              <a:gdLst>
                <a:gd name="connsiteX0" fmla="*/ 79378 w 199831"/>
                <a:gd name="connsiteY0" fmla="*/ 84929 h 99915"/>
                <a:gd name="connsiteX1" fmla="*/ 79378 w 199831"/>
                <a:gd name="connsiteY1" fmla="*/ 84929 h 99915"/>
                <a:gd name="connsiteX2" fmla="*/ 79378 w 199831"/>
                <a:gd name="connsiteY2" fmla="*/ 84929 h 99915"/>
                <a:gd name="connsiteX3" fmla="*/ 79378 w 199831"/>
                <a:gd name="connsiteY3" fmla="*/ 84929 h 99915"/>
                <a:gd name="connsiteX4" fmla="*/ 79378 w 199831"/>
                <a:gd name="connsiteY4" fmla="*/ 84929 h 99915"/>
                <a:gd name="connsiteX5" fmla="*/ 169302 w 199831"/>
                <a:gd name="connsiteY5" fmla="*/ 74937 h 99915"/>
                <a:gd name="connsiteX6" fmla="*/ 169302 w 199831"/>
                <a:gd name="connsiteY6" fmla="*/ 74937 h 99915"/>
                <a:gd name="connsiteX7" fmla="*/ 169302 w 199831"/>
                <a:gd name="connsiteY7" fmla="*/ 74937 h 99915"/>
                <a:gd name="connsiteX8" fmla="*/ 169302 w 199831"/>
                <a:gd name="connsiteY8" fmla="*/ 74937 h 99915"/>
                <a:gd name="connsiteX9" fmla="*/ 169302 w 199831"/>
                <a:gd name="connsiteY9" fmla="*/ 74937 h 99915"/>
                <a:gd name="connsiteX10" fmla="*/ 79378 w 199831"/>
                <a:gd name="connsiteY10" fmla="*/ 84929 h 99915"/>
                <a:gd name="connsiteX11" fmla="*/ 79378 w 199831"/>
                <a:gd name="connsiteY11" fmla="*/ 84929 h 999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99831" h="99915">
                  <a:moveTo>
                    <a:pt x="79378" y="84929"/>
                  </a:moveTo>
                  <a:cubicBezTo>
                    <a:pt x="79378" y="84929"/>
                    <a:pt x="69386" y="84929"/>
                    <a:pt x="79378" y="84929"/>
                  </a:cubicBezTo>
                  <a:lnTo>
                    <a:pt x="79378" y="84929"/>
                  </a:lnTo>
                  <a:cubicBezTo>
                    <a:pt x="69386" y="74937"/>
                    <a:pt x="79378" y="74937"/>
                    <a:pt x="79378" y="84929"/>
                  </a:cubicBezTo>
                  <a:lnTo>
                    <a:pt x="79378" y="84929"/>
                  </a:lnTo>
                  <a:lnTo>
                    <a:pt x="169302" y="74937"/>
                  </a:lnTo>
                  <a:cubicBezTo>
                    <a:pt x="169302" y="74937"/>
                    <a:pt x="169302" y="74937"/>
                    <a:pt x="169302" y="74937"/>
                  </a:cubicBezTo>
                  <a:lnTo>
                    <a:pt x="169302" y="74937"/>
                  </a:lnTo>
                  <a:cubicBezTo>
                    <a:pt x="169302" y="74937"/>
                    <a:pt x="169302" y="74937"/>
                    <a:pt x="169302" y="74937"/>
                  </a:cubicBezTo>
                  <a:lnTo>
                    <a:pt x="169302" y="74937"/>
                  </a:lnTo>
                  <a:lnTo>
                    <a:pt x="79378" y="84929"/>
                  </a:lnTo>
                  <a:lnTo>
                    <a:pt x="79378" y="84929"/>
                  </a:lnTo>
                  <a:close/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6" name="任意多边形: 形状 25">
              <a:extLst>
                <a:ext uri="{FF2B5EF4-FFF2-40B4-BE49-F238E27FC236}">
                  <a16:creationId xmlns:a16="http://schemas.microsoft.com/office/drawing/2014/main" id="{6172D3E5-8184-4727-BB53-AD6DB64CCAFA}"/>
                </a:ext>
              </a:extLst>
            </p:cNvPr>
            <p:cNvSpPr/>
            <p:nvPr userDrawn="1"/>
          </p:nvSpPr>
          <p:spPr>
            <a:xfrm>
              <a:off x="4919412" y="4807954"/>
              <a:ext cx="194670" cy="97335"/>
            </a:xfrm>
            <a:custGeom>
              <a:avLst/>
              <a:gdLst>
                <a:gd name="connsiteX0" fmla="*/ 79378 w 199831"/>
                <a:gd name="connsiteY0" fmla="*/ 84929 h 99915"/>
                <a:gd name="connsiteX1" fmla="*/ 79378 w 199831"/>
                <a:gd name="connsiteY1" fmla="*/ 84929 h 99915"/>
                <a:gd name="connsiteX2" fmla="*/ 79378 w 199831"/>
                <a:gd name="connsiteY2" fmla="*/ 84929 h 99915"/>
                <a:gd name="connsiteX3" fmla="*/ 79378 w 199831"/>
                <a:gd name="connsiteY3" fmla="*/ 84929 h 99915"/>
                <a:gd name="connsiteX4" fmla="*/ 79378 w 199831"/>
                <a:gd name="connsiteY4" fmla="*/ 84929 h 99915"/>
                <a:gd name="connsiteX5" fmla="*/ 169302 w 199831"/>
                <a:gd name="connsiteY5" fmla="*/ 74937 h 99915"/>
                <a:gd name="connsiteX6" fmla="*/ 169302 w 199831"/>
                <a:gd name="connsiteY6" fmla="*/ 74937 h 99915"/>
                <a:gd name="connsiteX7" fmla="*/ 169302 w 199831"/>
                <a:gd name="connsiteY7" fmla="*/ 74937 h 99915"/>
                <a:gd name="connsiteX8" fmla="*/ 169302 w 199831"/>
                <a:gd name="connsiteY8" fmla="*/ 74937 h 99915"/>
                <a:gd name="connsiteX9" fmla="*/ 169302 w 199831"/>
                <a:gd name="connsiteY9" fmla="*/ 74937 h 99915"/>
                <a:gd name="connsiteX10" fmla="*/ 79378 w 199831"/>
                <a:gd name="connsiteY10" fmla="*/ 84929 h 99915"/>
                <a:gd name="connsiteX11" fmla="*/ 79378 w 199831"/>
                <a:gd name="connsiteY11" fmla="*/ 84929 h 999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99831" h="99915">
                  <a:moveTo>
                    <a:pt x="79378" y="84929"/>
                  </a:moveTo>
                  <a:cubicBezTo>
                    <a:pt x="79378" y="84929"/>
                    <a:pt x="69386" y="84929"/>
                    <a:pt x="79378" y="84929"/>
                  </a:cubicBezTo>
                  <a:lnTo>
                    <a:pt x="79378" y="84929"/>
                  </a:lnTo>
                  <a:cubicBezTo>
                    <a:pt x="69386" y="84929"/>
                    <a:pt x="79378" y="84929"/>
                    <a:pt x="79378" y="84929"/>
                  </a:cubicBezTo>
                  <a:lnTo>
                    <a:pt x="79378" y="84929"/>
                  </a:lnTo>
                  <a:lnTo>
                    <a:pt x="169302" y="74937"/>
                  </a:lnTo>
                  <a:cubicBezTo>
                    <a:pt x="169302" y="74937"/>
                    <a:pt x="169302" y="74937"/>
                    <a:pt x="169302" y="74937"/>
                  </a:cubicBezTo>
                  <a:lnTo>
                    <a:pt x="169302" y="74937"/>
                  </a:lnTo>
                  <a:cubicBezTo>
                    <a:pt x="169302" y="74937"/>
                    <a:pt x="169302" y="74937"/>
                    <a:pt x="169302" y="74937"/>
                  </a:cubicBezTo>
                  <a:lnTo>
                    <a:pt x="169302" y="74937"/>
                  </a:lnTo>
                  <a:lnTo>
                    <a:pt x="79378" y="84929"/>
                  </a:lnTo>
                  <a:lnTo>
                    <a:pt x="79378" y="84929"/>
                  </a:lnTo>
                  <a:close/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7" name="任意多边形: 形状 26">
              <a:extLst>
                <a:ext uri="{FF2B5EF4-FFF2-40B4-BE49-F238E27FC236}">
                  <a16:creationId xmlns:a16="http://schemas.microsoft.com/office/drawing/2014/main" id="{9CE6F43B-80C1-4CC4-B2B6-B7597624A2D9}"/>
                </a:ext>
              </a:extLst>
            </p:cNvPr>
            <p:cNvSpPr/>
            <p:nvPr userDrawn="1"/>
          </p:nvSpPr>
          <p:spPr>
            <a:xfrm>
              <a:off x="4919412" y="4866356"/>
              <a:ext cx="194670" cy="97335"/>
            </a:xfrm>
            <a:custGeom>
              <a:avLst/>
              <a:gdLst>
                <a:gd name="connsiteX0" fmla="*/ 79378 w 199831"/>
                <a:gd name="connsiteY0" fmla="*/ 84929 h 99915"/>
                <a:gd name="connsiteX1" fmla="*/ 79378 w 199831"/>
                <a:gd name="connsiteY1" fmla="*/ 84929 h 99915"/>
                <a:gd name="connsiteX2" fmla="*/ 79378 w 199831"/>
                <a:gd name="connsiteY2" fmla="*/ 84929 h 99915"/>
                <a:gd name="connsiteX3" fmla="*/ 79378 w 199831"/>
                <a:gd name="connsiteY3" fmla="*/ 84929 h 99915"/>
                <a:gd name="connsiteX4" fmla="*/ 79378 w 199831"/>
                <a:gd name="connsiteY4" fmla="*/ 84929 h 99915"/>
                <a:gd name="connsiteX5" fmla="*/ 169302 w 199831"/>
                <a:gd name="connsiteY5" fmla="*/ 74937 h 99915"/>
                <a:gd name="connsiteX6" fmla="*/ 169302 w 199831"/>
                <a:gd name="connsiteY6" fmla="*/ 74937 h 99915"/>
                <a:gd name="connsiteX7" fmla="*/ 169302 w 199831"/>
                <a:gd name="connsiteY7" fmla="*/ 74937 h 99915"/>
                <a:gd name="connsiteX8" fmla="*/ 169302 w 199831"/>
                <a:gd name="connsiteY8" fmla="*/ 74937 h 99915"/>
                <a:gd name="connsiteX9" fmla="*/ 169302 w 199831"/>
                <a:gd name="connsiteY9" fmla="*/ 74937 h 99915"/>
                <a:gd name="connsiteX10" fmla="*/ 79378 w 199831"/>
                <a:gd name="connsiteY10" fmla="*/ 84929 h 99915"/>
                <a:gd name="connsiteX11" fmla="*/ 79378 w 199831"/>
                <a:gd name="connsiteY11" fmla="*/ 84929 h 999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99831" h="99915">
                  <a:moveTo>
                    <a:pt x="79378" y="84929"/>
                  </a:moveTo>
                  <a:cubicBezTo>
                    <a:pt x="79378" y="84929"/>
                    <a:pt x="69386" y="84929"/>
                    <a:pt x="79378" y="84929"/>
                  </a:cubicBezTo>
                  <a:lnTo>
                    <a:pt x="79378" y="84929"/>
                  </a:lnTo>
                  <a:cubicBezTo>
                    <a:pt x="69386" y="84929"/>
                    <a:pt x="79378" y="74937"/>
                    <a:pt x="79378" y="84929"/>
                  </a:cubicBezTo>
                  <a:lnTo>
                    <a:pt x="79378" y="84929"/>
                  </a:lnTo>
                  <a:lnTo>
                    <a:pt x="169302" y="74937"/>
                  </a:lnTo>
                  <a:cubicBezTo>
                    <a:pt x="169302" y="74937"/>
                    <a:pt x="169302" y="74937"/>
                    <a:pt x="169302" y="74937"/>
                  </a:cubicBezTo>
                  <a:lnTo>
                    <a:pt x="169302" y="74937"/>
                  </a:lnTo>
                  <a:cubicBezTo>
                    <a:pt x="169302" y="74937"/>
                    <a:pt x="169302" y="74937"/>
                    <a:pt x="169302" y="74937"/>
                  </a:cubicBezTo>
                  <a:lnTo>
                    <a:pt x="169302" y="74937"/>
                  </a:lnTo>
                  <a:lnTo>
                    <a:pt x="79378" y="84929"/>
                  </a:lnTo>
                  <a:lnTo>
                    <a:pt x="79378" y="84929"/>
                  </a:lnTo>
                  <a:close/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8" name="任意多边形: 形状 27">
              <a:extLst>
                <a:ext uri="{FF2B5EF4-FFF2-40B4-BE49-F238E27FC236}">
                  <a16:creationId xmlns:a16="http://schemas.microsoft.com/office/drawing/2014/main" id="{E8D6460E-3EC3-4733-A4CE-90C3403BE0C6}"/>
                </a:ext>
              </a:extLst>
            </p:cNvPr>
            <p:cNvSpPr/>
            <p:nvPr userDrawn="1"/>
          </p:nvSpPr>
          <p:spPr>
            <a:xfrm>
              <a:off x="4919412" y="4924756"/>
              <a:ext cx="194670" cy="97335"/>
            </a:xfrm>
            <a:custGeom>
              <a:avLst/>
              <a:gdLst>
                <a:gd name="connsiteX0" fmla="*/ 79378 w 199831"/>
                <a:gd name="connsiteY0" fmla="*/ 84928 h 99915"/>
                <a:gd name="connsiteX1" fmla="*/ 79378 w 199831"/>
                <a:gd name="connsiteY1" fmla="*/ 84928 h 99915"/>
                <a:gd name="connsiteX2" fmla="*/ 79378 w 199831"/>
                <a:gd name="connsiteY2" fmla="*/ 84928 h 99915"/>
                <a:gd name="connsiteX3" fmla="*/ 79378 w 199831"/>
                <a:gd name="connsiteY3" fmla="*/ 84928 h 99915"/>
                <a:gd name="connsiteX4" fmla="*/ 79378 w 199831"/>
                <a:gd name="connsiteY4" fmla="*/ 84928 h 99915"/>
                <a:gd name="connsiteX5" fmla="*/ 169302 w 199831"/>
                <a:gd name="connsiteY5" fmla="*/ 74937 h 99915"/>
                <a:gd name="connsiteX6" fmla="*/ 169302 w 199831"/>
                <a:gd name="connsiteY6" fmla="*/ 74937 h 99915"/>
                <a:gd name="connsiteX7" fmla="*/ 169302 w 199831"/>
                <a:gd name="connsiteY7" fmla="*/ 74937 h 99915"/>
                <a:gd name="connsiteX8" fmla="*/ 169302 w 199831"/>
                <a:gd name="connsiteY8" fmla="*/ 74937 h 99915"/>
                <a:gd name="connsiteX9" fmla="*/ 169302 w 199831"/>
                <a:gd name="connsiteY9" fmla="*/ 74937 h 99915"/>
                <a:gd name="connsiteX10" fmla="*/ 79378 w 199831"/>
                <a:gd name="connsiteY10" fmla="*/ 84928 h 99915"/>
                <a:gd name="connsiteX11" fmla="*/ 79378 w 199831"/>
                <a:gd name="connsiteY11" fmla="*/ 84928 h 999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99831" h="99915">
                  <a:moveTo>
                    <a:pt x="79378" y="84928"/>
                  </a:moveTo>
                  <a:cubicBezTo>
                    <a:pt x="79378" y="84928"/>
                    <a:pt x="69386" y="74937"/>
                    <a:pt x="79378" y="84928"/>
                  </a:cubicBezTo>
                  <a:lnTo>
                    <a:pt x="79378" y="84928"/>
                  </a:lnTo>
                  <a:cubicBezTo>
                    <a:pt x="69386" y="74937"/>
                    <a:pt x="79378" y="74937"/>
                    <a:pt x="79378" y="84928"/>
                  </a:cubicBezTo>
                  <a:lnTo>
                    <a:pt x="79378" y="84928"/>
                  </a:lnTo>
                  <a:lnTo>
                    <a:pt x="169302" y="74937"/>
                  </a:lnTo>
                  <a:cubicBezTo>
                    <a:pt x="169302" y="74937"/>
                    <a:pt x="169302" y="74937"/>
                    <a:pt x="169302" y="74937"/>
                  </a:cubicBezTo>
                  <a:lnTo>
                    <a:pt x="169302" y="74937"/>
                  </a:lnTo>
                  <a:cubicBezTo>
                    <a:pt x="169302" y="74937"/>
                    <a:pt x="169302" y="74937"/>
                    <a:pt x="169302" y="74937"/>
                  </a:cubicBezTo>
                  <a:lnTo>
                    <a:pt x="169302" y="74937"/>
                  </a:lnTo>
                  <a:lnTo>
                    <a:pt x="79378" y="84928"/>
                  </a:lnTo>
                  <a:lnTo>
                    <a:pt x="79378" y="84928"/>
                  </a:lnTo>
                  <a:close/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9" name="任意多边形: 形状 28">
              <a:extLst>
                <a:ext uri="{FF2B5EF4-FFF2-40B4-BE49-F238E27FC236}">
                  <a16:creationId xmlns:a16="http://schemas.microsoft.com/office/drawing/2014/main" id="{5DFEEDCD-7EEF-4412-851E-B2B23B26CD95}"/>
                </a:ext>
              </a:extLst>
            </p:cNvPr>
            <p:cNvSpPr/>
            <p:nvPr userDrawn="1"/>
          </p:nvSpPr>
          <p:spPr>
            <a:xfrm>
              <a:off x="5147609" y="4438081"/>
              <a:ext cx="97335" cy="97335"/>
            </a:xfrm>
            <a:custGeom>
              <a:avLst/>
              <a:gdLst>
                <a:gd name="connsiteX0" fmla="*/ 94920 w 99915"/>
                <a:gd name="connsiteY0" fmla="*/ 104912 h 99915"/>
                <a:gd name="connsiteX1" fmla="*/ 94920 w 99915"/>
                <a:gd name="connsiteY1" fmla="*/ 74937 h 99915"/>
                <a:gd name="connsiteX2" fmla="*/ 84929 w 99915"/>
                <a:gd name="connsiteY2" fmla="*/ 84929 h 99915"/>
                <a:gd name="connsiteX3" fmla="*/ 74937 w 99915"/>
                <a:gd name="connsiteY3" fmla="*/ 84929 h 99915"/>
                <a:gd name="connsiteX4" fmla="*/ 84929 w 99915"/>
                <a:gd name="connsiteY4" fmla="*/ 74937 h 99915"/>
                <a:gd name="connsiteX5" fmla="*/ 94920 w 99915"/>
                <a:gd name="connsiteY5" fmla="*/ 74937 h 99915"/>
                <a:gd name="connsiteX6" fmla="*/ 94920 w 99915"/>
                <a:gd name="connsiteY6" fmla="*/ 104912 h 99915"/>
                <a:gd name="connsiteX7" fmla="*/ 94920 w 99915"/>
                <a:gd name="connsiteY7" fmla="*/ 104912 h 999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9915" h="99915">
                  <a:moveTo>
                    <a:pt x="94920" y="104912"/>
                  </a:moveTo>
                  <a:lnTo>
                    <a:pt x="94920" y="74937"/>
                  </a:lnTo>
                  <a:lnTo>
                    <a:pt x="84929" y="84929"/>
                  </a:lnTo>
                  <a:lnTo>
                    <a:pt x="74937" y="84929"/>
                  </a:lnTo>
                  <a:lnTo>
                    <a:pt x="84929" y="74937"/>
                  </a:lnTo>
                  <a:lnTo>
                    <a:pt x="94920" y="74937"/>
                  </a:lnTo>
                  <a:lnTo>
                    <a:pt x="94920" y="104912"/>
                  </a:lnTo>
                  <a:lnTo>
                    <a:pt x="94920" y="104912"/>
                  </a:lnTo>
                  <a:close/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0" name="任意多边形: 形状 29">
              <a:extLst>
                <a:ext uri="{FF2B5EF4-FFF2-40B4-BE49-F238E27FC236}">
                  <a16:creationId xmlns:a16="http://schemas.microsoft.com/office/drawing/2014/main" id="{AB72D1BD-85CF-427C-9F8C-9E5F765D4A00}"/>
                </a:ext>
              </a:extLst>
            </p:cNvPr>
            <p:cNvSpPr/>
            <p:nvPr userDrawn="1"/>
          </p:nvSpPr>
          <p:spPr>
            <a:xfrm>
              <a:off x="5157343" y="4691152"/>
              <a:ext cx="97335" cy="97335"/>
            </a:xfrm>
            <a:custGeom>
              <a:avLst/>
              <a:gdLst>
                <a:gd name="connsiteX0" fmla="*/ 74937 w 99915"/>
                <a:gd name="connsiteY0" fmla="*/ 84928 h 99915"/>
                <a:gd name="connsiteX1" fmla="*/ 94920 w 99915"/>
                <a:gd name="connsiteY1" fmla="*/ 74937 h 99915"/>
                <a:gd name="connsiteX2" fmla="*/ 104912 w 99915"/>
                <a:gd name="connsiteY2" fmla="*/ 94920 h 99915"/>
                <a:gd name="connsiteX3" fmla="*/ 94920 w 99915"/>
                <a:gd name="connsiteY3" fmla="*/ 104912 h 99915"/>
                <a:gd name="connsiteX4" fmla="*/ 114903 w 99915"/>
                <a:gd name="connsiteY4" fmla="*/ 104912 h 99915"/>
                <a:gd name="connsiteX5" fmla="*/ 114903 w 99915"/>
                <a:gd name="connsiteY5" fmla="*/ 104912 h 99915"/>
                <a:gd name="connsiteX6" fmla="*/ 84928 w 99915"/>
                <a:gd name="connsiteY6" fmla="*/ 104912 h 99915"/>
                <a:gd name="connsiteX7" fmla="*/ 84928 w 99915"/>
                <a:gd name="connsiteY7" fmla="*/ 104912 h 99915"/>
                <a:gd name="connsiteX8" fmla="*/ 104912 w 99915"/>
                <a:gd name="connsiteY8" fmla="*/ 94920 h 99915"/>
                <a:gd name="connsiteX9" fmla="*/ 104912 w 99915"/>
                <a:gd name="connsiteY9" fmla="*/ 94920 h 99915"/>
                <a:gd name="connsiteX10" fmla="*/ 94920 w 99915"/>
                <a:gd name="connsiteY10" fmla="*/ 84928 h 99915"/>
                <a:gd name="connsiteX11" fmla="*/ 74937 w 99915"/>
                <a:gd name="connsiteY11" fmla="*/ 84928 h 99915"/>
                <a:gd name="connsiteX12" fmla="*/ 74937 w 99915"/>
                <a:gd name="connsiteY12" fmla="*/ 84928 h 999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99915" h="99915">
                  <a:moveTo>
                    <a:pt x="74937" y="84928"/>
                  </a:moveTo>
                  <a:cubicBezTo>
                    <a:pt x="74937" y="74937"/>
                    <a:pt x="84928" y="74937"/>
                    <a:pt x="94920" y="74937"/>
                  </a:cubicBezTo>
                  <a:cubicBezTo>
                    <a:pt x="114903" y="74937"/>
                    <a:pt x="114903" y="94920"/>
                    <a:pt x="104912" y="94920"/>
                  </a:cubicBezTo>
                  <a:cubicBezTo>
                    <a:pt x="94920" y="94920"/>
                    <a:pt x="94920" y="104912"/>
                    <a:pt x="94920" y="104912"/>
                  </a:cubicBezTo>
                  <a:lnTo>
                    <a:pt x="114903" y="104912"/>
                  </a:lnTo>
                  <a:lnTo>
                    <a:pt x="114903" y="104912"/>
                  </a:lnTo>
                  <a:lnTo>
                    <a:pt x="84928" y="104912"/>
                  </a:lnTo>
                  <a:lnTo>
                    <a:pt x="84928" y="104912"/>
                  </a:lnTo>
                  <a:lnTo>
                    <a:pt x="104912" y="94920"/>
                  </a:lnTo>
                  <a:lnTo>
                    <a:pt x="104912" y="94920"/>
                  </a:lnTo>
                  <a:cubicBezTo>
                    <a:pt x="114903" y="94920"/>
                    <a:pt x="114903" y="84928"/>
                    <a:pt x="94920" y="84928"/>
                  </a:cubicBezTo>
                  <a:cubicBezTo>
                    <a:pt x="84928" y="84928"/>
                    <a:pt x="74937" y="84928"/>
                    <a:pt x="74937" y="84928"/>
                  </a:cubicBezTo>
                  <a:lnTo>
                    <a:pt x="74937" y="84928"/>
                  </a:lnTo>
                  <a:close/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1" name="任意多边形: 形状 30">
              <a:extLst>
                <a:ext uri="{FF2B5EF4-FFF2-40B4-BE49-F238E27FC236}">
                  <a16:creationId xmlns:a16="http://schemas.microsoft.com/office/drawing/2014/main" id="{C21910F2-8DC2-42D3-9FCA-504192A89957}"/>
                </a:ext>
              </a:extLst>
            </p:cNvPr>
            <p:cNvSpPr/>
            <p:nvPr userDrawn="1"/>
          </p:nvSpPr>
          <p:spPr>
            <a:xfrm>
              <a:off x="5157343" y="4953957"/>
              <a:ext cx="97335" cy="97335"/>
            </a:xfrm>
            <a:custGeom>
              <a:avLst/>
              <a:gdLst>
                <a:gd name="connsiteX0" fmla="*/ 84928 w 99915"/>
                <a:gd name="connsiteY0" fmla="*/ 94920 h 99915"/>
                <a:gd name="connsiteX1" fmla="*/ 84928 w 99915"/>
                <a:gd name="connsiteY1" fmla="*/ 94920 h 99915"/>
                <a:gd name="connsiteX2" fmla="*/ 94920 w 99915"/>
                <a:gd name="connsiteY2" fmla="*/ 84929 h 99915"/>
                <a:gd name="connsiteX3" fmla="*/ 84928 w 99915"/>
                <a:gd name="connsiteY3" fmla="*/ 74937 h 99915"/>
                <a:gd name="connsiteX4" fmla="*/ 84928 w 99915"/>
                <a:gd name="connsiteY4" fmla="*/ 94920 h 99915"/>
                <a:gd name="connsiteX5" fmla="*/ 84928 w 99915"/>
                <a:gd name="connsiteY5" fmla="*/ 94920 h 99915"/>
                <a:gd name="connsiteX6" fmla="*/ 84928 w 99915"/>
                <a:gd name="connsiteY6" fmla="*/ 74937 h 99915"/>
                <a:gd name="connsiteX7" fmla="*/ 104912 w 99915"/>
                <a:gd name="connsiteY7" fmla="*/ 84929 h 99915"/>
                <a:gd name="connsiteX8" fmla="*/ 104912 w 99915"/>
                <a:gd name="connsiteY8" fmla="*/ 94920 h 99915"/>
                <a:gd name="connsiteX9" fmla="*/ 114903 w 99915"/>
                <a:gd name="connsiteY9" fmla="*/ 104912 h 99915"/>
                <a:gd name="connsiteX10" fmla="*/ 94920 w 99915"/>
                <a:gd name="connsiteY10" fmla="*/ 114903 h 99915"/>
                <a:gd name="connsiteX11" fmla="*/ 74937 w 99915"/>
                <a:gd name="connsiteY11" fmla="*/ 104912 h 99915"/>
                <a:gd name="connsiteX12" fmla="*/ 84928 w 99915"/>
                <a:gd name="connsiteY12" fmla="*/ 104912 h 99915"/>
                <a:gd name="connsiteX13" fmla="*/ 94920 w 99915"/>
                <a:gd name="connsiteY13" fmla="*/ 114903 h 99915"/>
                <a:gd name="connsiteX14" fmla="*/ 104912 w 99915"/>
                <a:gd name="connsiteY14" fmla="*/ 104912 h 99915"/>
                <a:gd name="connsiteX15" fmla="*/ 84928 w 99915"/>
                <a:gd name="connsiteY15" fmla="*/ 94920 h 99915"/>
                <a:gd name="connsiteX16" fmla="*/ 84928 w 99915"/>
                <a:gd name="connsiteY16" fmla="*/ 94920 h 99915"/>
                <a:gd name="connsiteX17" fmla="*/ 84928 w 99915"/>
                <a:gd name="connsiteY17" fmla="*/ 94920 h 999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99915" h="99915">
                  <a:moveTo>
                    <a:pt x="84928" y="94920"/>
                  </a:moveTo>
                  <a:lnTo>
                    <a:pt x="84928" y="94920"/>
                  </a:lnTo>
                  <a:cubicBezTo>
                    <a:pt x="94920" y="94920"/>
                    <a:pt x="94920" y="94920"/>
                    <a:pt x="94920" y="84929"/>
                  </a:cubicBezTo>
                  <a:cubicBezTo>
                    <a:pt x="94920" y="84929"/>
                    <a:pt x="94920" y="74937"/>
                    <a:pt x="84928" y="74937"/>
                  </a:cubicBezTo>
                  <a:cubicBezTo>
                    <a:pt x="84928" y="84929"/>
                    <a:pt x="74937" y="84929"/>
                    <a:pt x="84928" y="94920"/>
                  </a:cubicBezTo>
                  <a:lnTo>
                    <a:pt x="84928" y="94920"/>
                  </a:lnTo>
                  <a:cubicBezTo>
                    <a:pt x="74937" y="84929"/>
                    <a:pt x="84928" y="74937"/>
                    <a:pt x="84928" y="74937"/>
                  </a:cubicBezTo>
                  <a:cubicBezTo>
                    <a:pt x="94920" y="74937"/>
                    <a:pt x="104912" y="74937"/>
                    <a:pt x="104912" y="84929"/>
                  </a:cubicBezTo>
                  <a:cubicBezTo>
                    <a:pt x="104912" y="84929"/>
                    <a:pt x="104912" y="94920"/>
                    <a:pt x="104912" y="94920"/>
                  </a:cubicBezTo>
                  <a:cubicBezTo>
                    <a:pt x="104912" y="94920"/>
                    <a:pt x="114903" y="94920"/>
                    <a:pt x="114903" y="104912"/>
                  </a:cubicBezTo>
                  <a:cubicBezTo>
                    <a:pt x="114903" y="114903"/>
                    <a:pt x="104912" y="114903"/>
                    <a:pt x="94920" y="114903"/>
                  </a:cubicBezTo>
                  <a:cubicBezTo>
                    <a:pt x="84928" y="114903"/>
                    <a:pt x="84928" y="114903"/>
                    <a:pt x="74937" y="104912"/>
                  </a:cubicBezTo>
                  <a:lnTo>
                    <a:pt x="84928" y="104912"/>
                  </a:lnTo>
                  <a:cubicBezTo>
                    <a:pt x="84928" y="104912"/>
                    <a:pt x="84928" y="114903"/>
                    <a:pt x="94920" y="114903"/>
                  </a:cubicBezTo>
                  <a:cubicBezTo>
                    <a:pt x="104912" y="114903"/>
                    <a:pt x="104912" y="114903"/>
                    <a:pt x="104912" y="104912"/>
                  </a:cubicBezTo>
                  <a:cubicBezTo>
                    <a:pt x="94920" y="104912"/>
                    <a:pt x="94920" y="94920"/>
                    <a:pt x="84928" y="94920"/>
                  </a:cubicBezTo>
                  <a:lnTo>
                    <a:pt x="84928" y="94920"/>
                  </a:lnTo>
                  <a:lnTo>
                    <a:pt x="84928" y="94920"/>
                  </a:lnTo>
                  <a:close/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2" name="任意多边形: 形状 31">
              <a:extLst>
                <a:ext uri="{FF2B5EF4-FFF2-40B4-BE49-F238E27FC236}">
                  <a16:creationId xmlns:a16="http://schemas.microsoft.com/office/drawing/2014/main" id="{23D6B05C-8801-4071-823E-3FC23B01B18C}"/>
                </a:ext>
              </a:extLst>
            </p:cNvPr>
            <p:cNvSpPr/>
            <p:nvPr userDrawn="1"/>
          </p:nvSpPr>
          <p:spPr>
            <a:xfrm>
              <a:off x="4738801" y="5868907"/>
              <a:ext cx="681346" cy="194670"/>
            </a:xfrm>
            <a:custGeom>
              <a:avLst/>
              <a:gdLst>
                <a:gd name="connsiteX0" fmla="*/ 74937 w 699411"/>
                <a:gd name="connsiteY0" fmla="*/ 114903 h 199831"/>
                <a:gd name="connsiteX1" fmla="*/ 394668 w 699411"/>
                <a:gd name="connsiteY1" fmla="*/ 144878 h 199831"/>
                <a:gd name="connsiteX2" fmla="*/ 714398 w 699411"/>
                <a:gd name="connsiteY2" fmla="*/ 104912 h 199831"/>
                <a:gd name="connsiteX3" fmla="*/ 394668 w 699411"/>
                <a:gd name="connsiteY3" fmla="*/ 74937 h 199831"/>
                <a:gd name="connsiteX4" fmla="*/ 74937 w 699411"/>
                <a:gd name="connsiteY4" fmla="*/ 114903 h 199831"/>
                <a:gd name="connsiteX5" fmla="*/ 224811 w 699411"/>
                <a:gd name="connsiteY5" fmla="*/ 104912 h 199831"/>
                <a:gd name="connsiteX6" fmla="*/ 394668 w 699411"/>
                <a:gd name="connsiteY6" fmla="*/ 84929 h 199831"/>
                <a:gd name="connsiteX7" fmla="*/ 564525 w 699411"/>
                <a:gd name="connsiteY7" fmla="*/ 104912 h 199831"/>
                <a:gd name="connsiteX8" fmla="*/ 394668 w 699411"/>
                <a:gd name="connsiteY8" fmla="*/ 124895 h 199831"/>
                <a:gd name="connsiteX9" fmla="*/ 224811 w 699411"/>
                <a:gd name="connsiteY9" fmla="*/ 104912 h 199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99411" h="199831">
                  <a:moveTo>
                    <a:pt x="74937" y="114903"/>
                  </a:moveTo>
                  <a:cubicBezTo>
                    <a:pt x="74937" y="134886"/>
                    <a:pt x="214819" y="144878"/>
                    <a:pt x="394668" y="144878"/>
                  </a:cubicBezTo>
                  <a:cubicBezTo>
                    <a:pt x="574516" y="144878"/>
                    <a:pt x="714398" y="124895"/>
                    <a:pt x="714398" y="104912"/>
                  </a:cubicBezTo>
                  <a:cubicBezTo>
                    <a:pt x="714398" y="84929"/>
                    <a:pt x="574516" y="74937"/>
                    <a:pt x="394668" y="74937"/>
                  </a:cubicBezTo>
                  <a:cubicBezTo>
                    <a:pt x="214819" y="74937"/>
                    <a:pt x="74937" y="94920"/>
                    <a:pt x="74937" y="114903"/>
                  </a:cubicBezTo>
                  <a:close/>
                  <a:moveTo>
                    <a:pt x="224811" y="104912"/>
                  </a:moveTo>
                  <a:cubicBezTo>
                    <a:pt x="224811" y="94920"/>
                    <a:pt x="294752" y="84929"/>
                    <a:pt x="394668" y="84929"/>
                  </a:cubicBezTo>
                  <a:cubicBezTo>
                    <a:pt x="494583" y="84929"/>
                    <a:pt x="564525" y="94920"/>
                    <a:pt x="564525" y="104912"/>
                  </a:cubicBezTo>
                  <a:cubicBezTo>
                    <a:pt x="564525" y="114903"/>
                    <a:pt x="494583" y="124895"/>
                    <a:pt x="394668" y="124895"/>
                  </a:cubicBezTo>
                  <a:cubicBezTo>
                    <a:pt x="304744" y="124895"/>
                    <a:pt x="224811" y="114903"/>
                    <a:pt x="224811" y="104912"/>
                  </a:cubicBezTo>
                  <a:close/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3" name="任意多边形: 形状 32">
              <a:extLst>
                <a:ext uri="{FF2B5EF4-FFF2-40B4-BE49-F238E27FC236}">
                  <a16:creationId xmlns:a16="http://schemas.microsoft.com/office/drawing/2014/main" id="{B8B643DB-8AA0-484D-8E33-3A362036967E}"/>
                </a:ext>
              </a:extLst>
            </p:cNvPr>
            <p:cNvSpPr/>
            <p:nvPr userDrawn="1"/>
          </p:nvSpPr>
          <p:spPr>
            <a:xfrm>
              <a:off x="4738801" y="5907842"/>
              <a:ext cx="681346" cy="194670"/>
            </a:xfrm>
            <a:custGeom>
              <a:avLst/>
              <a:gdLst>
                <a:gd name="connsiteX0" fmla="*/ 394668 w 699411"/>
                <a:gd name="connsiteY0" fmla="*/ 114903 h 199831"/>
                <a:gd name="connsiteX1" fmla="*/ 74937 w 699411"/>
                <a:gd name="connsiteY1" fmla="*/ 84929 h 199831"/>
                <a:gd name="connsiteX2" fmla="*/ 74937 w 699411"/>
                <a:gd name="connsiteY2" fmla="*/ 104912 h 199831"/>
                <a:gd name="connsiteX3" fmla="*/ 74937 w 699411"/>
                <a:gd name="connsiteY3" fmla="*/ 104912 h 199831"/>
                <a:gd name="connsiteX4" fmla="*/ 74937 w 699411"/>
                <a:gd name="connsiteY4" fmla="*/ 104912 h 199831"/>
                <a:gd name="connsiteX5" fmla="*/ 74937 w 699411"/>
                <a:gd name="connsiteY5" fmla="*/ 104912 h 199831"/>
                <a:gd name="connsiteX6" fmla="*/ 74937 w 699411"/>
                <a:gd name="connsiteY6" fmla="*/ 104912 h 199831"/>
                <a:gd name="connsiteX7" fmla="*/ 394668 w 699411"/>
                <a:gd name="connsiteY7" fmla="*/ 134886 h 199831"/>
                <a:gd name="connsiteX8" fmla="*/ 714398 w 699411"/>
                <a:gd name="connsiteY8" fmla="*/ 94920 h 199831"/>
                <a:gd name="connsiteX9" fmla="*/ 714398 w 699411"/>
                <a:gd name="connsiteY9" fmla="*/ 94920 h 199831"/>
                <a:gd name="connsiteX10" fmla="*/ 714398 w 699411"/>
                <a:gd name="connsiteY10" fmla="*/ 74937 h 199831"/>
                <a:gd name="connsiteX11" fmla="*/ 394668 w 699411"/>
                <a:gd name="connsiteY11" fmla="*/ 114903 h 199831"/>
                <a:gd name="connsiteX12" fmla="*/ 74937 w 699411"/>
                <a:gd name="connsiteY12" fmla="*/ 84929 h 199831"/>
                <a:gd name="connsiteX13" fmla="*/ 74937 w 699411"/>
                <a:gd name="connsiteY13" fmla="*/ 84929 h 199831"/>
                <a:gd name="connsiteX14" fmla="*/ 74937 w 699411"/>
                <a:gd name="connsiteY14" fmla="*/ 84929 h 199831"/>
                <a:gd name="connsiteX15" fmla="*/ 74937 w 699411"/>
                <a:gd name="connsiteY15" fmla="*/ 84929 h 199831"/>
                <a:gd name="connsiteX16" fmla="*/ 74937 w 699411"/>
                <a:gd name="connsiteY16" fmla="*/ 84929 h 199831"/>
                <a:gd name="connsiteX17" fmla="*/ 74937 w 699411"/>
                <a:gd name="connsiteY17" fmla="*/ 84929 h 199831"/>
                <a:gd name="connsiteX18" fmla="*/ 74937 w 699411"/>
                <a:gd name="connsiteY18" fmla="*/ 84929 h 199831"/>
                <a:gd name="connsiteX19" fmla="*/ 74937 w 699411"/>
                <a:gd name="connsiteY19" fmla="*/ 84929 h 199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699411" h="199831">
                  <a:moveTo>
                    <a:pt x="394668" y="114903"/>
                  </a:moveTo>
                  <a:cubicBezTo>
                    <a:pt x="214819" y="114903"/>
                    <a:pt x="74937" y="104912"/>
                    <a:pt x="74937" y="84929"/>
                  </a:cubicBezTo>
                  <a:lnTo>
                    <a:pt x="74937" y="104912"/>
                  </a:lnTo>
                  <a:lnTo>
                    <a:pt x="74937" y="104912"/>
                  </a:lnTo>
                  <a:cubicBezTo>
                    <a:pt x="74937" y="104912"/>
                    <a:pt x="74937" y="104912"/>
                    <a:pt x="74937" y="104912"/>
                  </a:cubicBezTo>
                  <a:lnTo>
                    <a:pt x="74937" y="104912"/>
                  </a:lnTo>
                  <a:lnTo>
                    <a:pt x="74937" y="104912"/>
                  </a:lnTo>
                  <a:cubicBezTo>
                    <a:pt x="74937" y="124895"/>
                    <a:pt x="214819" y="134886"/>
                    <a:pt x="394668" y="134886"/>
                  </a:cubicBezTo>
                  <a:cubicBezTo>
                    <a:pt x="574516" y="134886"/>
                    <a:pt x="714398" y="114903"/>
                    <a:pt x="714398" y="94920"/>
                  </a:cubicBezTo>
                  <a:lnTo>
                    <a:pt x="714398" y="94920"/>
                  </a:lnTo>
                  <a:lnTo>
                    <a:pt x="714398" y="74937"/>
                  </a:lnTo>
                  <a:cubicBezTo>
                    <a:pt x="704407" y="94920"/>
                    <a:pt x="564525" y="114903"/>
                    <a:pt x="394668" y="114903"/>
                  </a:cubicBezTo>
                  <a:close/>
                  <a:moveTo>
                    <a:pt x="74937" y="84929"/>
                  </a:moveTo>
                  <a:lnTo>
                    <a:pt x="74937" y="84929"/>
                  </a:lnTo>
                  <a:cubicBezTo>
                    <a:pt x="74937" y="84929"/>
                    <a:pt x="74937" y="84929"/>
                    <a:pt x="74937" y="84929"/>
                  </a:cubicBezTo>
                  <a:lnTo>
                    <a:pt x="74937" y="84929"/>
                  </a:lnTo>
                  <a:close/>
                  <a:moveTo>
                    <a:pt x="74937" y="84929"/>
                  </a:moveTo>
                  <a:lnTo>
                    <a:pt x="74937" y="84929"/>
                  </a:lnTo>
                  <a:lnTo>
                    <a:pt x="74937" y="84929"/>
                  </a:lnTo>
                  <a:cubicBezTo>
                    <a:pt x="74937" y="84929"/>
                    <a:pt x="74937" y="84929"/>
                    <a:pt x="74937" y="84929"/>
                  </a:cubicBezTo>
                  <a:close/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4" name="任意多边形: 形状 33">
              <a:extLst>
                <a:ext uri="{FF2B5EF4-FFF2-40B4-BE49-F238E27FC236}">
                  <a16:creationId xmlns:a16="http://schemas.microsoft.com/office/drawing/2014/main" id="{3F25C12E-9BEC-4512-8012-6859ABB25789}"/>
                </a:ext>
              </a:extLst>
            </p:cNvPr>
            <p:cNvSpPr/>
            <p:nvPr userDrawn="1"/>
          </p:nvSpPr>
          <p:spPr>
            <a:xfrm>
              <a:off x="1797294" y="4029273"/>
              <a:ext cx="292005" cy="681346"/>
            </a:xfrm>
            <a:custGeom>
              <a:avLst/>
              <a:gdLst>
                <a:gd name="connsiteX0" fmla="*/ 216858 w 299747"/>
                <a:gd name="connsiteY0" fmla="*/ 684424 h 699411"/>
                <a:gd name="connsiteX1" fmla="*/ 96959 w 299747"/>
                <a:gd name="connsiteY1" fmla="*/ 704407 h 699411"/>
                <a:gd name="connsiteX2" fmla="*/ 76976 w 299747"/>
                <a:gd name="connsiteY2" fmla="*/ 354701 h 699411"/>
                <a:gd name="connsiteX3" fmla="*/ 136926 w 299747"/>
                <a:gd name="connsiteY3" fmla="*/ 104912 h 699411"/>
                <a:gd name="connsiteX4" fmla="*/ 146917 w 299747"/>
                <a:gd name="connsiteY4" fmla="*/ 74937 h 699411"/>
                <a:gd name="connsiteX5" fmla="*/ 206867 w 299747"/>
                <a:gd name="connsiteY5" fmla="*/ 174853 h 699411"/>
                <a:gd name="connsiteX6" fmla="*/ 236841 w 299747"/>
                <a:gd name="connsiteY6" fmla="*/ 534550 h 699411"/>
                <a:gd name="connsiteX7" fmla="*/ 216858 w 299747"/>
                <a:gd name="connsiteY7" fmla="*/ 684424 h 6994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99747" h="699411">
                  <a:moveTo>
                    <a:pt x="216858" y="684424"/>
                  </a:moveTo>
                  <a:cubicBezTo>
                    <a:pt x="216858" y="694415"/>
                    <a:pt x="96959" y="704407"/>
                    <a:pt x="96959" y="704407"/>
                  </a:cubicBezTo>
                  <a:cubicBezTo>
                    <a:pt x="96959" y="704407"/>
                    <a:pt x="66984" y="494584"/>
                    <a:pt x="76976" y="354701"/>
                  </a:cubicBezTo>
                  <a:cubicBezTo>
                    <a:pt x="86968" y="214819"/>
                    <a:pt x="96959" y="174853"/>
                    <a:pt x="136926" y="104912"/>
                  </a:cubicBezTo>
                  <a:lnTo>
                    <a:pt x="146917" y="74937"/>
                  </a:lnTo>
                  <a:cubicBezTo>
                    <a:pt x="146917" y="74937"/>
                    <a:pt x="176892" y="104912"/>
                    <a:pt x="206867" y="174853"/>
                  </a:cubicBezTo>
                  <a:cubicBezTo>
                    <a:pt x="246833" y="284760"/>
                    <a:pt x="246833" y="434634"/>
                    <a:pt x="236841" y="534550"/>
                  </a:cubicBezTo>
                  <a:cubicBezTo>
                    <a:pt x="226850" y="644457"/>
                    <a:pt x="216858" y="684424"/>
                    <a:pt x="216858" y="684424"/>
                  </a:cubicBezTo>
                  <a:close/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5" name="任意多边形: 形状 34">
              <a:extLst>
                <a:ext uri="{FF2B5EF4-FFF2-40B4-BE49-F238E27FC236}">
                  <a16:creationId xmlns:a16="http://schemas.microsoft.com/office/drawing/2014/main" id="{0D9B1A3F-5286-426D-ADBB-275059B5610A}"/>
                </a:ext>
              </a:extLst>
            </p:cNvPr>
            <p:cNvSpPr/>
            <p:nvPr userDrawn="1"/>
          </p:nvSpPr>
          <p:spPr>
            <a:xfrm>
              <a:off x="1828482" y="4623017"/>
              <a:ext cx="194670" cy="97335"/>
            </a:xfrm>
            <a:custGeom>
              <a:avLst/>
              <a:gdLst>
                <a:gd name="connsiteX0" fmla="*/ 74937 w 199831"/>
                <a:gd name="connsiteY0" fmla="*/ 94920 h 99915"/>
                <a:gd name="connsiteX1" fmla="*/ 184844 w 199831"/>
                <a:gd name="connsiteY1" fmla="*/ 74937 h 99915"/>
                <a:gd name="connsiteX2" fmla="*/ 174853 w 199831"/>
                <a:gd name="connsiteY2" fmla="*/ 94920 h 99915"/>
                <a:gd name="connsiteX3" fmla="*/ 114903 w 199831"/>
                <a:gd name="connsiteY3" fmla="*/ 114903 h 99915"/>
                <a:gd name="connsiteX4" fmla="*/ 84928 w 199831"/>
                <a:gd name="connsiteY4" fmla="*/ 104912 h 99915"/>
                <a:gd name="connsiteX5" fmla="*/ 74937 w 199831"/>
                <a:gd name="connsiteY5" fmla="*/ 94920 h 999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99831" h="99915">
                  <a:moveTo>
                    <a:pt x="74937" y="94920"/>
                  </a:moveTo>
                  <a:lnTo>
                    <a:pt x="184844" y="74937"/>
                  </a:lnTo>
                  <a:cubicBezTo>
                    <a:pt x="184844" y="74937"/>
                    <a:pt x="184844" y="94920"/>
                    <a:pt x="174853" y="94920"/>
                  </a:cubicBezTo>
                  <a:cubicBezTo>
                    <a:pt x="164861" y="104912"/>
                    <a:pt x="124895" y="114903"/>
                    <a:pt x="114903" y="114903"/>
                  </a:cubicBezTo>
                  <a:cubicBezTo>
                    <a:pt x="94920" y="114903"/>
                    <a:pt x="84928" y="114903"/>
                    <a:pt x="84928" y="104912"/>
                  </a:cubicBezTo>
                  <a:cubicBezTo>
                    <a:pt x="74937" y="104912"/>
                    <a:pt x="74937" y="94920"/>
                    <a:pt x="74937" y="94920"/>
                  </a:cubicBezTo>
                  <a:close/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6" name="任意多边形: 形状 35">
              <a:extLst>
                <a:ext uri="{FF2B5EF4-FFF2-40B4-BE49-F238E27FC236}">
                  <a16:creationId xmlns:a16="http://schemas.microsoft.com/office/drawing/2014/main" id="{C70D988B-3E62-455B-AD6C-A951084FC43F}"/>
                </a:ext>
              </a:extLst>
            </p:cNvPr>
            <p:cNvSpPr/>
            <p:nvPr userDrawn="1"/>
          </p:nvSpPr>
          <p:spPr>
            <a:xfrm>
              <a:off x="1828482" y="4603551"/>
              <a:ext cx="194670" cy="389341"/>
            </a:xfrm>
            <a:custGeom>
              <a:avLst/>
              <a:gdLst>
                <a:gd name="connsiteX0" fmla="*/ 74937 w 199831"/>
                <a:gd name="connsiteY0" fmla="*/ 314735 h 399663"/>
                <a:gd name="connsiteX1" fmla="*/ 84928 w 199831"/>
                <a:gd name="connsiteY1" fmla="*/ 244794 h 399663"/>
                <a:gd name="connsiteX2" fmla="*/ 74937 w 199831"/>
                <a:gd name="connsiteY2" fmla="*/ 124895 h 399663"/>
                <a:gd name="connsiteX3" fmla="*/ 124895 w 199831"/>
                <a:gd name="connsiteY3" fmla="*/ 134886 h 399663"/>
                <a:gd name="connsiteX4" fmla="*/ 194836 w 199831"/>
                <a:gd name="connsiteY4" fmla="*/ 74937 h 399663"/>
                <a:gd name="connsiteX5" fmla="*/ 174853 w 199831"/>
                <a:gd name="connsiteY5" fmla="*/ 294752 h 399663"/>
                <a:gd name="connsiteX6" fmla="*/ 184844 w 199831"/>
                <a:gd name="connsiteY6" fmla="*/ 324727 h 399663"/>
                <a:gd name="connsiteX7" fmla="*/ 74937 w 199831"/>
                <a:gd name="connsiteY7" fmla="*/ 314735 h 3996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99831" h="399663">
                  <a:moveTo>
                    <a:pt x="74937" y="314735"/>
                  </a:moveTo>
                  <a:cubicBezTo>
                    <a:pt x="84928" y="304744"/>
                    <a:pt x="84928" y="284760"/>
                    <a:pt x="84928" y="244794"/>
                  </a:cubicBezTo>
                  <a:cubicBezTo>
                    <a:pt x="84928" y="204828"/>
                    <a:pt x="74937" y="124895"/>
                    <a:pt x="74937" y="124895"/>
                  </a:cubicBezTo>
                  <a:cubicBezTo>
                    <a:pt x="74937" y="124895"/>
                    <a:pt x="94920" y="134886"/>
                    <a:pt x="124895" y="134886"/>
                  </a:cubicBezTo>
                  <a:cubicBezTo>
                    <a:pt x="154870" y="134886"/>
                    <a:pt x="174853" y="124895"/>
                    <a:pt x="194836" y="74937"/>
                  </a:cubicBezTo>
                  <a:cubicBezTo>
                    <a:pt x="184844" y="114903"/>
                    <a:pt x="174853" y="284760"/>
                    <a:pt x="174853" y="294752"/>
                  </a:cubicBezTo>
                  <a:cubicBezTo>
                    <a:pt x="174853" y="304744"/>
                    <a:pt x="184844" y="324727"/>
                    <a:pt x="184844" y="324727"/>
                  </a:cubicBezTo>
                  <a:lnTo>
                    <a:pt x="74937" y="314735"/>
                  </a:lnTo>
                  <a:close/>
                </a:path>
              </a:pathLst>
            </a:custGeom>
            <a:solidFill>
              <a:schemeClr val="tx2">
                <a:lumMod val="20000"/>
                <a:lumOff val="8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7" name="任意多边形: 形状 36">
              <a:extLst>
                <a:ext uri="{FF2B5EF4-FFF2-40B4-BE49-F238E27FC236}">
                  <a16:creationId xmlns:a16="http://schemas.microsoft.com/office/drawing/2014/main" id="{E397A4BC-3C72-4926-9060-65893F66CEC3}"/>
                </a:ext>
              </a:extLst>
            </p:cNvPr>
            <p:cNvSpPr/>
            <p:nvPr userDrawn="1"/>
          </p:nvSpPr>
          <p:spPr>
            <a:xfrm>
              <a:off x="1867416" y="4009806"/>
              <a:ext cx="194670" cy="973352"/>
            </a:xfrm>
            <a:custGeom>
              <a:avLst/>
              <a:gdLst>
                <a:gd name="connsiteX0" fmla="*/ 74937 w 199831"/>
                <a:gd name="connsiteY0" fmla="*/ 104912 h 999158"/>
                <a:gd name="connsiteX1" fmla="*/ 94920 w 199831"/>
                <a:gd name="connsiteY1" fmla="*/ 74937 h 999158"/>
                <a:gd name="connsiteX2" fmla="*/ 174853 w 199831"/>
                <a:gd name="connsiteY2" fmla="*/ 374685 h 999158"/>
                <a:gd name="connsiteX3" fmla="*/ 154870 w 199831"/>
                <a:gd name="connsiteY3" fmla="*/ 694415 h 999158"/>
                <a:gd name="connsiteX4" fmla="*/ 144878 w 199831"/>
                <a:gd name="connsiteY4" fmla="*/ 884256 h 999158"/>
                <a:gd name="connsiteX5" fmla="*/ 154870 w 199831"/>
                <a:gd name="connsiteY5" fmla="*/ 924222 h 999158"/>
                <a:gd name="connsiteX6" fmla="*/ 134886 w 199831"/>
                <a:gd name="connsiteY6" fmla="*/ 924222 h 999158"/>
                <a:gd name="connsiteX7" fmla="*/ 144878 w 199831"/>
                <a:gd name="connsiteY7" fmla="*/ 734382 h 999158"/>
                <a:gd name="connsiteX8" fmla="*/ 164861 w 199831"/>
                <a:gd name="connsiteY8" fmla="*/ 344710 h 999158"/>
                <a:gd name="connsiteX9" fmla="*/ 114903 w 199831"/>
                <a:gd name="connsiteY9" fmla="*/ 144878 h 999158"/>
                <a:gd name="connsiteX10" fmla="*/ 74937 w 199831"/>
                <a:gd name="connsiteY10" fmla="*/ 104912 h 9991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99831" h="999158">
                  <a:moveTo>
                    <a:pt x="74937" y="104912"/>
                  </a:moveTo>
                  <a:lnTo>
                    <a:pt x="94920" y="74937"/>
                  </a:lnTo>
                  <a:cubicBezTo>
                    <a:pt x="94920" y="74937"/>
                    <a:pt x="174853" y="194836"/>
                    <a:pt x="174853" y="374685"/>
                  </a:cubicBezTo>
                  <a:cubicBezTo>
                    <a:pt x="174853" y="554533"/>
                    <a:pt x="154870" y="674432"/>
                    <a:pt x="154870" y="694415"/>
                  </a:cubicBezTo>
                  <a:cubicBezTo>
                    <a:pt x="154870" y="714399"/>
                    <a:pt x="144878" y="874264"/>
                    <a:pt x="144878" y="884256"/>
                  </a:cubicBezTo>
                  <a:cubicBezTo>
                    <a:pt x="144878" y="894247"/>
                    <a:pt x="144878" y="914230"/>
                    <a:pt x="154870" y="924222"/>
                  </a:cubicBezTo>
                  <a:cubicBezTo>
                    <a:pt x="144878" y="934213"/>
                    <a:pt x="134886" y="924222"/>
                    <a:pt x="134886" y="924222"/>
                  </a:cubicBezTo>
                  <a:cubicBezTo>
                    <a:pt x="134886" y="924222"/>
                    <a:pt x="134886" y="814314"/>
                    <a:pt x="144878" y="734382"/>
                  </a:cubicBezTo>
                  <a:cubicBezTo>
                    <a:pt x="154870" y="654449"/>
                    <a:pt x="164861" y="404659"/>
                    <a:pt x="164861" y="344710"/>
                  </a:cubicBezTo>
                  <a:cubicBezTo>
                    <a:pt x="154870" y="254786"/>
                    <a:pt x="124895" y="174853"/>
                    <a:pt x="114903" y="144878"/>
                  </a:cubicBezTo>
                  <a:cubicBezTo>
                    <a:pt x="94920" y="114903"/>
                    <a:pt x="74937" y="104912"/>
                    <a:pt x="74937" y="104912"/>
                  </a:cubicBezTo>
                  <a:close/>
                </a:path>
              </a:pathLst>
            </a:custGeom>
            <a:solidFill>
              <a:schemeClr val="tx2">
                <a:lumMod val="20000"/>
                <a:lumOff val="8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8" name="任意多边形: 形状 37">
              <a:extLst>
                <a:ext uri="{FF2B5EF4-FFF2-40B4-BE49-F238E27FC236}">
                  <a16:creationId xmlns:a16="http://schemas.microsoft.com/office/drawing/2014/main" id="{C7124926-6AA6-42FA-8205-76B98CC55FB9}"/>
                </a:ext>
              </a:extLst>
            </p:cNvPr>
            <p:cNvSpPr/>
            <p:nvPr userDrawn="1"/>
          </p:nvSpPr>
          <p:spPr>
            <a:xfrm>
              <a:off x="1775488" y="4817688"/>
              <a:ext cx="292005" cy="1654698"/>
            </a:xfrm>
            <a:custGeom>
              <a:avLst/>
              <a:gdLst>
                <a:gd name="connsiteX0" fmla="*/ 109352 w 299747"/>
                <a:gd name="connsiteY0" fmla="*/ 104912 h 1698569"/>
                <a:gd name="connsiteX1" fmla="*/ 129336 w 299747"/>
                <a:gd name="connsiteY1" fmla="*/ 94920 h 1698569"/>
                <a:gd name="connsiteX2" fmla="*/ 149319 w 299747"/>
                <a:gd name="connsiteY2" fmla="*/ 74937 h 1698569"/>
                <a:gd name="connsiteX3" fmla="*/ 189285 w 299747"/>
                <a:gd name="connsiteY3" fmla="*/ 74937 h 1698569"/>
                <a:gd name="connsiteX4" fmla="*/ 259226 w 299747"/>
                <a:gd name="connsiteY4" fmla="*/ 104912 h 1698569"/>
                <a:gd name="connsiteX5" fmla="*/ 279209 w 299747"/>
                <a:gd name="connsiteY5" fmla="*/ 114903 h 1698569"/>
                <a:gd name="connsiteX6" fmla="*/ 289201 w 299747"/>
                <a:gd name="connsiteY6" fmla="*/ 494584 h 1698569"/>
                <a:gd name="connsiteX7" fmla="*/ 259226 w 299747"/>
                <a:gd name="connsiteY7" fmla="*/ 1233961 h 1698569"/>
                <a:gd name="connsiteX8" fmla="*/ 279209 w 299747"/>
                <a:gd name="connsiteY8" fmla="*/ 1603650 h 1698569"/>
                <a:gd name="connsiteX9" fmla="*/ 259226 w 299747"/>
                <a:gd name="connsiteY9" fmla="*/ 1683583 h 1698569"/>
                <a:gd name="connsiteX10" fmla="*/ 79378 w 299747"/>
                <a:gd name="connsiteY10" fmla="*/ 1673591 h 1698569"/>
                <a:gd name="connsiteX11" fmla="*/ 79378 w 299747"/>
                <a:gd name="connsiteY11" fmla="*/ 1553692 h 1698569"/>
                <a:gd name="connsiteX12" fmla="*/ 89369 w 299747"/>
                <a:gd name="connsiteY12" fmla="*/ 764356 h 1698569"/>
                <a:gd name="connsiteX13" fmla="*/ 79378 w 299747"/>
                <a:gd name="connsiteY13" fmla="*/ 474600 h 1698569"/>
                <a:gd name="connsiteX14" fmla="*/ 109352 w 299747"/>
                <a:gd name="connsiteY14" fmla="*/ 104912 h 16985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99747" h="1698569">
                  <a:moveTo>
                    <a:pt x="109352" y="104912"/>
                  </a:moveTo>
                  <a:cubicBezTo>
                    <a:pt x="109352" y="104912"/>
                    <a:pt x="119344" y="104912"/>
                    <a:pt x="129336" y="94920"/>
                  </a:cubicBezTo>
                  <a:cubicBezTo>
                    <a:pt x="139327" y="94920"/>
                    <a:pt x="149319" y="84929"/>
                    <a:pt x="149319" y="74937"/>
                  </a:cubicBezTo>
                  <a:cubicBezTo>
                    <a:pt x="149319" y="74937"/>
                    <a:pt x="189285" y="74937"/>
                    <a:pt x="189285" y="74937"/>
                  </a:cubicBezTo>
                  <a:cubicBezTo>
                    <a:pt x="189285" y="74937"/>
                    <a:pt x="229251" y="94920"/>
                    <a:pt x="259226" y="104912"/>
                  </a:cubicBezTo>
                  <a:cubicBezTo>
                    <a:pt x="269218" y="104912"/>
                    <a:pt x="279209" y="104912"/>
                    <a:pt x="279209" y="114903"/>
                  </a:cubicBezTo>
                  <a:cubicBezTo>
                    <a:pt x="279209" y="114903"/>
                    <a:pt x="299193" y="324727"/>
                    <a:pt x="289201" y="494584"/>
                  </a:cubicBezTo>
                  <a:cubicBezTo>
                    <a:pt x="279209" y="654449"/>
                    <a:pt x="259226" y="1114062"/>
                    <a:pt x="259226" y="1233961"/>
                  </a:cubicBezTo>
                  <a:cubicBezTo>
                    <a:pt x="259226" y="1353860"/>
                    <a:pt x="269218" y="1553692"/>
                    <a:pt x="279209" y="1603650"/>
                  </a:cubicBezTo>
                  <a:cubicBezTo>
                    <a:pt x="279209" y="1663599"/>
                    <a:pt x="279209" y="1663599"/>
                    <a:pt x="259226" y="1683583"/>
                  </a:cubicBezTo>
                  <a:cubicBezTo>
                    <a:pt x="239243" y="1693574"/>
                    <a:pt x="99361" y="1693574"/>
                    <a:pt x="79378" y="1673591"/>
                  </a:cubicBezTo>
                  <a:cubicBezTo>
                    <a:pt x="69386" y="1663599"/>
                    <a:pt x="79378" y="1603650"/>
                    <a:pt x="79378" y="1553692"/>
                  </a:cubicBezTo>
                  <a:cubicBezTo>
                    <a:pt x="79378" y="1503734"/>
                    <a:pt x="109352" y="1263936"/>
                    <a:pt x="89369" y="764356"/>
                  </a:cubicBezTo>
                  <a:cubicBezTo>
                    <a:pt x="89369" y="764356"/>
                    <a:pt x="79378" y="684424"/>
                    <a:pt x="79378" y="474600"/>
                  </a:cubicBezTo>
                  <a:cubicBezTo>
                    <a:pt x="89369" y="274769"/>
                    <a:pt x="109352" y="104912"/>
                    <a:pt x="109352" y="104912"/>
                  </a:cubicBezTo>
                  <a:close/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9" name="任意多边形: 形状 38">
              <a:extLst>
                <a:ext uri="{FF2B5EF4-FFF2-40B4-BE49-F238E27FC236}">
                  <a16:creationId xmlns:a16="http://schemas.microsoft.com/office/drawing/2014/main" id="{C119058F-9F0C-4A7E-A7ED-4C6DAB4C7818}"/>
                </a:ext>
              </a:extLst>
            </p:cNvPr>
            <p:cNvSpPr/>
            <p:nvPr userDrawn="1"/>
          </p:nvSpPr>
          <p:spPr>
            <a:xfrm>
              <a:off x="1779815" y="6306916"/>
              <a:ext cx="292005" cy="194670"/>
            </a:xfrm>
            <a:custGeom>
              <a:avLst/>
              <a:gdLst>
                <a:gd name="connsiteX0" fmla="*/ 274769 w 299747"/>
                <a:gd name="connsiteY0" fmla="*/ 74937 h 199831"/>
                <a:gd name="connsiteX1" fmla="*/ 254785 w 299747"/>
                <a:gd name="connsiteY1" fmla="*/ 124895 h 199831"/>
                <a:gd name="connsiteX2" fmla="*/ 74937 w 299747"/>
                <a:gd name="connsiteY2" fmla="*/ 124895 h 199831"/>
                <a:gd name="connsiteX3" fmla="*/ 74937 w 299747"/>
                <a:gd name="connsiteY3" fmla="*/ 134886 h 199831"/>
                <a:gd name="connsiteX4" fmla="*/ 254785 w 299747"/>
                <a:gd name="connsiteY4" fmla="*/ 144878 h 199831"/>
                <a:gd name="connsiteX5" fmla="*/ 274769 w 299747"/>
                <a:gd name="connsiteY5" fmla="*/ 74937 h 199831"/>
                <a:gd name="connsiteX6" fmla="*/ 274769 w 299747"/>
                <a:gd name="connsiteY6" fmla="*/ 74937 h 199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99747" h="199831">
                  <a:moveTo>
                    <a:pt x="274769" y="74937"/>
                  </a:moveTo>
                  <a:cubicBezTo>
                    <a:pt x="274769" y="114903"/>
                    <a:pt x="264777" y="124895"/>
                    <a:pt x="254785" y="124895"/>
                  </a:cubicBezTo>
                  <a:cubicBezTo>
                    <a:pt x="234802" y="134886"/>
                    <a:pt x="114903" y="144878"/>
                    <a:pt x="74937" y="124895"/>
                  </a:cubicBezTo>
                  <a:cubicBezTo>
                    <a:pt x="74937" y="134886"/>
                    <a:pt x="74937" y="134886"/>
                    <a:pt x="74937" y="134886"/>
                  </a:cubicBezTo>
                  <a:cubicBezTo>
                    <a:pt x="94920" y="164861"/>
                    <a:pt x="244794" y="154870"/>
                    <a:pt x="254785" y="144878"/>
                  </a:cubicBezTo>
                  <a:cubicBezTo>
                    <a:pt x="284760" y="134886"/>
                    <a:pt x="284760" y="134886"/>
                    <a:pt x="274769" y="74937"/>
                  </a:cubicBezTo>
                  <a:lnTo>
                    <a:pt x="274769" y="74937"/>
                  </a:lnTo>
                  <a:close/>
                </a:path>
              </a:pathLst>
            </a:custGeom>
            <a:solidFill>
              <a:schemeClr val="tx2">
                <a:lumMod val="20000"/>
                <a:lumOff val="8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0" name="任意多边形: 形状 39">
              <a:extLst>
                <a:ext uri="{FF2B5EF4-FFF2-40B4-BE49-F238E27FC236}">
                  <a16:creationId xmlns:a16="http://schemas.microsoft.com/office/drawing/2014/main" id="{3C3127F0-7E5B-431C-A0AF-E1710283D66D}"/>
                </a:ext>
              </a:extLst>
            </p:cNvPr>
            <p:cNvSpPr/>
            <p:nvPr userDrawn="1"/>
          </p:nvSpPr>
          <p:spPr>
            <a:xfrm>
              <a:off x="1807029" y="4029273"/>
              <a:ext cx="194670" cy="681346"/>
            </a:xfrm>
            <a:custGeom>
              <a:avLst/>
              <a:gdLst>
                <a:gd name="connsiteX0" fmla="*/ 126934 w 199831"/>
                <a:gd name="connsiteY0" fmla="*/ 104912 h 699411"/>
                <a:gd name="connsiteX1" fmla="*/ 76976 w 199831"/>
                <a:gd name="connsiteY1" fmla="*/ 354701 h 699411"/>
                <a:gd name="connsiteX2" fmla="*/ 96959 w 199831"/>
                <a:gd name="connsiteY2" fmla="*/ 704407 h 699411"/>
                <a:gd name="connsiteX3" fmla="*/ 146917 w 199831"/>
                <a:gd name="connsiteY3" fmla="*/ 714399 h 699411"/>
                <a:gd name="connsiteX4" fmla="*/ 136926 w 199831"/>
                <a:gd name="connsiteY4" fmla="*/ 74937 h 699411"/>
                <a:gd name="connsiteX5" fmla="*/ 126934 w 199831"/>
                <a:gd name="connsiteY5" fmla="*/ 104912 h 6994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99831" h="699411">
                  <a:moveTo>
                    <a:pt x="126934" y="104912"/>
                  </a:moveTo>
                  <a:cubicBezTo>
                    <a:pt x="86968" y="174853"/>
                    <a:pt x="76976" y="214819"/>
                    <a:pt x="76976" y="354701"/>
                  </a:cubicBezTo>
                  <a:cubicBezTo>
                    <a:pt x="66984" y="494584"/>
                    <a:pt x="96959" y="704407"/>
                    <a:pt x="96959" y="704407"/>
                  </a:cubicBezTo>
                  <a:cubicBezTo>
                    <a:pt x="96959" y="704407"/>
                    <a:pt x="116942" y="724390"/>
                    <a:pt x="146917" y="714399"/>
                  </a:cubicBezTo>
                  <a:lnTo>
                    <a:pt x="136926" y="74937"/>
                  </a:lnTo>
                  <a:lnTo>
                    <a:pt x="126934" y="104912"/>
                  </a:lnTo>
                  <a:close/>
                </a:path>
              </a:pathLst>
            </a:custGeom>
            <a:solidFill>
              <a:schemeClr val="tx2">
                <a:lumMod val="20000"/>
                <a:lumOff val="8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1" name="任意多边形: 形状 40">
              <a:extLst>
                <a:ext uri="{FF2B5EF4-FFF2-40B4-BE49-F238E27FC236}">
                  <a16:creationId xmlns:a16="http://schemas.microsoft.com/office/drawing/2014/main" id="{FB519AA5-B3C7-4483-8F8F-3895583425AD}"/>
                </a:ext>
              </a:extLst>
            </p:cNvPr>
            <p:cNvSpPr/>
            <p:nvPr userDrawn="1"/>
          </p:nvSpPr>
          <p:spPr>
            <a:xfrm>
              <a:off x="1775488" y="4827421"/>
              <a:ext cx="194670" cy="1654698"/>
            </a:xfrm>
            <a:custGeom>
              <a:avLst/>
              <a:gdLst>
                <a:gd name="connsiteX0" fmla="*/ 119344 w 199831"/>
                <a:gd name="connsiteY0" fmla="*/ 84928 h 1698569"/>
                <a:gd name="connsiteX1" fmla="*/ 99361 w 199831"/>
                <a:gd name="connsiteY1" fmla="*/ 94920 h 1698569"/>
                <a:gd name="connsiteX2" fmla="*/ 79378 w 199831"/>
                <a:gd name="connsiteY2" fmla="*/ 454617 h 1698569"/>
                <a:gd name="connsiteX3" fmla="*/ 89369 w 199831"/>
                <a:gd name="connsiteY3" fmla="*/ 744373 h 1698569"/>
                <a:gd name="connsiteX4" fmla="*/ 79378 w 199831"/>
                <a:gd name="connsiteY4" fmla="*/ 1533709 h 1698569"/>
                <a:gd name="connsiteX5" fmla="*/ 79378 w 199831"/>
                <a:gd name="connsiteY5" fmla="*/ 1653608 h 1698569"/>
                <a:gd name="connsiteX6" fmla="*/ 179293 w 199831"/>
                <a:gd name="connsiteY6" fmla="*/ 1673591 h 1698569"/>
                <a:gd name="connsiteX7" fmla="*/ 179293 w 199831"/>
                <a:gd name="connsiteY7" fmla="*/ 74937 h 1698569"/>
                <a:gd name="connsiteX8" fmla="*/ 139327 w 199831"/>
                <a:gd name="connsiteY8" fmla="*/ 74937 h 1698569"/>
                <a:gd name="connsiteX9" fmla="*/ 119344 w 199831"/>
                <a:gd name="connsiteY9" fmla="*/ 84928 h 16985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99831" h="1698569">
                  <a:moveTo>
                    <a:pt x="119344" y="84928"/>
                  </a:moveTo>
                  <a:cubicBezTo>
                    <a:pt x="109352" y="84928"/>
                    <a:pt x="99361" y="84928"/>
                    <a:pt x="99361" y="94920"/>
                  </a:cubicBezTo>
                  <a:cubicBezTo>
                    <a:pt x="99361" y="94920"/>
                    <a:pt x="79378" y="264777"/>
                    <a:pt x="79378" y="454617"/>
                  </a:cubicBezTo>
                  <a:cubicBezTo>
                    <a:pt x="79378" y="664441"/>
                    <a:pt x="89369" y="744373"/>
                    <a:pt x="89369" y="744373"/>
                  </a:cubicBezTo>
                  <a:cubicBezTo>
                    <a:pt x="109352" y="1243953"/>
                    <a:pt x="79378" y="1483751"/>
                    <a:pt x="79378" y="1533709"/>
                  </a:cubicBezTo>
                  <a:cubicBezTo>
                    <a:pt x="79378" y="1583667"/>
                    <a:pt x="69386" y="1643616"/>
                    <a:pt x="79378" y="1653608"/>
                  </a:cubicBezTo>
                  <a:cubicBezTo>
                    <a:pt x="89369" y="1663599"/>
                    <a:pt x="139327" y="1673591"/>
                    <a:pt x="179293" y="1673591"/>
                  </a:cubicBezTo>
                  <a:lnTo>
                    <a:pt x="179293" y="74937"/>
                  </a:lnTo>
                  <a:cubicBezTo>
                    <a:pt x="169302" y="74937"/>
                    <a:pt x="139327" y="74937"/>
                    <a:pt x="139327" y="74937"/>
                  </a:cubicBezTo>
                  <a:cubicBezTo>
                    <a:pt x="139327" y="74937"/>
                    <a:pt x="139327" y="84928"/>
                    <a:pt x="119344" y="84928"/>
                  </a:cubicBezTo>
                  <a:close/>
                </a:path>
              </a:pathLst>
            </a:custGeom>
            <a:solidFill>
              <a:schemeClr val="tx2">
                <a:lumMod val="20000"/>
                <a:lumOff val="8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2" name="任意多边形: 形状 41">
              <a:extLst>
                <a:ext uri="{FF2B5EF4-FFF2-40B4-BE49-F238E27FC236}">
                  <a16:creationId xmlns:a16="http://schemas.microsoft.com/office/drawing/2014/main" id="{22EBA9B6-C842-46E5-B3E7-94330CEDBFA9}"/>
                </a:ext>
              </a:extLst>
            </p:cNvPr>
            <p:cNvSpPr/>
            <p:nvPr userDrawn="1"/>
          </p:nvSpPr>
          <p:spPr>
            <a:xfrm>
              <a:off x="3434511" y="4048740"/>
              <a:ext cx="584011" cy="681346"/>
            </a:xfrm>
            <a:custGeom>
              <a:avLst/>
              <a:gdLst>
                <a:gd name="connsiteX0" fmla="*/ 554533 w 599495"/>
                <a:gd name="connsiteY0" fmla="*/ 354701 h 699411"/>
                <a:gd name="connsiteX1" fmla="*/ 314735 w 599495"/>
                <a:gd name="connsiteY1" fmla="*/ 74937 h 699411"/>
                <a:gd name="connsiteX2" fmla="*/ 74937 w 599495"/>
                <a:gd name="connsiteY2" fmla="*/ 354701 h 699411"/>
                <a:gd name="connsiteX3" fmla="*/ 314735 w 599495"/>
                <a:gd name="connsiteY3" fmla="*/ 634466 h 699411"/>
                <a:gd name="connsiteX4" fmla="*/ 554533 w 599495"/>
                <a:gd name="connsiteY4" fmla="*/ 354701 h 699411"/>
                <a:gd name="connsiteX5" fmla="*/ 494584 w 599495"/>
                <a:gd name="connsiteY5" fmla="*/ 354701 h 699411"/>
                <a:gd name="connsiteX6" fmla="*/ 314735 w 599495"/>
                <a:gd name="connsiteY6" fmla="*/ 564525 h 699411"/>
                <a:gd name="connsiteX7" fmla="*/ 134886 w 599495"/>
                <a:gd name="connsiteY7" fmla="*/ 354701 h 699411"/>
                <a:gd name="connsiteX8" fmla="*/ 314735 w 599495"/>
                <a:gd name="connsiteY8" fmla="*/ 144878 h 699411"/>
                <a:gd name="connsiteX9" fmla="*/ 494584 w 599495"/>
                <a:gd name="connsiteY9" fmla="*/ 354701 h 6994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99495" h="699411">
                  <a:moveTo>
                    <a:pt x="554533" y="354701"/>
                  </a:moveTo>
                  <a:cubicBezTo>
                    <a:pt x="554533" y="194836"/>
                    <a:pt x="444626" y="74937"/>
                    <a:pt x="314735" y="74937"/>
                  </a:cubicBezTo>
                  <a:cubicBezTo>
                    <a:pt x="184844" y="74937"/>
                    <a:pt x="74937" y="204828"/>
                    <a:pt x="74937" y="354701"/>
                  </a:cubicBezTo>
                  <a:cubicBezTo>
                    <a:pt x="74937" y="514567"/>
                    <a:pt x="184844" y="634466"/>
                    <a:pt x="314735" y="634466"/>
                  </a:cubicBezTo>
                  <a:cubicBezTo>
                    <a:pt x="454617" y="634466"/>
                    <a:pt x="554533" y="514567"/>
                    <a:pt x="554533" y="354701"/>
                  </a:cubicBezTo>
                  <a:close/>
                  <a:moveTo>
                    <a:pt x="494584" y="354701"/>
                  </a:moveTo>
                  <a:cubicBezTo>
                    <a:pt x="494584" y="474600"/>
                    <a:pt x="414651" y="564525"/>
                    <a:pt x="314735" y="564525"/>
                  </a:cubicBezTo>
                  <a:cubicBezTo>
                    <a:pt x="214819" y="564525"/>
                    <a:pt x="134886" y="474600"/>
                    <a:pt x="134886" y="354701"/>
                  </a:cubicBezTo>
                  <a:cubicBezTo>
                    <a:pt x="134886" y="234802"/>
                    <a:pt x="214819" y="144878"/>
                    <a:pt x="314735" y="144878"/>
                  </a:cubicBezTo>
                  <a:cubicBezTo>
                    <a:pt x="414651" y="144878"/>
                    <a:pt x="494584" y="234802"/>
                    <a:pt x="494584" y="354701"/>
                  </a:cubicBezTo>
                  <a:close/>
                </a:path>
              </a:pathLst>
            </a:custGeom>
            <a:solidFill>
              <a:schemeClr val="tx2">
                <a:lumMod val="20000"/>
                <a:lumOff val="8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3" name="任意多边形: 形状 42">
              <a:extLst>
                <a:ext uri="{FF2B5EF4-FFF2-40B4-BE49-F238E27FC236}">
                  <a16:creationId xmlns:a16="http://schemas.microsoft.com/office/drawing/2014/main" id="{82A7D3EA-BFE0-4E4A-88C8-CB8CFF2592A4}"/>
                </a:ext>
              </a:extLst>
            </p:cNvPr>
            <p:cNvSpPr/>
            <p:nvPr userDrawn="1"/>
          </p:nvSpPr>
          <p:spPr>
            <a:xfrm>
              <a:off x="3658382" y="4360213"/>
              <a:ext cx="389340" cy="2141372"/>
            </a:xfrm>
            <a:custGeom>
              <a:avLst/>
              <a:gdLst>
                <a:gd name="connsiteX0" fmla="*/ 324727 w 399663"/>
                <a:gd name="connsiteY0" fmla="*/ 74937 h 2198149"/>
                <a:gd name="connsiteX1" fmla="*/ 374685 w 399663"/>
                <a:gd name="connsiteY1" fmla="*/ 1024138 h 2198149"/>
                <a:gd name="connsiteX2" fmla="*/ 404659 w 399663"/>
                <a:gd name="connsiteY2" fmla="*/ 1463768 h 2198149"/>
                <a:gd name="connsiteX3" fmla="*/ 394668 w 399663"/>
                <a:gd name="connsiteY3" fmla="*/ 2163179 h 2198149"/>
                <a:gd name="connsiteX4" fmla="*/ 364693 w 399663"/>
                <a:gd name="connsiteY4" fmla="*/ 2123213 h 2198149"/>
                <a:gd name="connsiteX5" fmla="*/ 334718 w 399663"/>
                <a:gd name="connsiteY5" fmla="*/ 1503734 h 2198149"/>
                <a:gd name="connsiteX6" fmla="*/ 274769 w 399663"/>
                <a:gd name="connsiteY6" fmla="*/ 1094079 h 2198149"/>
                <a:gd name="connsiteX7" fmla="*/ 184844 w 399663"/>
                <a:gd name="connsiteY7" fmla="*/ 434634 h 2198149"/>
                <a:gd name="connsiteX8" fmla="*/ 74937 w 399663"/>
                <a:gd name="connsiteY8" fmla="*/ 274769 h 2198149"/>
                <a:gd name="connsiteX9" fmla="*/ 224811 w 399663"/>
                <a:gd name="connsiteY9" fmla="*/ 194836 h 2198149"/>
                <a:gd name="connsiteX10" fmla="*/ 324727 w 399663"/>
                <a:gd name="connsiteY10" fmla="*/ 74937 h 2198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99663" h="2198149">
                  <a:moveTo>
                    <a:pt x="324727" y="74937"/>
                  </a:moveTo>
                  <a:lnTo>
                    <a:pt x="374685" y="1024138"/>
                  </a:lnTo>
                  <a:cubicBezTo>
                    <a:pt x="374685" y="1024138"/>
                    <a:pt x="404659" y="1383835"/>
                    <a:pt x="404659" y="1463768"/>
                  </a:cubicBezTo>
                  <a:cubicBezTo>
                    <a:pt x="394668" y="1703566"/>
                    <a:pt x="404659" y="2123213"/>
                    <a:pt x="394668" y="2163179"/>
                  </a:cubicBezTo>
                  <a:cubicBezTo>
                    <a:pt x="384676" y="2203145"/>
                    <a:pt x="364693" y="2193154"/>
                    <a:pt x="364693" y="2123213"/>
                  </a:cubicBezTo>
                  <a:cubicBezTo>
                    <a:pt x="364693" y="2013305"/>
                    <a:pt x="334718" y="1503734"/>
                    <a:pt x="334718" y="1503734"/>
                  </a:cubicBezTo>
                  <a:lnTo>
                    <a:pt x="274769" y="1094079"/>
                  </a:lnTo>
                  <a:lnTo>
                    <a:pt x="184844" y="434634"/>
                  </a:lnTo>
                  <a:lnTo>
                    <a:pt x="74937" y="274769"/>
                  </a:lnTo>
                  <a:lnTo>
                    <a:pt x="224811" y="194836"/>
                  </a:lnTo>
                  <a:lnTo>
                    <a:pt x="324727" y="74937"/>
                  </a:lnTo>
                  <a:close/>
                </a:path>
              </a:pathLst>
            </a:custGeom>
            <a:solidFill>
              <a:schemeClr val="tx2">
                <a:lumMod val="20000"/>
                <a:lumOff val="8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4" name="任意多边形: 形状 43">
              <a:extLst>
                <a:ext uri="{FF2B5EF4-FFF2-40B4-BE49-F238E27FC236}">
                  <a16:creationId xmlns:a16="http://schemas.microsoft.com/office/drawing/2014/main" id="{9C5612B3-E880-4E63-BA52-3CBB6A680E1B}"/>
                </a:ext>
              </a:extLst>
            </p:cNvPr>
            <p:cNvSpPr/>
            <p:nvPr userDrawn="1"/>
          </p:nvSpPr>
          <p:spPr>
            <a:xfrm>
              <a:off x="4008788" y="4068207"/>
              <a:ext cx="584011" cy="681346"/>
            </a:xfrm>
            <a:custGeom>
              <a:avLst/>
              <a:gdLst>
                <a:gd name="connsiteX0" fmla="*/ 554533 w 599495"/>
                <a:gd name="connsiteY0" fmla="*/ 354701 h 699411"/>
                <a:gd name="connsiteX1" fmla="*/ 314735 w 599495"/>
                <a:gd name="connsiteY1" fmla="*/ 74937 h 699411"/>
                <a:gd name="connsiteX2" fmla="*/ 74937 w 599495"/>
                <a:gd name="connsiteY2" fmla="*/ 354701 h 699411"/>
                <a:gd name="connsiteX3" fmla="*/ 314735 w 599495"/>
                <a:gd name="connsiteY3" fmla="*/ 634466 h 699411"/>
                <a:gd name="connsiteX4" fmla="*/ 554533 w 599495"/>
                <a:gd name="connsiteY4" fmla="*/ 354701 h 699411"/>
                <a:gd name="connsiteX5" fmla="*/ 494584 w 599495"/>
                <a:gd name="connsiteY5" fmla="*/ 354701 h 699411"/>
                <a:gd name="connsiteX6" fmla="*/ 314735 w 599495"/>
                <a:gd name="connsiteY6" fmla="*/ 564525 h 699411"/>
                <a:gd name="connsiteX7" fmla="*/ 134886 w 599495"/>
                <a:gd name="connsiteY7" fmla="*/ 354701 h 699411"/>
                <a:gd name="connsiteX8" fmla="*/ 314735 w 599495"/>
                <a:gd name="connsiteY8" fmla="*/ 144878 h 699411"/>
                <a:gd name="connsiteX9" fmla="*/ 494584 w 599495"/>
                <a:gd name="connsiteY9" fmla="*/ 354701 h 6994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99495" h="699411">
                  <a:moveTo>
                    <a:pt x="554533" y="354701"/>
                  </a:moveTo>
                  <a:cubicBezTo>
                    <a:pt x="554533" y="194836"/>
                    <a:pt x="444626" y="74937"/>
                    <a:pt x="314735" y="74937"/>
                  </a:cubicBezTo>
                  <a:cubicBezTo>
                    <a:pt x="184844" y="74937"/>
                    <a:pt x="74937" y="204828"/>
                    <a:pt x="74937" y="354701"/>
                  </a:cubicBezTo>
                  <a:cubicBezTo>
                    <a:pt x="74937" y="514567"/>
                    <a:pt x="184844" y="634466"/>
                    <a:pt x="314735" y="634466"/>
                  </a:cubicBezTo>
                  <a:cubicBezTo>
                    <a:pt x="444626" y="634466"/>
                    <a:pt x="554533" y="514567"/>
                    <a:pt x="554533" y="354701"/>
                  </a:cubicBezTo>
                  <a:close/>
                  <a:moveTo>
                    <a:pt x="494584" y="354701"/>
                  </a:moveTo>
                  <a:cubicBezTo>
                    <a:pt x="494584" y="474600"/>
                    <a:pt x="414651" y="564525"/>
                    <a:pt x="314735" y="564525"/>
                  </a:cubicBezTo>
                  <a:cubicBezTo>
                    <a:pt x="214819" y="564525"/>
                    <a:pt x="134886" y="474600"/>
                    <a:pt x="134886" y="354701"/>
                  </a:cubicBezTo>
                  <a:cubicBezTo>
                    <a:pt x="134886" y="234802"/>
                    <a:pt x="214819" y="144878"/>
                    <a:pt x="314735" y="144878"/>
                  </a:cubicBezTo>
                  <a:cubicBezTo>
                    <a:pt x="414651" y="144878"/>
                    <a:pt x="494584" y="234802"/>
                    <a:pt x="494584" y="354701"/>
                  </a:cubicBezTo>
                  <a:close/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5" name="任意多边形: 形状 44">
              <a:extLst>
                <a:ext uri="{FF2B5EF4-FFF2-40B4-BE49-F238E27FC236}">
                  <a16:creationId xmlns:a16="http://schemas.microsoft.com/office/drawing/2014/main" id="{3707779A-E952-4ED7-A98B-590F8DE1BFA5}"/>
                </a:ext>
              </a:extLst>
            </p:cNvPr>
            <p:cNvSpPr/>
            <p:nvPr userDrawn="1"/>
          </p:nvSpPr>
          <p:spPr>
            <a:xfrm>
              <a:off x="3823852" y="4331012"/>
              <a:ext cx="486676" cy="2141372"/>
            </a:xfrm>
            <a:custGeom>
              <a:avLst/>
              <a:gdLst>
                <a:gd name="connsiteX0" fmla="*/ 264777 w 499579"/>
                <a:gd name="connsiteY0" fmla="*/ 74937 h 2198149"/>
                <a:gd name="connsiteX1" fmla="*/ 174853 w 499579"/>
                <a:gd name="connsiteY1" fmla="*/ 864272 h 2198149"/>
                <a:gd name="connsiteX2" fmla="*/ 74937 w 499579"/>
                <a:gd name="connsiteY2" fmla="*/ 924222 h 2198149"/>
                <a:gd name="connsiteX3" fmla="*/ 134886 w 499579"/>
                <a:gd name="connsiteY3" fmla="*/ 1583667 h 2198149"/>
                <a:gd name="connsiteX4" fmla="*/ 164861 w 499579"/>
                <a:gd name="connsiteY4" fmla="*/ 2153187 h 2198149"/>
                <a:gd name="connsiteX5" fmla="*/ 204827 w 499579"/>
                <a:gd name="connsiteY5" fmla="*/ 2063263 h 2198149"/>
                <a:gd name="connsiteX6" fmla="*/ 244794 w 499579"/>
                <a:gd name="connsiteY6" fmla="*/ 1563684 h 2198149"/>
                <a:gd name="connsiteX7" fmla="*/ 354701 w 499579"/>
                <a:gd name="connsiteY7" fmla="*/ 384676 h 2198149"/>
                <a:gd name="connsiteX8" fmla="*/ 504575 w 499579"/>
                <a:gd name="connsiteY8" fmla="*/ 344710 h 2198149"/>
                <a:gd name="connsiteX9" fmla="*/ 344710 w 499579"/>
                <a:gd name="connsiteY9" fmla="*/ 214819 h 2198149"/>
                <a:gd name="connsiteX10" fmla="*/ 264777 w 499579"/>
                <a:gd name="connsiteY10" fmla="*/ 74937 h 2198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99579" h="2198149">
                  <a:moveTo>
                    <a:pt x="264777" y="74937"/>
                  </a:moveTo>
                  <a:lnTo>
                    <a:pt x="174853" y="864272"/>
                  </a:lnTo>
                  <a:lnTo>
                    <a:pt x="74937" y="924222"/>
                  </a:lnTo>
                  <a:lnTo>
                    <a:pt x="134886" y="1583667"/>
                  </a:lnTo>
                  <a:cubicBezTo>
                    <a:pt x="134886" y="1583667"/>
                    <a:pt x="164861" y="2113221"/>
                    <a:pt x="164861" y="2153187"/>
                  </a:cubicBezTo>
                  <a:cubicBezTo>
                    <a:pt x="164861" y="2233120"/>
                    <a:pt x="194836" y="2233120"/>
                    <a:pt x="204827" y="2063263"/>
                  </a:cubicBezTo>
                  <a:cubicBezTo>
                    <a:pt x="214819" y="1993322"/>
                    <a:pt x="244794" y="1563684"/>
                    <a:pt x="244794" y="1563684"/>
                  </a:cubicBezTo>
                  <a:lnTo>
                    <a:pt x="354701" y="384676"/>
                  </a:lnTo>
                  <a:lnTo>
                    <a:pt x="504575" y="344710"/>
                  </a:lnTo>
                  <a:cubicBezTo>
                    <a:pt x="504575" y="344710"/>
                    <a:pt x="384676" y="284760"/>
                    <a:pt x="344710" y="214819"/>
                  </a:cubicBezTo>
                  <a:cubicBezTo>
                    <a:pt x="294752" y="164861"/>
                    <a:pt x="264777" y="74937"/>
                    <a:pt x="264777" y="74937"/>
                  </a:cubicBezTo>
                  <a:close/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6" name="任意多边形: 形状 45">
              <a:extLst>
                <a:ext uri="{FF2B5EF4-FFF2-40B4-BE49-F238E27FC236}">
                  <a16:creationId xmlns:a16="http://schemas.microsoft.com/office/drawing/2014/main" id="{D1379149-D1F4-4FB8-BA9C-E5E35F4C918C}"/>
                </a:ext>
              </a:extLst>
            </p:cNvPr>
            <p:cNvSpPr/>
            <p:nvPr userDrawn="1"/>
          </p:nvSpPr>
          <p:spPr>
            <a:xfrm>
              <a:off x="3882253" y="5197295"/>
              <a:ext cx="194670" cy="194670"/>
            </a:xfrm>
            <a:custGeom>
              <a:avLst/>
              <a:gdLst>
                <a:gd name="connsiteX0" fmla="*/ 174853 w 199831"/>
                <a:gd name="connsiteY0" fmla="*/ 124895 h 199831"/>
                <a:gd name="connsiteX1" fmla="*/ 124895 w 199831"/>
                <a:gd name="connsiteY1" fmla="*/ 74937 h 199831"/>
                <a:gd name="connsiteX2" fmla="*/ 74937 w 199831"/>
                <a:gd name="connsiteY2" fmla="*/ 124895 h 199831"/>
                <a:gd name="connsiteX3" fmla="*/ 124895 w 199831"/>
                <a:gd name="connsiteY3" fmla="*/ 174853 h 199831"/>
                <a:gd name="connsiteX4" fmla="*/ 174853 w 199831"/>
                <a:gd name="connsiteY4" fmla="*/ 124895 h 199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9831" h="199831">
                  <a:moveTo>
                    <a:pt x="174853" y="124895"/>
                  </a:moveTo>
                  <a:cubicBezTo>
                    <a:pt x="174853" y="94920"/>
                    <a:pt x="154870" y="74937"/>
                    <a:pt x="124895" y="74937"/>
                  </a:cubicBezTo>
                  <a:cubicBezTo>
                    <a:pt x="94920" y="74937"/>
                    <a:pt x="74937" y="94920"/>
                    <a:pt x="74937" y="124895"/>
                  </a:cubicBezTo>
                  <a:cubicBezTo>
                    <a:pt x="74937" y="154870"/>
                    <a:pt x="94920" y="174853"/>
                    <a:pt x="124895" y="174853"/>
                  </a:cubicBezTo>
                  <a:cubicBezTo>
                    <a:pt x="154870" y="184844"/>
                    <a:pt x="174853" y="154870"/>
                    <a:pt x="174853" y="124895"/>
                  </a:cubicBezTo>
                  <a:close/>
                </a:path>
              </a:pathLst>
            </a:custGeom>
            <a:solidFill>
              <a:schemeClr val="tx2">
                <a:lumMod val="20000"/>
                <a:lumOff val="8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7" name="任意多边形: 形状 46">
              <a:extLst>
                <a:ext uri="{FF2B5EF4-FFF2-40B4-BE49-F238E27FC236}">
                  <a16:creationId xmlns:a16="http://schemas.microsoft.com/office/drawing/2014/main" id="{52A561D8-D5B4-4662-8376-EE5057E043BF}"/>
                </a:ext>
              </a:extLst>
            </p:cNvPr>
            <p:cNvSpPr/>
            <p:nvPr userDrawn="1"/>
          </p:nvSpPr>
          <p:spPr>
            <a:xfrm>
              <a:off x="2616897" y="6306916"/>
              <a:ext cx="486676" cy="194670"/>
            </a:xfrm>
            <a:custGeom>
              <a:avLst/>
              <a:gdLst>
                <a:gd name="connsiteX0" fmla="*/ 434634 w 499579"/>
                <a:gd name="connsiteY0" fmla="*/ 114903 h 199831"/>
                <a:gd name="connsiteX1" fmla="*/ 254785 w 499579"/>
                <a:gd name="connsiteY1" fmla="*/ 154870 h 199831"/>
                <a:gd name="connsiteX2" fmla="*/ 74937 w 499579"/>
                <a:gd name="connsiteY2" fmla="*/ 114903 h 199831"/>
                <a:gd name="connsiteX3" fmla="*/ 254785 w 499579"/>
                <a:gd name="connsiteY3" fmla="*/ 74937 h 199831"/>
                <a:gd name="connsiteX4" fmla="*/ 434634 w 499579"/>
                <a:gd name="connsiteY4" fmla="*/ 114903 h 199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9579" h="199831">
                  <a:moveTo>
                    <a:pt x="434634" y="114903"/>
                  </a:moveTo>
                  <a:cubicBezTo>
                    <a:pt x="434634" y="134886"/>
                    <a:pt x="354701" y="154870"/>
                    <a:pt x="254785" y="154870"/>
                  </a:cubicBezTo>
                  <a:cubicBezTo>
                    <a:pt x="154870" y="154870"/>
                    <a:pt x="74937" y="144878"/>
                    <a:pt x="74937" y="114903"/>
                  </a:cubicBezTo>
                  <a:cubicBezTo>
                    <a:pt x="74937" y="94920"/>
                    <a:pt x="154870" y="74937"/>
                    <a:pt x="254785" y="74937"/>
                  </a:cubicBezTo>
                  <a:cubicBezTo>
                    <a:pt x="354701" y="74937"/>
                    <a:pt x="434634" y="94920"/>
                    <a:pt x="434634" y="114903"/>
                  </a:cubicBezTo>
                  <a:close/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8" name="任意多边形: 形状 47">
              <a:extLst>
                <a:ext uri="{FF2B5EF4-FFF2-40B4-BE49-F238E27FC236}">
                  <a16:creationId xmlns:a16="http://schemas.microsoft.com/office/drawing/2014/main" id="{258A577A-1E67-4F13-891B-C8E36E308186}"/>
                </a:ext>
              </a:extLst>
            </p:cNvPr>
            <p:cNvSpPr/>
            <p:nvPr userDrawn="1"/>
          </p:nvSpPr>
          <p:spPr>
            <a:xfrm>
              <a:off x="2597429" y="6345849"/>
              <a:ext cx="486676" cy="194670"/>
            </a:xfrm>
            <a:custGeom>
              <a:avLst/>
              <a:gdLst>
                <a:gd name="connsiteX0" fmla="*/ 454617 w 499579"/>
                <a:gd name="connsiteY0" fmla="*/ 74937 h 199831"/>
                <a:gd name="connsiteX1" fmla="*/ 264777 w 499579"/>
                <a:gd name="connsiteY1" fmla="*/ 114903 h 199831"/>
                <a:gd name="connsiteX2" fmla="*/ 74937 w 499579"/>
                <a:gd name="connsiteY2" fmla="*/ 74937 h 199831"/>
                <a:gd name="connsiteX3" fmla="*/ 74937 w 499579"/>
                <a:gd name="connsiteY3" fmla="*/ 104912 h 199831"/>
                <a:gd name="connsiteX4" fmla="*/ 74937 w 499579"/>
                <a:gd name="connsiteY4" fmla="*/ 104912 h 199831"/>
                <a:gd name="connsiteX5" fmla="*/ 254785 w 499579"/>
                <a:gd name="connsiteY5" fmla="*/ 144878 h 199831"/>
                <a:gd name="connsiteX6" fmla="*/ 434634 w 499579"/>
                <a:gd name="connsiteY6" fmla="*/ 104912 h 199831"/>
                <a:gd name="connsiteX7" fmla="*/ 434634 w 499579"/>
                <a:gd name="connsiteY7" fmla="*/ 104912 h 199831"/>
                <a:gd name="connsiteX8" fmla="*/ 434634 w 499579"/>
                <a:gd name="connsiteY8" fmla="*/ 104912 h 199831"/>
                <a:gd name="connsiteX9" fmla="*/ 434634 w 499579"/>
                <a:gd name="connsiteY9" fmla="*/ 104912 h 199831"/>
                <a:gd name="connsiteX10" fmla="*/ 434634 w 499579"/>
                <a:gd name="connsiteY10" fmla="*/ 104912 h 199831"/>
                <a:gd name="connsiteX11" fmla="*/ 454617 w 499579"/>
                <a:gd name="connsiteY11" fmla="*/ 74937 h 199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99579" h="199831">
                  <a:moveTo>
                    <a:pt x="454617" y="74937"/>
                  </a:moveTo>
                  <a:cubicBezTo>
                    <a:pt x="444626" y="94920"/>
                    <a:pt x="364693" y="114903"/>
                    <a:pt x="264777" y="114903"/>
                  </a:cubicBezTo>
                  <a:cubicBezTo>
                    <a:pt x="164861" y="114903"/>
                    <a:pt x="74937" y="104912"/>
                    <a:pt x="74937" y="74937"/>
                  </a:cubicBezTo>
                  <a:cubicBezTo>
                    <a:pt x="74937" y="74937"/>
                    <a:pt x="74937" y="104912"/>
                    <a:pt x="74937" y="104912"/>
                  </a:cubicBezTo>
                  <a:lnTo>
                    <a:pt x="74937" y="104912"/>
                  </a:lnTo>
                  <a:cubicBezTo>
                    <a:pt x="74937" y="134887"/>
                    <a:pt x="154870" y="144878"/>
                    <a:pt x="254785" y="144878"/>
                  </a:cubicBezTo>
                  <a:cubicBezTo>
                    <a:pt x="354701" y="144878"/>
                    <a:pt x="434634" y="124895"/>
                    <a:pt x="434634" y="104912"/>
                  </a:cubicBezTo>
                  <a:lnTo>
                    <a:pt x="434634" y="104912"/>
                  </a:lnTo>
                  <a:lnTo>
                    <a:pt x="434634" y="104912"/>
                  </a:lnTo>
                  <a:cubicBezTo>
                    <a:pt x="434634" y="104912"/>
                    <a:pt x="434634" y="104912"/>
                    <a:pt x="434634" y="104912"/>
                  </a:cubicBezTo>
                  <a:cubicBezTo>
                    <a:pt x="434634" y="104912"/>
                    <a:pt x="434634" y="104912"/>
                    <a:pt x="434634" y="104912"/>
                  </a:cubicBezTo>
                  <a:cubicBezTo>
                    <a:pt x="454617" y="104912"/>
                    <a:pt x="464609" y="74937"/>
                    <a:pt x="454617" y="74937"/>
                  </a:cubicBezTo>
                  <a:close/>
                </a:path>
              </a:pathLst>
            </a:custGeom>
            <a:solidFill>
              <a:schemeClr val="tx2">
                <a:lumMod val="20000"/>
                <a:lumOff val="8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9" name="任意多边形: 形状 48">
              <a:extLst>
                <a:ext uri="{FF2B5EF4-FFF2-40B4-BE49-F238E27FC236}">
                  <a16:creationId xmlns:a16="http://schemas.microsoft.com/office/drawing/2014/main" id="{348ACA23-5F97-42B2-994D-45CA74F8FCC9}"/>
                </a:ext>
              </a:extLst>
            </p:cNvPr>
            <p:cNvSpPr/>
            <p:nvPr userDrawn="1"/>
          </p:nvSpPr>
          <p:spPr>
            <a:xfrm>
              <a:off x="2694764" y="5333564"/>
              <a:ext cx="194670" cy="1168022"/>
            </a:xfrm>
            <a:custGeom>
              <a:avLst/>
              <a:gdLst>
                <a:gd name="connsiteX0" fmla="*/ 184844 w 199831"/>
                <a:gd name="connsiteY0" fmla="*/ 1124054 h 1198990"/>
                <a:gd name="connsiteX1" fmla="*/ 114903 w 199831"/>
                <a:gd name="connsiteY1" fmla="*/ 1124054 h 1198990"/>
                <a:gd name="connsiteX2" fmla="*/ 114903 w 199831"/>
                <a:gd name="connsiteY2" fmla="*/ 924222 h 1198990"/>
                <a:gd name="connsiteX3" fmla="*/ 74937 w 199831"/>
                <a:gd name="connsiteY3" fmla="*/ 784340 h 1198990"/>
                <a:gd name="connsiteX4" fmla="*/ 74937 w 199831"/>
                <a:gd name="connsiteY4" fmla="*/ 74937 h 1198990"/>
                <a:gd name="connsiteX5" fmla="*/ 174853 w 199831"/>
                <a:gd name="connsiteY5" fmla="*/ 74937 h 1198990"/>
                <a:gd name="connsiteX6" fmla="*/ 184844 w 199831"/>
                <a:gd name="connsiteY6" fmla="*/ 1124054 h 11989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99831" h="1198990">
                  <a:moveTo>
                    <a:pt x="184844" y="1124054"/>
                  </a:moveTo>
                  <a:lnTo>
                    <a:pt x="114903" y="1124054"/>
                  </a:lnTo>
                  <a:lnTo>
                    <a:pt x="114903" y="924222"/>
                  </a:lnTo>
                  <a:cubicBezTo>
                    <a:pt x="114903" y="924222"/>
                    <a:pt x="84929" y="844289"/>
                    <a:pt x="74937" y="784340"/>
                  </a:cubicBezTo>
                  <a:cubicBezTo>
                    <a:pt x="74937" y="724390"/>
                    <a:pt x="74937" y="724390"/>
                    <a:pt x="74937" y="74937"/>
                  </a:cubicBezTo>
                  <a:cubicBezTo>
                    <a:pt x="74937" y="74937"/>
                    <a:pt x="124895" y="74937"/>
                    <a:pt x="174853" y="74937"/>
                  </a:cubicBezTo>
                  <a:cubicBezTo>
                    <a:pt x="174853" y="694415"/>
                    <a:pt x="184844" y="1124054"/>
                    <a:pt x="184844" y="1124054"/>
                  </a:cubicBezTo>
                  <a:close/>
                </a:path>
              </a:pathLst>
            </a:custGeom>
            <a:solidFill>
              <a:schemeClr val="tx2">
                <a:lumMod val="20000"/>
                <a:lumOff val="8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0" name="任意多边形: 形状 49">
              <a:extLst>
                <a:ext uri="{FF2B5EF4-FFF2-40B4-BE49-F238E27FC236}">
                  <a16:creationId xmlns:a16="http://schemas.microsoft.com/office/drawing/2014/main" id="{7E0D20A8-3A1F-48BC-BF0B-5E21D07D40E8}"/>
                </a:ext>
              </a:extLst>
            </p:cNvPr>
            <p:cNvSpPr/>
            <p:nvPr userDrawn="1"/>
          </p:nvSpPr>
          <p:spPr>
            <a:xfrm>
              <a:off x="2782367" y="5333564"/>
              <a:ext cx="194670" cy="1168022"/>
            </a:xfrm>
            <a:custGeom>
              <a:avLst/>
              <a:gdLst>
                <a:gd name="connsiteX0" fmla="*/ 74937 w 199831"/>
                <a:gd name="connsiteY0" fmla="*/ 74937 h 1198990"/>
                <a:gd name="connsiteX1" fmla="*/ 174853 w 199831"/>
                <a:gd name="connsiteY1" fmla="*/ 74937 h 1198990"/>
                <a:gd name="connsiteX2" fmla="*/ 184844 w 199831"/>
                <a:gd name="connsiteY2" fmla="*/ 804323 h 1198990"/>
                <a:gd name="connsiteX3" fmla="*/ 164861 w 199831"/>
                <a:gd name="connsiteY3" fmla="*/ 914230 h 1198990"/>
                <a:gd name="connsiteX4" fmla="*/ 164861 w 199831"/>
                <a:gd name="connsiteY4" fmla="*/ 1124054 h 1198990"/>
                <a:gd name="connsiteX5" fmla="*/ 94920 w 199831"/>
                <a:gd name="connsiteY5" fmla="*/ 1134045 h 1198990"/>
                <a:gd name="connsiteX6" fmla="*/ 74937 w 199831"/>
                <a:gd name="connsiteY6" fmla="*/ 74937 h 11989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99831" h="1198990">
                  <a:moveTo>
                    <a:pt x="74937" y="74937"/>
                  </a:moveTo>
                  <a:lnTo>
                    <a:pt x="174853" y="74937"/>
                  </a:lnTo>
                  <a:cubicBezTo>
                    <a:pt x="174853" y="74937"/>
                    <a:pt x="184844" y="764356"/>
                    <a:pt x="184844" y="804323"/>
                  </a:cubicBezTo>
                  <a:cubicBezTo>
                    <a:pt x="184844" y="844289"/>
                    <a:pt x="164861" y="894247"/>
                    <a:pt x="164861" y="914230"/>
                  </a:cubicBezTo>
                  <a:cubicBezTo>
                    <a:pt x="164861" y="944205"/>
                    <a:pt x="164861" y="1124054"/>
                    <a:pt x="164861" y="1124054"/>
                  </a:cubicBezTo>
                  <a:lnTo>
                    <a:pt x="94920" y="1134045"/>
                  </a:lnTo>
                  <a:lnTo>
                    <a:pt x="74937" y="74937"/>
                  </a:lnTo>
                  <a:close/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1" name="任意多边形: 形状 50">
              <a:extLst>
                <a:ext uri="{FF2B5EF4-FFF2-40B4-BE49-F238E27FC236}">
                  <a16:creationId xmlns:a16="http://schemas.microsoft.com/office/drawing/2014/main" id="{73385CEC-8155-4F0E-9231-639483AD156F}"/>
                </a:ext>
              </a:extLst>
            </p:cNvPr>
            <p:cNvSpPr/>
            <p:nvPr userDrawn="1"/>
          </p:nvSpPr>
          <p:spPr>
            <a:xfrm>
              <a:off x="2665564" y="5314097"/>
              <a:ext cx="389340" cy="194670"/>
            </a:xfrm>
            <a:custGeom>
              <a:avLst/>
              <a:gdLst>
                <a:gd name="connsiteX0" fmla="*/ 324727 w 399663"/>
                <a:gd name="connsiteY0" fmla="*/ 74937 h 199831"/>
                <a:gd name="connsiteX1" fmla="*/ 74937 w 399663"/>
                <a:gd name="connsiteY1" fmla="*/ 74937 h 199831"/>
                <a:gd name="connsiteX2" fmla="*/ 74937 w 399663"/>
                <a:gd name="connsiteY2" fmla="*/ 84928 h 199831"/>
                <a:gd name="connsiteX3" fmla="*/ 74937 w 399663"/>
                <a:gd name="connsiteY3" fmla="*/ 94920 h 199831"/>
                <a:gd name="connsiteX4" fmla="*/ 84928 w 399663"/>
                <a:gd name="connsiteY4" fmla="*/ 94920 h 199831"/>
                <a:gd name="connsiteX5" fmla="*/ 84928 w 399663"/>
                <a:gd name="connsiteY5" fmla="*/ 114903 h 199831"/>
                <a:gd name="connsiteX6" fmla="*/ 74937 w 399663"/>
                <a:gd name="connsiteY6" fmla="*/ 114903 h 199831"/>
                <a:gd name="connsiteX7" fmla="*/ 74937 w 399663"/>
                <a:gd name="connsiteY7" fmla="*/ 114903 h 199831"/>
                <a:gd name="connsiteX8" fmla="*/ 74937 w 399663"/>
                <a:gd name="connsiteY8" fmla="*/ 124895 h 199831"/>
                <a:gd name="connsiteX9" fmla="*/ 84928 w 399663"/>
                <a:gd name="connsiteY9" fmla="*/ 124895 h 199831"/>
                <a:gd name="connsiteX10" fmla="*/ 84928 w 399663"/>
                <a:gd name="connsiteY10" fmla="*/ 144878 h 199831"/>
                <a:gd name="connsiteX11" fmla="*/ 74937 w 399663"/>
                <a:gd name="connsiteY11" fmla="*/ 144878 h 199831"/>
                <a:gd name="connsiteX12" fmla="*/ 74937 w 399663"/>
                <a:gd name="connsiteY12" fmla="*/ 144878 h 199831"/>
                <a:gd name="connsiteX13" fmla="*/ 74937 w 399663"/>
                <a:gd name="connsiteY13" fmla="*/ 144878 h 199831"/>
                <a:gd name="connsiteX14" fmla="*/ 324727 w 399663"/>
                <a:gd name="connsiteY14" fmla="*/ 144878 h 199831"/>
                <a:gd name="connsiteX15" fmla="*/ 324727 w 399663"/>
                <a:gd name="connsiteY15" fmla="*/ 144878 h 199831"/>
                <a:gd name="connsiteX16" fmla="*/ 324727 w 399663"/>
                <a:gd name="connsiteY16" fmla="*/ 144878 h 199831"/>
                <a:gd name="connsiteX17" fmla="*/ 314735 w 399663"/>
                <a:gd name="connsiteY17" fmla="*/ 144878 h 199831"/>
                <a:gd name="connsiteX18" fmla="*/ 314735 w 399663"/>
                <a:gd name="connsiteY18" fmla="*/ 124895 h 199831"/>
                <a:gd name="connsiteX19" fmla="*/ 324727 w 399663"/>
                <a:gd name="connsiteY19" fmla="*/ 124895 h 199831"/>
                <a:gd name="connsiteX20" fmla="*/ 324727 w 399663"/>
                <a:gd name="connsiteY20" fmla="*/ 124895 h 199831"/>
                <a:gd name="connsiteX21" fmla="*/ 324727 w 399663"/>
                <a:gd name="connsiteY21" fmla="*/ 124895 h 199831"/>
                <a:gd name="connsiteX22" fmla="*/ 314735 w 399663"/>
                <a:gd name="connsiteY22" fmla="*/ 124895 h 199831"/>
                <a:gd name="connsiteX23" fmla="*/ 314735 w 399663"/>
                <a:gd name="connsiteY23" fmla="*/ 104912 h 199831"/>
                <a:gd name="connsiteX24" fmla="*/ 324727 w 399663"/>
                <a:gd name="connsiteY24" fmla="*/ 104912 h 199831"/>
                <a:gd name="connsiteX25" fmla="*/ 324727 w 399663"/>
                <a:gd name="connsiteY25" fmla="*/ 74937 h 199831"/>
                <a:gd name="connsiteX26" fmla="*/ 324727 w 399663"/>
                <a:gd name="connsiteY26" fmla="*/ 74937 h 199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399663" h="199831">
                  <a:moveTo>
                    <a:pt x="324727" y="74937"/>
                  </a:moveTo>
                  <a:lnTo>
                    <a:pt x="74937" y="74937"/>
                  </a:lnTo>
                  <a:cubicBezTo>
                    <a:pt x="74937" y="74937"/>
                    <a:pt x="74937" y="74937"/>
                    <a:pt x="74937" y="84928"/>
                  </a:cubicBezTo>
                  <a:cubicBezTo>
                    <a:pt x="74937" y="84928"/>
                    <a:pt x="74937" y="94920"/>
                    <a:pt x="74937" y="94920"/>
                  </a:cubicBezTo>
                  <a:lnTo>
                    <a:pt x="84928" y="94920"/>
                  </a:lnTo>
                  <a:lnTo>
                    <a:pt x="84928" y="114903"/>
                  </a:lnTo>
                  <a:lnTo>
                    <a:pt x="74937" y="114903"/>
                  </a:lnTo>
                  <a:cubicBezTo>
                    <a:pt x="74937" y="114903"/>
                    <a:pt x="74937" y="114903"/>
                    <a:pt x="74937" y="114903"/>
                  </a:cubicBezTo>
                  <a:cubicBezTo>
                    <a:pt x="74937" y="114903"/>
                    <a:pt x="74937" y="124895"/>
                    <a:pt x="74937" y="124895"/>
                  </a:cubicBezTo>
                  <a:lnTo>
                    <a:pt x="84928" y="124895"/>
                  </a:lnTo>
                  <a:lnTo>
                    <a:pt x="84928" y="144878"/>
                  </a:lnTo>
                  <a:lnTo>
                    <a:pt x="74937" y="144878"/>
                  </a:lnTo>
                  <a:cubicBezTo>
                    <a:pt x="74937" y="144878"/>
                    <a:pt x="74937" y="144878"/>
                    <a:pt x="74937" y="144878"/>
                  </a:cubicBezTo>
                  <a:cubicBezTo>
                    <a:pt x="74937" y="144878"/>
                    <a:pt x="74937" y="144878"/>
                    <a:pt x="74937" y="144878"/>
                  </a:cubicBezTo>
                  <a:lnTo>
                    <a:pt x="324727" y="144878"/>
                  </a:lnTo>
                  <a:cubicBezTo>
                    <a:pt x="324727" y="144878"/>
                    <a:pt x="324727" y="144878"/>
                    <a:pt x="324727" y="144878"/>
                  </a:cubicBezTo>
                  <a:cubicBezTo>
                    <a:pt x="324727" y="144878"/>
                    <a:pt x="324727" y="144878"/>
                    <a:pt x="324727" y="144878"/>
                  </a:cubicBezTo>
                  <a:lnTo>
                    <a:pt x="314735" y="144878"/>
                  </a:lnTo>
                  <a:lnTo>
                    <a:pt x="314735" y="124895"/>
                  </a:lnTo>
                  <a:lnTo>
                    <a:pt x="324727" y="124895"/>
                  </a:lnTo>
                  <a:cubicBezTo>
                    <a:pt x="324727" y="124895"/>
                    <a:pt x="324727" y="124895"/>
                    <a:pt x="324727" y="124895"/>
                  </a:cubicBezTo>
                  <a:cubicBezTo>
                    <a:pt x="324727" y="124895"/>
                    <a:pt x="324727" y="124895"/>
                    <a:pt x="324727" y="124895"/>
                  </a:cubicBezTo>
                  <a:lnTo>
                    <a:pt x="314735" y="124895"/>
                  </a:lnTo>
                  <a:lnTo>
                    <a:pt x="314735" y="104912"/>
                  </a:lnTo>
                  <a:lnTo>
                    <a:pt x="324727" y="104912"/>
                  </a:lnTo>
                  <a:cubicBezTo>
                    <a:pt x="324727" y="84928"/>
                    <a:pt x="334718" y="84928"/>
                    <a:pt x="324727" y="74937"/>
                  </a:cubicBezTo>
                  <a:cubicBezTo>
                    <a:pt x="334718" y="74937"/>
                    <a:pt x="324727" y="74937"/>
                    <a:pt x="324727" y="74937"/>
                  </a:cubicBezTo>
                  <a:close/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2" name="任意多边形: 形状 51">
              <a:extLst>
                <a:ext uri="{FF2B5EF4-FFF2-40B4-BE49-F238E27FC236}">
                  <a16:creationId xmlns:a16="http://schemas.microsoft.com/office/drawing/2014/main" id="{A0E1B418-FEEC-422D-92D7-246696A33A96}"/>
                </a:ext>
              </a:extLst>
            </p:cNvPr>
            <p:cNvSpPr/>
            <p:nvPr userDrawn="1"/>
          </p:nvSpPr>
          <p:spPr>
            <a:xfrm>
              <a:off x="2636364" y="4778753"/>
              <a:ext cx="389340" cy="1265356"/>
            </a:xfrm>
            <a:custGeom>
              <a:avLst/>
              <a:gdLst>
                <a:gd name="connsiteX0" fmla="*/ 74937 w 399663"/>
                <a:gd name="connsiteY0" fmla="*/ 1303902 h 1298906"/>
                <a:gd name="connsiteX1" fmla="*/ 74937 w 399663"/>
                <a:gd name="connsiteY1" fmla="*/ 84929 h 1298906"/>
                <a:gd name="connsiteX2" fmla="*/ 84928 w 399663"/>
                <a:gd name="connsiteY2" fmla="*/ 74937 h 1298906"/>
                <a:gd name="connsiteX3" fmla="*/ 84928 w 399663"/>
                <a:gd name="connsiteY3" fmla="*/ 74937 h 1298906"/>
                <a:gd name="connsiteX4" fmla="*/ 384676 w 399663"/>
                <a:gd name="connsiteY4" fmla="*/ 74937 h 1298906"/>
                <a:gd name="connsiteX5" fmla="*/ 394668 w 399663"/>
                <a:gd name="connsiteY5" fmla="*/ 74937 h 1298906"/>
                <a:gd name="connsiteX6" fmla="*/ 394668 w 399663"/>
                <a:gd name="connsiteY6" fmla="*/ 74937 h 1298906"/>
                <a:gd name="connsiteX7" fmla="*/ 394668 w 399663"/>
                <a:gd name="connsiteY7" fmla="*/ 84929 h 1298906"/>
                <a:gd name="connsiteX8" fmla="*/ 394668 w 399663"/>
                <a:gd name="connsiteY8" fmla="*/ 84929 h 1298906"/>
                <a:gd name="connsiteX9" fmla="*/ 394668 w 399663"/>
                <a:gd name="connsiteY9" fmla="*/ 1293911 h 1298906"/>
                <a:gd name="connsiteX10" fmla="*/ 394668 w 399663"/>
                <a:gd name="connsiteY10" fmla="*/ 1303902 h 1298906"/>
                <a:gd name="connsiteX11" fmla="*/ 394668 w 399663"/>
                <a:gd name="connsiteY11" fmla="*/ 1303902 h 1298906"/>
                <a:gd name="connsiteX12" fmla="*/ 334718 w 399663"/>
                <a:gd name="connsiteY12" fmla="*/ 1313894 h 1298906"/>
                <a:gd name="connsiteX13" fmla="*/ 334718 w 399663"/>
                <a:gd name="connsiteY13" fmla="*/ 1313894 h 1298906"/>
                <a:gd name="connsiteX14" fmla="*/ 234802 w 399663"/>
                <a:gd name="connsiteY14" fmla="*/ 1313894 h 1298906"/>
                <a:gd name="connsiteX15" fmla="*/ 234802 w 399663"/>
                <a:gd name="connsiteY15" fmla="*/ 1313894 h 1298906"/>
                <a:gd name="connsiteX16" fmla="*/ 134886 w 399663"/>
                <a:gd name="connsiteY16" fmla="*/ 1313894 h 1298906"/>
                <a:gd name="connsiteX17" fmla="*/ 134886 w 399663"/>
                <a:gd name="connsiteY17" fmla="*/ 1313894 h 1298906"/>
                <a:gd name="connsiteX18" fmla="*/ 74937 w 399663"/>
                <a:gd name="connsiteY18" fmla="*/ 1303902 h 1298906"/>
                <a:gd name="connsiteX19" fmla="*/ 74937 w 399663"/>
                <a:gd name="connsiteY19" fmla="*/ 1303902 h 1298906"/>
                <a:gd name="connsiteX20" fmla="*/ 74937 w 399663"/>
                <a:gd name="connsiteY20" fmla="*/ 1303902 h 1298906"/>
                <a:gd name="connsiteX21" fmla="*/ 74937 w 399663"/>
                <a:gd name="connsiteY21" fmla="*/ 1303902 h 1298906"/>
                <a:gd name="connsiteX22" fmla="*/ 74937 w 399663"/>
                <a:gd name="connsiteY22" fmla="*/ 1303902 h 1298906"/>
                <a:gd name="connsiteX23" fmla="*/ 74937 w 399663"/>
                <a:gd name="connsiteY23" fmla="*/ 1303902 h 1298906"/>
                <a:gd name="connsiteX24" fmla="*/ 94920 w 399663"/>
                <a:gd name="connsiteY24" fmla="*/ 1293911 h 1298906"/>
                <a:gd name="connsiteX25" fmla="*/ 134886 w 399663"/>
                <a:gd name="connsiteY25" fmla="*/ 1303902 h 1298906"/>
                <a:gd name="connsiteX26" fmla="*/ 134886 w 399663"/>
                <a:gd name="connsiteY26" fmla="*/ 1303902 h 1298906"/>
                <a:gd name="connsiteX27" fmla="*/ 234802 w 399663"/>
                <a:gd name="connsiteY27" fmla="*/ 1303902 h 1298906"/>
                <a:gd name="connsiteX28" fmla="*/ 234802 w 399663"/>
                <a:gd name="connsiteY28" fmla="*/ 1303902 h 1298906"/>
                <a:gd name="connsiteX29" fmla="*/ 324727 w 399663"/>
                <a:gd name="connsiteY29" fmla="*/ 1303902 h 1298906"/>
                <a:gd name="connsiteX30" fmla="*/ 324727 w 399663"/>
                <a:gd name="connsiteY30" fmla="*/ 1303902 h 1298906"/>
                <a:gd name="connsiteX31" fmla="*/ 364693 w 399663"/>
                <a:gd name="connsiteY31" fmla="*/ 1293911 h 1298906"/>
                <a:gd name="connsiteX32" fmla="*/ 364693 w 399663"/>
                <a:gd name="connsiteY32" fmla="*/ 1293911 h 1298906"/>
                <a:gd name="connsiteX33" fmla="*/ 374685 w 399663"/>
                <a:gd name="connsiteY33" fmla="*/ 1293911 h 1298906"/>
                <a:gd name="connsiteX34" fmla="*/ 374685 w 399663"/>
                <a:gd name="connsiteY34" fmla="*/ 1293911 h 1298906"/>
                <a:gd name="connsiteX35" fmla="*/ 374685 w 399663"/>
                <a:gd name="connsiteY35" fmla="*/ 94920 h 1298906"/>
                <a:gd name="connsiteX36" fmla="*/ 94920 w 399663"/>
                <a:gd name="connsiteY36" fmla="*/ 94920 h 1298906"/>
                <a:gd name="connsiteX37" fmla="*/ 94920 w 399663"/>
                <a:gd name="connsiteY37" fmla="*/ 1293911 h 1298906"/>
                <a:gd name="connsiteX38" fmla="*/ 94920 w 399663"/>
                <a:gd name="connsiteY38" fmla="*/ 1293911 h 12989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399663" h="1298906">
                  <a:moveTo>
                    <a:pt x="74937" y="1303902"/>
                  </a:moveTo>
                  <a:lnTo>
                    <a:pt x="74937" y="84929"/>
                  </a:lnTo>
                  <a:cubicBezTo>
                    <a:pt x="74937" y="84929"/>
                    <a:pt x="74937" y="74937"/>
                    <a:pt x="84928" y="74937"/>
                  </a:cubicBezTo>
                  <a:lnTo>
                    <a:pt x="84928" y="74937"/>
                  </a:lnTo>
                  <a:lnTo>
                    <a:pt x="384676" y="74937"/>
                  </a:lnTo>
                  <a:cubicBezTo>
                    <a:pt x="384676" y="74937"/>
                    <a:pt x="384676" y="74937"/>
                    <a:pt x="394668" y="74937"/>
                  </a:cubicBezTo>
                  <a:lnTo>
                    <a:pt x="394668" y="74937"/>
                  </a:lnTo>
                  <a:cubicBezTo>
                    <a:pt x="394668" y="74937"/>
                    <a:pt x="394668" y="74937"/>
                    <a:pt x="394668" y="84929"/>
                  </a:cubicBezTo>
                  <a:lnTo>
                    <a:pt x="394668" y="84929"/>
                  </a:lnTo>
                  <a:lnTo>
                    <a:pt x="394668" y="1293911"/>
                  </a:lnTo>
                  <a:cubicBezTo>
                    <a:pt x="394668" y="1293911"/>
                    <a:pt x="394668" y="1303902"/>
                    <a:pt x="394668" y="1303902"/>
                  </a:cubicBezTo>
                  <a:lnTo>
                    <a:pt x="394668" y="1303902"/>
                  </a:lnTo>
                  <a:cubicBezTo>
                    <a:pt x="394668" y="1303902"/>
                    <a:pt x="374685" y="1313894"/>
                    <a:pt x="334718" y="1313894"/>
                  </a:cubicBezTo>
                  <a:lnTo>
                    <a:pt x="334718" y="1313894"/>
                  </a:lnTo>
                  <a:cubicBezTo>
                    <a:pt x="314735" y="1313894"/>
                    <a:pt x="274769" y="1313894"/>
                    <a:pt x="234802" y="1313894"/>
                  </a:cubicBezTo>
                  <a:lnTo>
                    <a:pt x="234802" y="1313894"/>
                  </a:lnTo>
                  <a:cubicBezTo>
                    <a:pt x="194836" y="1313894"/>
                    <a:pt x="154870" y="1313894"/>
                    <a:pt x="134886" y="1313894"/>
                  </a:cubicBezTo>
                  <a:lnTo>
                    <a:pt x="134886" y="1313894"/>
                  </a:lnTo>
                  <a:cubicBezTo>
                    <a:pt x="94920" y="1313894"/>
                    <a:pt x="84928" y="1313894"/>
                    <a:pt x="74937" y="1303902"/>
                  </a:cubicBezTo>
                  <a:lnTo>
                    <a:pt x="74937" y="1303902"/>
                  </a:lnTo>
                  <a:cubicBezTo>
                    <a:pt x="74937" y="1313894"/>
                    <a:pt x="74937" y="1313894"/>
                    <a:pt x="74937" y="1303902"/>
                  </a:cubicBezTo>
                  <a:lnTo>
                    <a:pt x="74937" y="1303902"/>
                  </a:lnTo>
                  <a:cubicBezTo>
                    <a:pt x="74937" y="1303902"/>
                    <a:pt x="74937" y="1303902"/>
                    <a:pt x="74937" y="1303902"/>
                  </a:cubicBezTo>
                  <a:lnTo>
                    <a:pt x="74937" y="1303902"/>
                  </a:lnTo>
                  <a:close/>
                  <a:moveTo>
                    <a:pt x="94920" y="1293911"/>
                  </a:moveTo>
                  <a:cubicBezTo>
                    <a:pt x="104912" y="1293911"/>
                    <a:pt x="114903" y="1293911"/>
                    <a:pt x="134886" y="1303902"/>
                  </a:cubicBezTo>
                  <a:lnTo>
                    <a:pt x="134886" y="1303902"/>
                  </a:lnTo>
                  <a:cubicBezTo>
                    <a:pt x="154870" y="1303902"/>
                    <a:pt x="194836" y="1313894"/>
                    <a:pt x="234802" y="1303902"/>
                  </a:cubicBezTo>
                  <a:lnTo>
                    <a:pt x="234802" y="1303902"/>
                  </a:lnTo>
                  <a:cubicBezTo>
                    <a:pt x="274769" y="1303902"/>
                    <a:pt x="304743" y="1303902"/>
                    <a:pt x="324727" y="1303902"/>
                  </a:cubicBezTo>
                  <a:lnTo>
                    <a:pt x="324727" y="1303902"/>
                  </a:lnTo>
                  <a:cubicBezTo>
                    <a:pt x="344710" y="1303902"/>
                    <a:pt x="354701" y="1303902"/>
                    <a:pt x="364693" y="1293911"/>
                  </a:cubicBezTo>
                  <a:lnTo>
                    <a:pt x="364693" y="1293911"/>
                  </a:lnTo>
                  <a:cubicBezTo>
                    <a:pt x="364693" y="1293911"/>
                    <a:pt x="364693" y="1293911"/>
                    <a:pt x="374685" y="1293911"/>
                  </a:cubicBezTo>
                  <a:lnTo>
                    <a:pt x="374685" y="1293911"/>
                  </a:lnTo>
                  <a:lnTo>
                    <a:pt x="374685" y="94920"/>
                  </a:lnTo>
                  <a:lnTo>
                    <a:pt x="94920" y="94920"/>
                  </a:lnTo>
                  <a:lnTo>
                    <a:pt x="94920" y="1293911"/>
                  </a:lnTo>
                  <a:lnTo>
                    <a:pt x="94920" y="1293911"/>
                  </a:lnTo>
                  <a:close/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3" name="任意多边形: 形状 52">
              <a:extLst>
                <a:ext uri="{FF2B5EF4-FFF2-40B4-BE49-F238E27FC236}">
                  <a16:creationId xmlns:a16="http://schemas.microsoft.com/office/drawing/2014/main" id="{68365257-3544-4670-8E08-8C5309D3765C}"/>
                </a:ext>
              </a:extLst>
            </p:cNvPr>
            <p:cNvSpPr/>
            <p:nvPr userDrawn="1"/>
          </p:nvSpPr>
          <p:spPr>
            <a:xfrm>
              <a:off x="2626629" y="4652218"/>
              <a:ext cx="389340" cy="778681"/>
            </a:xfrm>
            <a:custGeom>
              <a:avLst/>
              <a:gdLst>
                <a:gd name="connsiteX0" fmla="*/ 84929 w 399663"/>
                <a:gd name="connsiteY0" fmla="*/ 214819 h 799327"/>
                <a:gd name="connsiteX1" fmla="*/ 84929 w 399663"/>
                <a:gd name="connsiteY1" fmla="*/ 214819 h 799327"/>
                <a:gd name="connsiteX2" fmla="*/ 84929 w 399663"/>
                <a:gd name="connsiteY2" fmla="*/ 214819 h 799327"/>
                <a:gd name="connsiteX3" fmla="*/ 84929 w 399663"/>
                <a:gd name="connsiteY3" fmla="*/ 204828 h 799327"/>
                <a:gd name="connsiteX4" fmla="*/ 84929 w 399663"/>
                <a:gd name="connsiteY4" fmla="*/ 204828 h 799327"/>
                <a:gd name="connsiteX5" fmla="*/ 104912 w 399663"/>
                <a:gd name="connsiteY5" fmla="*/ 194836 h 799327"/>
                <a:gd name="connsiteX6" fmla="*/ 104912 w 399663"/>
                <a:gd name="connsiteY6" fmla="*/ 194836 h 799327"/>
                <a:gd name="connsiteX7" fmla="*/ 174853 w 399663"/>
                <a:gd name="connsiteY7" fmla="*/ 174853 h 799327"/>
                <a:gd name="connsiteX8" fmla="*/ 174853 w 399663"/>
                <a:gd name="connsiteY8" fmla="*/ 174853 h 799327"/>
                <a:gd name="connsiteX9" fmla="*/ 184844 w 399663"/>
                <a:gd name="connsiteY9" fmla="*/ 174853 h 799327"/>
                <a:gd name="connsiteX10" fmla="*/ 184844 w 399663"/>
                <a:gd name="connsiteY10" fmla="*/ 174853 h 799327"/>
                <a:gd name="connsiteX11" fmla="*/ 184844 w 399663"/>
                <a:gd name="connsiteY11" fmla="*/ 84929 h 799327"/>
                <a:gd name="connsiteX12" fmla="*/ 184844 w 399663"/>
                <a:gd name="connsiteY12" fmla="*/ 84929 h 799327"/>
                <a:gd name="connsiteX13" fmla="*/ 184844 w 399663"/>
                <a:gd name="connsiteY13" fmla="*/ 74937 h 799327"/>
                <a:gd name="connsiteX14" fmla="*/ 284760 w 399663"/>
                <a:gd name="connsiteY14" fmla="*/ 74937 h 799327"/>
                <a:gd name="connsiteX15" fmla="*/ 284760 w 399663"/>
                <a:gd name="connsiteY15" fmla="*/ 84929 h 799327"/>
                <a:gd name="connsiteX16" fmla="*/ 284760 w 399663"/>
                <a:gd name="connsiteY16" fmla="*/ 164861 h 799327"/>
                <a:gd name="connsiteX17" fmla="*/ 284760 w 399663"/>
                <a:gd name="connsiteY17" fmla="*/ 164861 h 799327"/>
                <a:gd name="connsiteX18" fmla="*/ 284760 w 399663"/>
                <a:gd name="connsiteY18" fmla="*/ 164861 h 799327"/>
                <a:gd name="connsiteX19" fmla="*/ 284760 w 399663"/>
                <a:gd name="connsiteY19" fmla="*/ 164861 h 799327"/>
                <a:gd name="connsiteX20" fmla="*/ 294752 w 399663"/>
                <a:gd name="connsiteY20" fmla="*/ 164861 h 799327"/>
                <a:gd name="connsiteX21" fmla="*/ 294752 w 399663"/>
                <a:gd name="connsiteY21" fmla="*/ 164861 h 799327"/>
                <a:gd name="connsiteX22" fmla="*/ 324727 w 399663"/>
                <a:gd name="connsiteY22" fmla="*/ 174853 h 799327"/>
                <a:gd name="connsiteX23" fmla="*/ 324727 w 399663"/>
                <a:gd name="connsiteY23" fmla="*/ 174853 h 799327"/>
                <a:gd name="connsiteX24" fmla="*/ 384676 w 399663"/>
                <a:gd name="connsiteY24" fmla="*/ 194836 h 799327"/>
                <a:gd name="connsiteX25" fmla="*/ 384676 w 399663"/>
                <a:gd name="connsiteY25" fmla="*/ 194836 h 799327"/>
                <a:gd name="connsiteX26" fmla="*/ 384676 w 399663"/>
                <a:gd name="connsiteY26" fmla="*/ 204828 h 799327"/>
                <a:gd name="connsiteX27" fmla="*/ 384676 w 399663"/>
                <a:gd name="connsiteY27" fmla="*/ 204828 h 799327"/>
                <a:gd name="connsiteX28" fmla="*/ 384676 w 399663"/>
                <a:gd name="connsiteY28" fmla="*/ 204828 h 799327"/>
                <a:gd name="connsiteX29" fmla="*/ 384676 w 399663"/>
                <a:gd name="connsiteY29" fmla="*/ 744373 h 799327"/>
                <a:gd name="connsiteX30" fmla="*/ 374685 w 399663"/>
                <a:gd name="connsiteY30" fmla="*/ 744373 h 799327"/>
                <a:gd name="connsiteX31" fmla="*/ 384676 w 399663"/>
                <a:gd name="connsiteY31" fmla="*/ 744373 h 799327"/>
                <a:gd name="connsiteX32" fmla="*/ 384676 w 399663"/>
                <a:gd name="connsiteY32" fmla="*/ 754365 h 799327"/>
                <a:gd name="connsiteX33" fmla="*/ 74937 w 399663"/>
                <a:gd name="connsiteY33" fmla="*/ 754365 h 799327"/>
                <a:gd name="connsiteX34" fmla="*/ 84929 w 399663"/>
                <a:gd name="connsiteY34" fmla="*/ 214819 h 799327"/>
                <a:gd name="connsiteX35" fmla="*/ 84929 w 399663"/>
                <a:gd name="connsiteY35" fmla="*/ 214819 h 799327"/>
                <a:gd name="connsiteX36" fmla="*/ 104912 w 399663"/>
                <a:gd name="connsiteY36" fmla="*/ 744373 h 799327"/>
                <a:gd name="connsiteX37" fmla="*/ 384676 w 399663"/>
                <a:gd name="connsiteY37" fmla="*/ 744373 h 799327"/>
                <a:gd name="connsiteX38" fmla="*/ 384676 w 399663"/>
                <a:gd name="connsiteY38" fmla="*/ 214819 h 799327"/>
                <a:gd name="connsiteX39" fmla="*/ 384676 w 399663"/>
                <a:gd name="connsiteY39" fmla="*/ 214819 h 799327"/>
                <a:gd name="connsiteX40" fmla="*/ 334718 w 399663"/>
                <a:gd name="connsiteY40" fmla="*/ 204828 h 799327"/>
                <a:gd name="connsiteX41" fmla="*/ 334718 w 399663"/>
                <a:gd name="connsiteY41" fmla="*/ 204828 h 799327"/>
                <a:gd name="connsiteX42" fmla="*/ 284760 w 399663"/>
                <a:gd name="connsiteY42" fmla="*/ 184844 h 799327"/>
                <a:gd name="connsiteX43" fmla="*/ 284760 w 399663"/>
                <a:gd name="connsiteY43" fmla="*/ 184844 h 799327"/>
                <a:gd name="connsiteX44" fmla="*/ 284760 w 399663"/>
                <a:gd name="connsiteY44" fmla="*/ 184844 h 799327"/>
                <a:gd name="connsiteX45" fmla="*/ 284760 w 399663"/>
                <a:gd name="connsiteY45" fmla="*/ 184844 h 799327"/>
                <a:gd name="connsiteX46" fmla="*/ 284760 w 399663"/>
                <a:gd name="connsiteY46" fmla="*/ 174853 h 799327"/>
                <a:gd name="connsiteX47" fmla="*/ 284760 w 399663"/>
                <a:gd name="connsiteY47" fmla="*/ 174853 h 799327"/>
                <a:gd name="connsiteX48" fmla="*/ 284760 w 399663"/>
                <a:gd name="connsiteY48" fmla="*/ 94920 h 799327"/>
                <a:gd name="connsiteX49" fmla="*/ 284760 w 399663"/>
                <a:gd name="connsiteY49" fmla="*/ 94920 h 799327"/>
                <a:gd name="connsiteX50" fmla="*/ 214819 w 399663"/>
                <a:gd name="connsiteY50" fmla="*/ 94920 h 799327"/>
                <a:gd name="connsiteX51" fmla="*/ 214819 w 399663"/>
                <a:gd name="connsiteY51" fmla="*/ 174853 h 799327"/>
                <a:gd name="connsiteX52" fmla="*/ 214819 w 399663"/>
                <a:gd name="connsiteY52" fmla="*/ 174853 h 799327"/>
                <a:gd name="connsiteX53" fmla="*/ 214819 w 399663"/>
                <a:gd name="connsiteY53" fmla="*/ 184844 h 799327"/>
                <a:gd name="connsiteX54" fmla="*/ 214819 w 399663"/>
                <a:gd name="connsiteY54" fmla="*/ 184844 h 799327"/>
                <a:gd name="connsiteX55" fmla="*/ 174853 w 399663"/>
                <a:gd name="connsiteY55" fmla="*/ 194836 h 799327"/>
                <a:gd name="connsiteX56" fmla="*/ 174853 w 399663"/>
                <a:gd name="connsiteY56" fmla="*/ 194836 h 799327"/>
                <a:gd name="connsiteX57" fmla="*/ 124895 w 399663"/>
                <a:gd name="connsiteY57" fmla="*/ 204828 h 799327"/>
                <a:gd name="connsiteX58" fmla="*/ 124895 w 399663"/>
                <a:gd name="connsiteY58" fmla="*/ 204828 h 799327"/>
                <a:gd name="connsiteX59" fmla="*/ 114903 w 399663"/>
                <a:gd name="connsiteY59" fmla="*/ 204828 h 799327"/>
                <a:gd name="connsiteX60" fmla="*/ 114903 w 399663"/>
                <a:gd name="connsiteY60" fmla="*/ 204828 h 799327"/>
                <a:gd name="connsiteX61" fmla="*/ 104912 w 399663"/>
                <a:gd name="connsiteY61" fmla="*/ 744373 h 799327"/>
                <a:gd name="connsiteX62" fmla="*/ 104912 w 399663"/>
                <a:gd name="connsiteY62" fmla="*/ 744373 h 799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</a:cxnLst>
              <a:rect l="l" t="t" r="r" b="b"/>
              <a:pathLst>
                <a:path w="399663" h="799327">
                  <a:moveTo>
                    <a:pt x="84929" y="214819"/>
                  </a:moveTo>
                  <a:lnTo>
                    <a:pt x="84929" y="214819"/>
                  </a:lnTo>
                  <a:lnTo>
                    <a:pt x="84929" y="214819"/>
                  </a:lnTo>
                  <a:cubicBezTo>
                    <a:pt x="84929" y="204828"/>
                    <a:pt x="84929" y="204828"/>
                    <a:pt x="84929" y="204828"/>
                  </a:cubicBezTo>
                  <a:lnTo>
                    <a:pt x="84929" y="204828"/>
                  </a:lnTo>
                  <a:cubicBezTo>
                    <a:pt x="84929" y="204828"/>
                    <a:pt x="94920" y="194836"/>
                    <a:pt x="104912" y="194836"/>
                  </a:cubicBezTo>
                  <a:lnTo>
                    <a:pt x="104912" y="194836"/>
                  </a:lnTo>
                  <a:cubicBezTo>
                    <a:pt x="124895" y="184844"/>
                    <a:pt x="164861" y="184844"/>
                    <a:pt x="174853" y="174853"/>
                  </a:cubicBezTo>
                  <a:lnTo>
                    <a:pt x="174853" y="174853"/>
                  </a:lnTo>
                  <a:cubicBezTo>
                    <a:pt x="174853" y="174853"/>
                    <a:pt x="184844" y="174853"/>
                    <a:pt x="184844" y="174853"/>
                  </a:cubicBezTo>
                  <a:lnTo>
                    <a:pt x="184844" y="174853"/>
                  </a:lnTo>
                  <a:cubicBezTo>
                    <a:pt x="184844" y="154870"/>
                    <a:pt x="184844" y="84929"/>
                    <a:pt x="184844" y="84929"/>
                  </a:cubicBezTo>
                  <a:lnTo>
                    <a:pt x="184844" y="84929"/>
                  </a:lnTo>
                  <a:lnTo>
                    <a:pt x="184844" y="74937"/>
                  </a:lnTo>
                  <a:lnTo>
                    <a:pt x="284760" y="74937"/>
                  </a:lnTo>
                  <a:lnTo>
                    <a:pt x="284760" y="84929"/>
                  </a:lnTo>
                  <a:cubicBezTo>
                    <a:pt x="284760" y="84929"/>
                    <a:pt x="284760" y="154870"/>
                    <a:pt x="284760" y="164861"/>
                  </a:cubicBezTo>
                  <a:lnTo>
                    <a:pt x="284760" y="164861"/>
                  </a:lnTo>
                  <a:cubicBezTo>
                    <a:pt x="284760" y="164861"/>
                    <a:pt x="284760" y="164861"/>
                    <a:pt x="284760" y="164861"/>
                  </a:cubicBezTo>
                  <a:lnTo>
                    <a:pt x="284760" y="164861"/>
                  </a:lnTo>
                  <a:cubicBezTo>
                    <a:pt x="284760" y="164861"/>
                    <a:pt x="294752" y="164861"/>
                    <a:pt x="294752" y="164861"/>
                  </a:cubicBezTo>
                  <a:lnTo>
                    <a:pt x="294752" y="164861"/>
                  </a:lnTo>
                  <a:cubicBezTo>
                    <a:pt x="304743" y="164861"/>
                    <a:pt x="314735" y="164861"/>
                    <a:pt x="324727" y="174853"/>
                  </a:cubicBezTo>
                  <a:lnTo>
                    <a:pt x="324727" y="174853"/>
                  </a:lnTo>
                  <a:cubicBezTo>
                    <a:pt x="344710" y="184844"/>
                    <a:pt x="374685" y="184844"/>
                    <a:pt x="384676" y="194836"/>
                  </a:cubicBezTo>
                  <a:lnTo>
                    <a:pt x="384676" y="194836"/>
                  </a:lnTo>
                  <a:cubicBezTo>
                    <a:pt x="384676" y="194836"/>
                    <a:pt x="384676" y="194836"/>
                    <a:pt x="384676" y="204828"/>
                  </a:cubicBezTo>
                  <a:lnTo>
                    <a:pt x="384676" y="204828"/>
                  </a:lnTo>
                  <a:lnTo>
                    <a:pt x="384676" y="204828"/>
                  </a:lnTo>
                  <a:lnTo>
                    <a:pt x="384676" y="744373"/>
                  </a:lnTo>
                  <a:lnTo>
                    <a:pt x="374685" y="744373"/>
                  </a:lnTo>
                  <a:lnTo>
                    <a:pt x="384676" y="744373"/>
                  </a:lnTo>
                  <a:lnTo>
                    <a:pt x="384676" y="754365"/>
                  </a:lnTo>
                  <a:lnTo>
                    <a:pt x="74937" y="754365"/>
                  </a:lnTo>
                  <a:lnTo>
                    <a:pt x="84929" y="214819"/>
                  </a:lnTo>
                  <a:lnTo>
                    <a:pt x="84929" y="214819"/>
                  </a:lnTo>
                  <a:close/>
                  <a:moveTo>
                    <a:pt x="104912" y="744373"/>
                  </a:moveTo>
                  <a:lnTo>
                    <a:pt x="384676" y="744373"/>
                  </a:lnTo>
                  <a:lnTo>
                    <a:pt x="384676" y="214819"/>
                  </a:lnTo>
                  <a:lnTo>
                    <a:pt x="384676" y="214819"/>
                  </a:lnTo>
                  <a:cubicBezTo>
                    <a:pt x="384676" y="214819"/>
                    <a:pt x="354701" y="204828"/>
                    <a:pt x="334718" y="204828"/>
                  </a:cubicBezTo>
                  <a:lnTo>
                    <a:pt x="334718" y="204828"/>
                  </a:lnTo>
                  <a:cubicBezTo>
                    <a:pt x="314735" y="194836"/>
                    <a:pt x="294752" y="194836"/>
                    <a:pt x="284760" y="184844"/>
                  </a:cubicBezTo>
                  <a:lnTo>
                    <a:pt x="284760" y="184844"/>
                  </a:lnTo>
                  <a:cubicBezTo>
                    <a:pt x="284760" y="184844"/>
                    <a:pt x="284760" y="184844"/>
                    <a:pt x="284760" y="184844"/>
                  </a:cubicBezTo>
                  <a:lnTo>
                    <a:pt x="284760" y="184844"/>
                  </a:lnTo>
                  <a:cubicBezTo>
                    <a:pt x="284760" y="184844"/>
                    <a:pt x="284760" y="184844"/>
                    <a:pt x="284760" y="174853"/>
                  </a:cubicBezTo>
                  <a:lnTo>
                    <a:pt x="284760" y="174853"/>
                  </a:lnTo>
                  <a:cubicBezTo>
                    <a:pt x="284760" y="164861"/>
                    <a:pt x="284760" y="114903"/>
                    <a:pt x="284760" y="94920"/>
                  </a:cubicBezTo>
                  <a:lnTo>
                    <a:pt x="284760" y="94920"/>
                  </a:lnTo>
                  <a:lnTo>
                    <a:pt x="214819" y="94920"/>
                  </a:lnTo>
                  <a:cubicBezTo>
                    <a:pt x="214819" y="114903"/>
                    <a:pt x="214819" y="174853"/>
                    <a:pt x="214819" y="174853"/>
                  </a:cubicBezTo>
                  <a:lnTo>
                    <a:pt x="214819" y="174853"/>
                  </a:lnTo>
                  <a:cubicBezTo>
                    <a:pt x="214819" y="174853"/>
                    <a:pt x="214819" y="184844"/>
                    <a:pt x="214819" y="184844"/>
                  </a:cubicBezTo>
                  <a:lnTo>
                    <a:pt x="214819" y="184844"/>
                  </a:lnTo>
                  <a:cubicBezTo>
                    <a:pt x="204828" y="194836"/>
                    <a:pt x="194836" y="194836"/>
                    <a:pt x="174853" y="194836"/>
                  </a:cubicBezTo>
                  <a:lnTo>
                    <a:pt x="174853" y="194836"/>
                  </a:lnTo>
                  <a:cubicBezTo>
                    <a:pt x="154870" y="194836"/>
                    <a:pt x="134886" y="204828"/>
                    <a:pt x="124895" y="204828"/>
                  </a:cubicBezTo>
                  <a:lnTo>
                    <a:pt x="124895" y="204828"/>
                  </a:lnTo>
                  <a:cubicBezTo>
                    <a:pt x="114903" y="204828"/>
                    <a:pt x="114903" y="204828"/>
                    <a:pt x="114903" y="204828"/>
                  </a:cubicBezTo>
                  <a:lnTo>
                    <a:pt x="114903" y="204828"/>
                  </a:lnTo>
                  <a:lnTo>
                    <a:pt x="104912" y="744373"/>
                  </a:lnTo>
                  <a:lnTo>
                    <a:pt x="104912" y="744373"/>
                  </a:lnTo>
                  <a:close/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4" name="任意多边形: 形状 53">
              <a:extLst>
                <a:ext uri="{FF2B5EF4-FFF2-40B4-BE49-F238E27FC236}">
                  <a16:creationId xmlns:a16="http://schemas.microsoft.com/office/drawing/2014/main" id="{16C0F6C1-5B58-448B-8312-9CAC5B51DB18}"/>
                </a:ext>
              </a:extLst>
            </p:cNvPr>
            <p:cNvSpPr/>
            <p:nvPr userDrawn="1"/>
          </p:nvSpPr>
          <p:spPr>
            <a:xfrm>
              <a:off x="2782367" y="3931938"/>
              <a:ext cx="97335" cy="584011"/>
            </a:xfrm>
            <a:custGeom>
              <a:avLst/>
              <a:gdLst>
                <a:gd name="connsiteX0" fmla="*/ 94920 w 99915"/>
                <a:gd name="connsiteY0" fmla="*/ 604491 h 599495"/>
                <a:gd name="connsiteX1" fmla="*/ 74937 w 99915"/>
                <a:gd name="connsiteY1" fmla="*/ 604491 h 599495"/>
                <a:gd name="connsiteX2" fmla="*/ 74937 w 99915"/>
                <a:gd name="connsiteY2" fmla="*/ 74937 h 599495"/>
                <a:gd name="connsiteX3" fmla="*/ 94920 w 99915"/>
                <a:gd name="connsiteY3" fmla="*/ 124895 h 599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9915" h="599495">
                  <a:moveTo>
                    <a:pt x="94920" y="604491"/>
                  </a:moveTo>
                  <a:lnTo>
                    <a:pt x="74937" y="604491"/>
                  </a:lnTo>
                  <a:lnTo>
                    <a:pt x="74937" y="74937"/>
                  </a:lnTo>
                  <a:lnTo>
                    <a:pt x="94920" y="124895"/>
                  </a:lnTo>
                  <a:close/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5" name="任意多边形: 形状 54">
              <a:extLst>
                <a:ext uri="{FF2B5EF4-FFF2-40B4-BE49-F238E27FC236}">
                  <a16:creationId xmlns:a16="http://schemas.microsoft.com/office/drawing/2014/main" id="{5D2FBC00-7048-4C93-B444-23910BC48782}"/>
                </a:ext>
              </a:extLst>
            </p:cNvPr>
            <p:cNvSpPr/>
            <p:nvPr userDrawn="1"/>
          </p:nvSpPr>
          <p:spPr>
            <a:xfrm>
              <a:off x="2723964" y="4447813"/>
              <a:ext cx="194670" cy="389341"/>
            </a:xfrm>
            <a:custGeom>
              <a:avLst/>
              <a:gdLst>
                <a:gd name="connsiteX0" fmla="*/ 164861 w 199831"/>
                <a:gd name="connsiteY0" fmla="*/ 94920 h 399663"/>
                <a:gd name="connsiteX1" fmla="*/ 164861 w 199831"/>
                <a:gd name="connsiteY1" fmla="*/ 74937 h 399663"/>
                <a:gd name="connsiteX2" fmla="*/ 164861 w 199831"/>
                <a:gd name="connsiteY2" fmla="*/ 74937 h 399663"/>
                <a:gd name="connsiteX3" fmla="*/ 154870 w 199831"/>
                <a:gd name="connsiteY3" fmla="*/ 84928 h 399663"/>
                <a:gd name="connsiteX4" fmla="*/ 154870 w 199831"/>
                <a:gd name="connsiteY4" fmla="*/ 174853 h 399663"/>
                <a:gd name="connsiteX5" fmla="*/ 144878 w 199831"/>
                <a:gd name="connsiteY5" fmla="*/ 184844 h 399663"/>
                <a:gd name="connsiteX6" fmla="*/ 134886 w 199831"/>
                <a:gd name="connsiteY6" fmla="*/ 174853 h 399663"/>
                <a:gd name="connsiteX7" fmla="*/ 134886 w 199831"/>
                <a:gd name="connsiteY7" fmla="*/ 84928 h 399663"/>
                <a:gd name="connsiteX8" fmla="*/ 124895 w 199831"/>
                <a:gd name="connsiteY8" fmla="*/ 74937 h 399663"/>
                <a:gd name="connsiteX9" fmla="*/ 124895 w 199831"/>
                <a:gd name="connsiteY9" fmla="*/ 74937 h 399663"/>
                <a:gd name="connsiteX10" fmla="*/ 124895 w 199831"/>
                <a:gd name="connsiteY10" fmla="*/ 94920 h 399663"/>
                <a:gd name="connsiteX11" fmla="*/ 114903 w 199831"/>
                <a:gd name="connsiteY11" fmla="*/ 94920 h 399663"/>
                <a:gd name="connsiteX12" fmla="*/ 114903 w 199831"/>
                <a:gd name="connsiteY12" fmla="*/ 174853 h 399663"/>
                <a:gd name="connsiteX13" fmla="*/ 94920 w 199831"/>
                <a:gd name="connsiteY13" fmla="*/ 204828 h 399663"/>
                <a:gd name="connsiteX14" fmla="*/ 74937 w 199831"/>
                <a:gd name="connsiteY14" fmla="*/ 324727 h 399663"/>
                <a:gd name="connsiteX15" fmla="*/ 134886 w 199831"/>
                <a:gd name="connsiteY15" fmla="*/ 324727 h 399663"/>
                <a:gd name="connsiteX16" fmla="*/ 194836 w 199831"/>
                <a:gd name="connsiteY16" fmla="*/ 324727 h 399663"/>
                <a:gd name="connsiteX17" fmla="*/ 184844 w 199831"/>
                <a:gd name="connsiteY17" fmla="*/ 204828 h 399663"/>
                <a:gd name="connsiteX18" fmla="*/ 164861 w 199831"/>
                <a:gd name="connsiteY18" fmla="*/ 174853 h 399663"/>
                <a:gd name="connsiteX19" fmla="*/ 164861 w 199831"/>
                <a:gd name="connsiteY19" fmla="*/ 94920 h 399663"/>
                <a:gd name="connsiteX20" fmla="*/ 164861 w 199831"/>
                <a:gd name="connsiteY20" fmla="*/ 94920 h 3996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99831" h="399663">
                  <a:moveTo>
                    <a:pt x="164861" y="94920"/>
                  </a:moveTo>
                  <a:cubicBezTo>
                    <a:pt x="164861" y="94920"/>
                    <a:pt x="164861" y="84928"/>
                    <a:pt x="164861" y="74937"/>
                  </a:cubicBezTo>
                  <a:cubicBezTo>
                    <a:pt x="164861" y="74937"/>
                    <a:pt x="164861" y="74937"/>
                    <a:pt x="164861" y="74937"/>
                  </a:cubicBezTo>
                  <a:lnTo>
                    <a:pt x="154870" y="84928"/>
                  </a:lnTo>
                  <a:lnTo>
                    <a:pt x="154870" y="174853"/>
                  </a:lnTo>
                  <a:cubicBezTo>
                    <a:pt x="154870" y="174853"/>
                    <a:pt x="154870" y="184844"/>
                    <a:pt x="144878" y="184844"/>
                  </a:cubicBezTo>
                  <a:cubicBezTo>
                    <a:pt x="134886" y="184844"/>
                    <a:pt x="134886" y="184844"/>
                    <a:pt x="134886" y="174853"/>
                  </a:cubicBezTo>
                  <a:lnTo>
                    <a:pt x="134886" y="84928"/>
                  </a:lnTo>
                  <a:lnTo>
                    <a:pt x="124895" y="74937"/>
                  </a:lnTo>
                  <a:cubicBezTo>
                    <a:pt x="124895" y="74937"/>
                    <a:pt x="124895" y="74937"/>
                    <a:pt x="124895" y="74937"/>
                  </a:cubicBezTo>
                  <a:cubicBezTo>
                    <a:pt x="124895" y="74937"/>
                    <a:pt x="124895" y="94920"/>
                    <a:pt x="124895" y="94920"/>
                  </a:cubicBezTo>
                  <a:cubicBezTo>
                    <a:pt x="124895" y="94920"/>
                    <a:pt x="114903" y="94920"/>
                    <a:pt x="114903" y="94920"/>
                  </a:cubicBezTo>
                  <a:cubicBezTo>
                    <a:pt x="114903" y="94920"/>
                    <a:pt x="114903" y="164861"/>
                    <a:pt x="114903" y="174853"/>
                  </a:cubicBezTo>
                  <a:cubicBezTo>
                    <a:pt x="114903" y="184844"/>
                    <a:pt x="104912" y="194836"/>
                    <a:pt x="94920" y="204828"/>
                  </a:cubicBezTo>
                  <a:cubicBezTo>
                    <a:pt x="94920" y="214819"/>
                    <a:pt x="74937" y="324727"/>
                    <a:pt x="74937" y="324727"/>
                  </a:cubicBezTo>
                  <a:cubicBezTo>
                    <a:pt x="74937" y="324727"/>
                    <a:pt x="84929" y="324727"/>
                    <a:pt x="134886" y="324727"/>
                  </a:cubicBezTo>
                  <a:cubicBezTo>
                    <a:pt x="184844" y="324727"/>
                    <a:pt x="194836" y="324727"/>
                    <a:pt x="194836" y="324727"/>
                  </a:cubicBezTo>
                  <a:cubicBezTo>
                    <a:pt x="194836" y="324727"/>
                    <a:pt x="184844" y="214819"/>
                    <a:pt x="184844" y="204828"/>
                  </a:cubicBezTo>
                  <a:cubicBezTo>
                    <a:pt x="174853" y="194836"/>
                    <a:pt x="164861" y="184844"/>
                    <a:pt x="164861" y="174853"/>
                  </a:cubicBezTo>
                  <a:cubicBezTo>
                    <a:pt x="174853" y="164861"/>
                    <a:pt x="174853" y="94920"/>
                    <a:pt x="164861" y="94920"/>
                  </a:cubicBezTo>
                  <a:cubicBezTo>
                    <a:pt x="174853" y="94920"/>
                    <a:pt x="164861" y="94920"/>
                    <a:pt x="164861" y="94920"/>
                  </a:cubicBezTo>
                  <a:close/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6" name="任意多边形: 形状 55">
              <a:extLst>
                <a:ext uri="{FF2B5EF4-FFF2-40B4-BE49-F238E27FC236}">
                  <a16:creationId xmlns:a16="http://schemas.microsoft.com/office/drawing/2014/main" id="{E3DD0CE7-264E-4244-B522-D984EEC268AF}"/>
                </a:ext>
              </a:extLst>
            </p:cNvPr>
            <p:cNvSpPr/>
            <p:nvPr userDrawn="1"/>
          </p:nvSpPr>
          <p:spPr>
            <a:xfrm>
              <a:off x="2772633" y="4447813"/>
              <a:ext cx="97335" cy="97335"/>
            </a:xfrm>
            <a:custGeom>
              <a:avLst/>
              <a:gdLst>
                <a:gd name="connsiteX0" fmla="*/ 74937 w 99915"/>
                <a:gd name="connsiteY0" fmla="*/ 84928 h 99915"/>
                <a:gd name="connsiteX1" fmla="*/ 94920 w 99915"/>
                <a:gd name="connsiteY1" fmla="*/ 74937 h 99915"/>
                <a:gd name="connsiteX2" fmla="*/ 114903 w 99915"/>
                <a:gd name="connsiteY2" fmla="*/ 84928 h 99915"/>
                <a:gd name="connsiteX3" fmla="*/ 94920 w 99915"/>
                <a:gd name="connsiteY3" fmla="*/ 84928 h 99915"/>
                <a:gd name="connsiteX4" fmla="*/ 74937 w 99915"/>
                <a:gd name="connsiteY4" fmla="*/ 84928 h 999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9915" h="99915">
                  <a:moveTo>
                    <a:pt x="74937" y="84928"/>
                  </a:moveTo>
                  <a:cubicBezTo>
                    <a:pt x="74937" y="74937"/>
                    <a:pt x="84929" y="74937"/>
                    <a:pt x="94920" y="74937"/>
                  </a:cubicBezTo>
                  <a:cubicBezTo>
                    <a:pt x="104912" y="74937"/>
                    <a:pt x="114903" y="84928"/>
                    <a:pt x="114903" y="84928"/>
                  </a:cubicBezTo>
                  <a:cubicBezTo>
                    <a:pt x="114903" y="84928"/>
                    <a:pt x="104912" y="84928"/>
                    <a:pt x="94920" y="84928"/>
                  </a:cubicBezTo>
                  <a:cubicBezTo>
                    <a:pt x="84929" y="84928"/>
                    <a:pt x="74937" y="84928"/>
                    <a:pt x="74937" y="84928"/>
                  </a:cubicBezTo>
                  <a:close/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7" name="任意多边形: 形状 56">
              <a:extLst>
                <a:ext uri="{FF2B5EF4-FFF2-40B4-BE49-F238E27FC236}">
                  <a16:creationId xmlns:a16="http://schemas.microsoft.com/office/drawing/2014/main" id="{52DC33A6-5CEE-4FA3-B4FC-1A6E32B44416}"/>
                </a:ext>
              </a:extLst>
            </p:cNvPr>
            <p:cNvSpPr/>
            <p:nvPr userDrawn="1"/>
          </p:nvSpPr>
          <p:spPr>
            <a:xfrm>
              <a:off x="2714231" y="4696559"/>
              <a:ext cx="292005" cy="97335"/>
            </a:xfrm>
            <a:custGeom>
              <a:avLst/>
              <a:gdLst>
                <a:gd name="connsiteX0" fmla="*/ 224811 w 299747"/>
                <a:gd name="connsiteY0" fmla="*/ 79378 h 99915"/>
                <a:gd name="connsiteX1" fmla="*/ 224811 w 299747"/>
                <a:gd name="connsiteY1" fmla="*/ 79378 h 99915"/>
                <a:gd name="connsiteX2" fmla="*/ 84928 w 299747"/>
                <a:gd name="connsiteY2" fmla="*/ 89369 h 99915"/>
                <a:gd name="connsiteX3" fmla="*/ 74937 w 299747"/>
                <a:gd name="connsiteY3" fmla="*/ 79378 h 99915"/>
                <a:gd name="connsiteX4" fmla="*/ 74937 w 299747"/>
                <a:gd name="connsiteY4" fmla="*/ 79378 h 99915"/>
                <a:gd name="connsiteX5" fmla="*/ 84928 w 299747"/>
                <a:gd name="connsiteY5" fmla="*/ 79378 h 99915"/>
                <a:gd name="connsiteX6" fmla="*/ 224811 w 299747"/>
                <a:gd name="connsiteY6" fmla="*/ 79378 h 99915"/>
                <a:gd name="connsiteX7" fmla="*/ 224811 w 299747"/>
                <a:gd name="connsiteY7" fmla="*/ 79378 h 99915"/>
                <a:gd name="connsiteX8" fmla="*/ 224811 w 299747"/>
                <a:gd name="connsiteY8" fmla="*/ 79378 h 999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99747" h="99915">
                  <a:moveTo>
                    <a:pt x="224811" y="79378"/>
                  </a:moveTo>
                  <a:cubicBezTo>
                    <a:pt x="224811" y="79378"/>
                    <a:pt x="224811" y="79378"/>
                    <a:pt x="224811" y="79378"/>
                  </a:cubicBezTo>
                  <a:lnTo>
                    <a:pt x="84928" y="89369"/>
                  </a:lnTo>
                  <a:cubicBezTo>
                    <a:pt x="84928" y="89369"/>
                    <a:pt x="74937" y="89369"/>
                    <a:pt x="74937" y="79378"/>
                  </a:cubicBezTo>
                  <a:lnTo>
                    <a:pt x="74937" y="79378"/>
                  </a:lnTo>
                  <a:cubicBezTo>
                    <a:pt x="74937" y="79378"/>
                    <a:pt x="74937" y="79378"/>
                    <a:pt x="84928" y="79378"/>
                  </a:cubicBezTo>
                  <a:lnTo>
                    <a:pt x="224811" y="79378"/>
                  </a:lnTo>
                  <a:cubicBezTo>
                    <a:pt x="224811" y="69386"/>
                    <a:pt x="224811" y="79378"/>
                    <a:pt x="224811" y="79378"/>
                  </a:cubicBezTo>
                  <a:lnTo>
                    <a:pt x="224811" y="79378"/>
                  </a:lnTo>
                  <a:close/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8" name="任意多边形: 形状 57">
              <a:extLst>
                <a:ext uri="{FF2B5EF4-FFF2-40B4-BE49-F238E27FC236}">
                  <a16:creationId xmlns:a16="http://schemas.microsoft.com/office/drawing/2014/main" id="{EF3F812C-4BCD-4AFA-B2C3-AAFD420ED99E}"/>
                </a:ext>
              </a:extLst>
            </p:cNvPr>
            <p:cNvSpPr/>
            <p:nvPr userDrawn="1"/>
          </p:nvSpPr>
          <p:spPr>
            <a:xfrm>
              <a:off x="2687464" y="4849321"/>
              <a:ext cx="292005" cy="97335"/>
            </a:xfrm>
            <a:custGeom>
              <a:avLst/>
              <a:gdLst>
                <a:gd name="connsiteX0" fmla="*/ 82431 w 299747"/>
                <a:gd name="connsiteY0" fmla="*/ 82431 h 99915"/>
                <a:gd name="connsiteX1" fmla="*/ 82431 w 299747"/>
                <a:gd name="connsiteY1" fmla="*/ 82431 h 99915"/>
                <a:gd name="connsiteX2" fmla="*/ 82431 w 299747"/>
                <a:gd name="connsiteY2" fmla="*/ 82431 h 99915"/>
                <a:gd name="connsiteX3" fmla="*/ 82431 w 299747"/>
                <a:gd name="connsiteY3" fmla="*/ 82431 h 99915"/>
                <a:gd name="connsiteX4" fmla="*/ 82431 w 299747"/>
                <a:gd name="connsiteY4" fmla="*/ 82431 h 99915"/>
                <a:gd name="connsiteX5" fmla="*/ 242296 w 299747"/>
                <a:gd name="connsiteY5" fmla="*/ 82431 h 99915"/>
                <a:gd name="connsiteX6" fmla="*/ 242296 w 299747"/>
                <a:gd name="connsiteY6" fmla="*/ 82431 h 99915"/>
                <a:gd name="connsiteX7" fmla="*/ 242296 w 299747"/>
                <a:gd name="connsiteY7" fmla="*/ 82431 h 99915"/>
                <a:gd name="connsiteX8" fmla="*/ 242296 w 299747"/>
                <a:gd name="connsiteY8" fmla="*/ 82431 h 99915"/>
                <a:gd name="connsiteX9" fmla="*/ 242296 w 299747"/>
                <a:gd name="connsiteY9" fmla="*/ 82431 h 99915"/>
                <a:gd name="connsiteX10" fmla="*/ 82431 w 299747"/>
                <a:gd name="connsiteY10" fmla="*/ 82431 h 99915"/>
                <a:gd name="connsiteX11" fmla="*/ 82431 w 299747"/>
                <a:gd name="connsiteY11" fmla="*/ 82431 h 999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99747" h="99915">
                  <a:moveTo>
                    <a:pt x="82431" y="82431"/>
                  </a:moveTo>
                  <a:cubicBezTo>
                    <a:pt x="72439" y="82431"/>
                    <a:pt x="72439" y="82431"/>
                    <a:pt x="82431" y="82431"/>
                  </a:cubicBezTo>
                  <a:lnTo>
                    <a:pt x="82431" y="82431"/>
                  </a:lnTo>
                  <a:cubicBezTo>
                    <a:pt x="72439" y="72439"/>
                    <a:pt x="72439" y="72439"/>
                    <a:pt x="82431" y="82431"/>
                  </a:cubicBezTo>
                  <a:lnTo>
                    <a:pt x="82431" y="82431"/>
                  </a:lnTo>
                  <a:lnTo>
                    <a:pt x="242296" y="82431"/>
                  </a:lnTo>
                  <a:cubicBezTo>
                    <a:pt x="242296" y="82431"/>
                    <a:pt x="242296" y="82431"/>
                    <a:pt x="242296" y="82431"/>
                  </a:cubicBezTo>
                  <a:lnTo>
                    <a:pt x="242296" y="82431"/>
                  </a:lnTo>
                  <a:cubicBezTo>
                    <a:pt x="242296" y="82431"/>
                    <a:pt x="242296" y="82431"/>
                    <a:pt x="242296" y="82431"/>
                  </a:cubicBezTo>
                  <a:lnTo>
                    <a:pt x="242296" y="82431"/>
                  </a:lnTo>
                  <a:lnTo>
                    <a:pt x="82431" y="82431"/>
                  </a:lnTo>
                  <a:lnTo>
                    <a:pt x="82431" y="82431"/>
                  </a:lnTo>
                  <a:close/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9" name="任意多边形: 形状 58">
              <a:extLst>
                <a:ext uri="{FF2B5EF4-FFF2-40B4-BE49-F238E27FC236}">
                  <a16:creationId xmlns:a16="http://schemas.microsoft.com/office/drawing/2014/main" id="{BC6C2F6B-BC4D-4DD7-AE0D-B51C6F49CEFF}"/>
                </a:ext>
              </a:extLst>
            </p:cNvPr>
            <p:cNvSpPr/>
            <p:nvPr userDrawn="1"/>
          </p:nvSpPr>
          <p:spPr>
            <a:xfrm>
              <a:off x="2687464" y="5053726"/>
              <a:ext cx="292005" cy="97335"/>
            </a:xfrm>
            <a:custGeom>
              <a:avLst/>
              <a:gdLst>
                <a:gd name="connsiteX0" fmla="*/ 82431 w 299747"/>
                <a:gd name="connsiteY0" fmla="*/ 82431 h 99915"/>
                <a:gd name="connsiteX1" fmla="*/ 82431 w 299747"/>
                <a:gd name="connsiteY1" fmla="*/ 82431 h 99915"/>
                <a:gd name="connsiteX2" fmla="*/ 82431 w 299747"/>
                <a:gd name="connsiteY2" fmla="*/ 82431 h 99915"/>
                <a:gd name="connsiteX3" fmla="*/ 82431 w 299747"/>
                <a:gd name="connsiteY3" fmla="*/ 82431 h 99915"/>
                <a:gd name="connsiteX4" fmla="*/ 82431 w 299747"/>
                <a:gd name="connsiteY4" fmla="*/ 82431 h 99915"/>
                <a:gd name="connsiteX5" fmla="*/ 242296 w 299747"/>
                <a:gd name="connsiteY5" fmla="*/ 82431 h 99915"/>
                <a:gd name="connsiteX6" fmla="*/ 242296 w 299747"/>
                <a:gd name="connsiteY6" fmla="*/ 82431 h 99915"/>
                <a:gd name="connsiteX7" fmla="*/ 242296 w 299747"/>
                <a:gd name="connsiteY7" fmla="*/ 82431 h 99915"/>
                <a:gd name="connsiteX8" fmla="*/ 242296 w 299747"/>
                <a:gd name="connsiteY8" fmla="*/ 82431 h 99915"/>
                <a:gd name="connsiteX9" fmla="*/ 242296 w 299747"/>
                <a:gd name="connsiteY9" fmla="*/ 82431 h 99915"/>
                <a:gd name="connsiteX10" fmla="*/ 82431 w 299747"/>
                <a:gd name="connsiteY10" fmla="*/ 82431 h 99915"/>
                <a:gd name="connsiteX11" fmla="*/ 82431 w 299747"/>
                <a:gd name="connsiteY11" fmla="*/ 82431 h 999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99747" h="99915">
                  <a:moveTo>
                    <a:pt x="82431" y="82431"/>
                  </a:moveTo>
                  <a:cubicBezTo>
                    <a:pt x="72439" y="82431"/>
                    <a:pt x="72439" y="72439"/>
                    <a:pt x="82431" y="82431"/>
                  </a:cubicBezTo>
                  <a:lnTo>
                    <a:pt x="82431" y="82431"/>
                  </a:lnTo>
                  <a:cubicBezTo>
                    <a:pt x="72439" y="72439"/>
                    <a:pt x="72439" y="72439"/>
                    <a:pt x="82431" y="82431"/>
                  </a:cubicBezTo>
                  <a:lnTo>
                    <a:pt x="82431" y="82431"/>
                  </a:lnTo>
                  <a:lnTo>
                    <a:pt x="242296" y="82431"/>
                  </a:lnTo>
                  <a:cubicBezTo>
                    <a:pt x="242296" y="82431"/>
                    <a:pt x="242296" y="82431"/>
                    <a:pt x="242296" y="82431"/>
                  </a:cubicBezTo>
                  <a:lnTo>
                    <a:pt x="242296" y="82431"/>
                  </a:lnTo>
                  <a:cubicBezTo>
                    <a:pt x="242296" y="82431"/>
                    <a:pt x="242296" y="82431"/>
                    <a:pt x="242296" y="82431"/>
                  </a:cubicBezTo>
                  <a:lnTo>
                    <a:pt x="242296" y="82431"/>
                  </a:lnTo>
                  <a:lnTo>
                    <a:pt x="82431" y="82431"/>
                  </a:lnTo>
                  <a:lnTo>
                    <a:pt x="82431" y="82431"/>
                  </a:lnTo>
                  <a:close/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0" name="任意多边形: 形状 59">
              <a:extLst>
                <a:ext uri="{FF2B5EF4-FFF2-40B4-BE49-F238E27FC236}">
                  <a16:creationId xmlns:a16="http://schemas.microsoft.com/office/drawing/2014/main" id="{42E1CC8B-6D5B-4C50-AB92-32F88ED54674}"/>
                </a:ext>
              </a:extLst>
            </p:cNvPr>
            <p:cNvSpPr/>
            <p:nvPr userDrawn="1"/>
          </p:nvSpPr>
          <p:spPr>
            <a:xfrm>
              <a:off x="2690439" y="5265430"/>
              <a:ext cx="292005" cy="97335"/>
            </a:xfrm>
            <a:custGeom>
              <a:avLst/>
              <a:gdLst>
                <a:gd name="connsiteX0" fmla="*/ 79378 w 299747"/>
                <a:gd name="connsiteY0" fmla="*/ 74937 h 99915"/>
                <a:gd name="connsiteX1" fmla="*/ 79378 w 299747"/>
                <a:gd name="connsiteY1" fmla="*/ 74937 h 99915"/>
                <a:gd name="connsiteX2" fmla="*/ 79378 w 299747"/>
                <a:gd name="connsiteY2" fmla="*/ 74937 h 99915"/>
                <a:gd name="connsiteX3" fmla="*/ 79378 w 299747"/>
                <a:gd name="connsiteY3" fmla="*/ 74937 h 99915"/>
                <a:gd name="connsiteX4" fmla="*/ 79378 w 299747"/>
                <a:gd name="connsiteY4" fmla="*/ 74937 h 99915"/>
                <a:gd name="connsiteX5" fmla="*/ 239243 w 299747"/>
                <a:gd name="connsiteY5" fmla="*/ 74937 h 99915"/>
                <a:gd name="connsiteX6" fmla="*/ 239243 w 299747"/>
                <a:gd name="connsiteY6" fmla="*/ 74937 h 99915"/>
                <a:gd name="connsiteX7" fmla="*/ 239243 w 299747"/>
                <a:gd name="connsiteY7" fmla="*/ 74937 h 99915"/>
                <a:gd name="connsiteX8" fmla="*/ 239243 w 299747"/>
                <a:gd name="connsiteY8" fmla="*/ 74937 h 99915"/>
                <a:gd name="connsiteX9" fmla="*/ 239243 w 299747"/>
                <a:gd name="connsiteY9" fmla="*/ 74937 h 99915"/>
                <a:gd name="connsiteX10" fmla="*/ 79378 w 299747"/>
                <a:gd name="connsiteY10" fmla="*/ 74937 h 99915"/>
                <a:gd name="connsiteX11" fmla="*/ 79378 w 299747"/>
                <a:gd name="connsiteY11" fmla="*/ 74937 h 999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99747" h="99915">
                  <a:moveTo>
                    <a:pt x="79378" y="74937"/>
                  </a:moveTo>
                  <a:cubicBezTo>
                    <a:pt x="79378" y="74937"/>
                    <a:pt x="69386" y="74937"/>
                    <a:pt x="79378" y="74937"/>
                  </a:cubicBezTo>
                  <a:lnTo>
                    <a:pt x="79378" y="74937"/>
                  </a:lnTo>
                  <a:cubicBezTo>
                    <a:pt x="69386" y="74937"/>
                    <a:pt x="79378" y="74937"/>
                    <a:pt x="79378" y="74937"/>
                  </a:cubicBezTo>
                  <a:lnTo>
                    <a:pt x="79378" y="74937"/>
                  </a:lnTo>
                  <a:lnTo>
                    <a:pt x="239243" y="74937"/>
                  </a:lnTo>
                  <a:cubicBezTo>
                    <a:pt x="239243" y="74937"/>
                    <a:pt x="239243" y="74937"/>
                    <a:pt x="239243" y="74937"/>
                  </a:cubicBezTo>
                  <a:lnTo>
                    <a:pt x="239243" y="74937"/>
                  </a:lnTo>
                  <a:cubicBezTo>
                    <a:pt x="239243" y="74937"/>
                    <a:pt x="239243" y="74937"/>
                    <a:pt x="239243" y="74937"/>
                  </a:cubicBezTo>
                  <a:lnTo>
                    <a:pt x="239243" y="74937"/>
                  </a:lnTo>
                  <a:lnTo>
                    <a:pt x="79378" y="74937"/>
                  </a:lnTo>
                  <a:lnTo>
                    <a:pt x="79378" y="74937"/>
                  </a:lnTo>
                  <a:close/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1" name="任意多边形: 形状 60">
              <a:extLst>
                <a:ext uri="{FF2B5EF4-FFF2-40B4-BE49-F238E27FC236}">
                  <a16:creationId xmlns:a16="http://schemas.microsoft.com/office/drawing/2014/main" id="{EAB93406-B20D-4AAF-BCB8-28801A387889}"/>
                </a:ext>
              </a:extLst>
            </p:cNvPr>
            <p:cNvSpPr/>
            <p:nvPr userDrawn="1"/>
          </p:nvSpPr>
          <p:spPr>
            <a:xfrm>
              <a:off x="2687464" y="4888256"/>
              <a:ext cx="194670" cy="97335"/>
            </a:xfrm>
            <a:custGeom>
              <a:avLst/>
              <a:gdLst>
                <a:gd name="connsiteX0" fmla="*/ 82431 w 199831"/>
                <a:gd name="connsiteY0" fmla="*/ 82431 h 99915"/>
                <a:gd name="connsiteX1" fmla="*/ 82431 w 199831"/>
                <a:gd name="connsiteY1" fmla="*/ 82431 h 99915"/>
                <a:gd name="connsiteX2" fmla="*/ 82431 w 199831"/>
                <a:gd name="connsiteY2" fmla="*/ 82431 h 99915"/>
                <a:gd name="connsiteX3" fmla="*/ 82431 w 199831"/>
                <a:gd name="connsiteY3" fmla="*/ 82431 h 99915"/>
                <a:gd name="connsiteX4" fmla="*/ 82431 w 199831"/>
                <a:gd name="connsiteY4" fmla="*/ 82431 h 99915"/>
                <a:gd name="connsiteX5" fmla="*/ 152372 w 199831"/>
                <a:gd name="connsiteY5" fmla="*/ 82431 h 99915"/>
                <a:gd name="connsiteX6" fmla="*/ 152372 w 199831"/>
                <a:gd name="connsiteY6" fmla="*/ 82431 h 99915"/>
                <a:gd name="connsiteX7" fmla="*/ 152372 w 199831"/>
                <a:gd name="connsiteY7" fmla="*/ 82431 h 99915"/>
                <a:gd name="connsiteX8" fmla="*/ 152372 w 199831"/>
                <a:gd name="connsiteY8" fmla="*/ 82431 h 99915"/>
                <a:gd name="connsiteX9" fmla="*/ 152372 w 199831"/>
                <a:gd name="connsiteY9" fmla="*/ 82431 h 99915"/>
                <a:gd name="connsiteX10" fmla="*/ 82431 w 199831"/>
                <a:gd name="connsiteY10" fmla="*/ 82431 h 99915"/>
                <a:gd name="connsiteX11" fmla="*/ 82431 w 199831"/>
                <a:gd name="connsiteY11" fmla="*/ 82431 h 999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99831" h="99915">
                  <a:moveTo>
                    <a:pt x="82431" y="82431"/>
                  </a:moveTo>
                  <a:cubicBezTo>
                    <a:pt x="72439" y="82431"/>
                    <a:pt x="72439" y="72439"/>
                    <a:pt x="82431" y="82431"/>
                  </a:cubicBezTo>
                  <a:lnTo>
                    <a:pt x="82431" y="82431"/>
                  </a:lnTo>
                  <a:cubicBezTo>
                    <a:pt x="72439" y="72439"/>
                    <a:pt x="72439" y="72439"/>
                    <a:pt x="82431" y="82431"/>
                  </a:cubicBezTo>
                  <a:lnTo>
                    <a:pt x="82431" y="82431"/>
                  </a:lnTo>
                  <a:lnTo>
                    <a:pt x="152372" y="82431"/>
                  </a:lnTo>
                  <a:cubicBezTo>
                    <a:pt x="152372" y="82431"/>
                    <a:pt x="152372" y="82431"/>
                    <a:pt x="152372" y="82431"/>
                  </a:cubicBezTo>
                  <a:lnTo>
                    <a:pt x="152372" y="82431"/>
                  </a:lnTo>
                  <a:cubicBezTo>
                    <a:pt x="152372" y="82431"/>
                    <a:pt x="152372" y="82431"/>
                    <a:pt x="152372" y="82431"/>
                  </a:cubicBezTo>
                  <a:lnTo>
                    <a:pt x="152372" y="82431"/>
                  </a:lnTo>
                  <a:lnTo>
                    <a:pt x="82431" y="82431"/>
                  </a:lnTo>
                  <a:lnTo>
                    <a:pt x="82431" y="82431"/>
                  </a:lnTo>
                  <a:close/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2" name="任意多边形: 形状 61">
              <a:extLst>
                <a:ext uri="{FF2B5EF4-FFF2-40B4-BE49-F238E27FC236}">
                  <a16:creationId xmlns:a16="http://schemas.microsoft.com/office/drawing/2014/main" id="{7711EDFB-891C-4F9D-82FA-A670A5535044}"/>
                </a:ext>
              </a:extLst>
            </p:cNvPr>
            <p:cNvSpPr/>
            <p:nvPr userDrawn="1"/>
          </p:nvSpPr>
          <p:spPr>
            <a:xfrm>
              <a:off x="2687464" y="4930164"/>
              <a:ext cx="194670" cy="97335"/>
            </a:xfrm>
            <a:custGeom>
              <a:avLst/>
              <a:gdLst>
                <a:gd name="connsiteX0" fmla="*/ 82431 w 199831"/>
                <a:gd name="connsiteY0" fmla="*/ 79378 h 99915"/>
                <a:gd name="connsiteX1" fmla="*/ 82431 w 199831"/>
                <a:gd name="connsiteY1" fmla="*/ 79378 h 99915"/>
                <a:gd name="connsiteX2" fmla="*/ 82431 w 199831"/>
                <a:gd name="connsiteY2" fmla="*/ 79378 h 99915"/>
                <a:gd name="connsiteX3" fmla="*/ 82431 w 199831"/>
                <a:gd name="connsiteY3" fmla="*/ 79378 h 99915"/>
                <a:gd name="connsiteX4" fmla="*/ 82431 w 199831"/>
                <a:gd name="connsiteY4" fmla="*/ 79378 h 99915"/>
                <a:gd name="connsiteX5" fmla="*/ 152372 w 199831"/>
                <a:gd name="connsiteY5" fmla="*/ 79378 h 99915"/>
                <a:gd name="connsiteX6" fmla="*/ 152372 w 199831"/>
                <a:gd name="connsiteY6" fmla="*/ 79378 h 99915"/>
                <a:gd name="connsiteX7" fmla="*/ 152372 w 199831"/>
                <a:gd name="connsiteY7" fmla="*/ 79378 h 99915"/>
                <a:gd name="connsiteX8" fmla="*/ 152372 w 199831"/>
                <a:gd name="connsiteY8" fmla="*/ 79378 h 99915"/>
                <a:gd name="connsiteX9" fmla="*/ 152372 w 199831"/>
                <a:gd name="connsiteY9" fmla="*/ 79378 h 99915"/>
                <a:gd name="connsiteX10" fmla="*/ 82431 w 199831"/>
                <a:gd name="connsiteY10" fmla="*/ 79378 h 99915"/>
                <a:gd name="connsiteX11" fmla="*/ 82431 w 199831"/>
                <a:gd name="connsiteY11" fmla="*/ 79378 h 999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99831" h="99915">
                  <a:moveTo>
                    <a:pt x="82431" y="79378"/>
                  </a:moveTo>
                  <a:cubicBezTo>
                    <a:pt x="72439" y="79378"/>
                    <a:pt x="72439" y="79378"/>
                    <a:pt x="82431" y="79378"/>
                  </a:cubicBezTo>
                  <a:lnTo>
                    <a:pt x="82431" y="79378"/>
                  </a:lnTo>
                  <a:cubicBezTo>
                    <a:pt x="72439" y="79378"/>
                    <a:pt x="72439" y="69386"/>
                    <a:pt x="82431" y="79378"/>
                  </a:cubicBezTo>
                  <a:lnTo>
                    <a:pt x="82431" y="79378"/>
                  </a:lnTo>
                  <a:lnTo>
                    <a:pt x="152372" y="79378"/>
                  </a:lnTo>
                  <a:cubicBezTo>
                    <a:pt x="152372" y="79378"/>
                    <a:pt x="152372" y="79378"/>
                    <a:pt x="152372" y="79378"/>
                  </a:cubicBezTo>
                  <a:lnTo>
                    <a:pt x="152372" y="79378"/>
                  </a:lnTo>
                  <a:cubicBezTo>
                    <a:pt x="152372" y="79378"/>
                    <a:pt x="152372" y="79378"/>
                    <a:pt x="152372" y="79378"/>
                  </a:cubicBezTo>
                  <a:lnTo>
                    <a:pt x="152372" y="79378"/>
                  </a:lnTo>
                  <a:lnTo>
                    <a:pt x="82431" y="79378"/>
                  </a:lnTo>
                  <a:lnTo>
                    <a:pt x="82431" y="79378"/>
                  </a:lnTo>
                  <a:close/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3" name="任意多边形: 形状 62">
              <a:extLst>
                <a:ext uri="{FF2B5EF4-FFF2-40B4-BE49-F238E27FC236}">
                  <a16:creationId xmlns:a16="http://schemas.microsoft.com/office/drawing/2014/main" id="{D16A6B49-411F-4192-9D62-D92308C7686C}"/>
                </a:ext>
              </a:extLst>
            </p:cNvPr>
            <p:cNvSpPr/>
            <p:nvPr userDrawn="1"/>
          </p:nvSpPr>
          <p:spPr>
            <a:xfrm>
              <a:off x="2687464" y="4973424"/>
              <a:ext cx="194670" cy="97335"/>
            </a:xfrm>
            <a:custGeom>
              <a:avLst/>
              <a:gdLst>
                <a:gd name="connsiteX0" fmla="*/ 82431 w 199831"/>
                <a:gd name="connsiteY0" fmla="*/ 74937 h 99915"/>
                <a:gd name="connsiteX1" fmla="*/ 82431 w 199831"/>
                <a:gd name="connsiteY1" fmla="*/ 74937 h 99915"/>
                <a:gd name="connsiteX2" fmla="*/ 82431 w 199831"/>
                <a:gd name="connsiteY2" fmla="*/ 74937 h 99915"/>
                <a:gd name="connsiteX3" fmla="*/ 82431 w 199831"/>
                <a:gd name="connsiteY3" fmla="*/ 74937 h 99915"/>
                <a:gd name="connsiteX4" fmla="*/ 82431 w 199831"/>
                <a:gd name="connsiteY4" fmla="*/ 74937 h 99915"/>
                <a:gd name="connsiteX5" fmla="*/ 152372 w 199831"/>
                <a:gd name="connsiteY5" fmla="*/ 74937 h 99915"/>
                <a:gd name="connsiteX6" fmla="*/ 152372 w 199831"/>
                <a:gd name="connsiteY6" fmla="*/ 74937 h 99915"/>
                <a:gd name="connsiteX7" fmla="*/ 152372 w 199831"/>
                <a:gd name="connsiteY7" fmla="*/ 74937 h 99915"/>
                <a:gd name="connsiteX8" fmla="*/ 152372 w 199831"/>
                <a:gd name="connsiteY8" fmla="*/ 74937 h 99915"/>
                <a:gd name="connsiteX9" fmla="*/ 152372 w 199831"/>
                <a:gd name="connsiteY9" fmla="*/ 74937 h 99915"/>
                <a:gd name="connsiteX10" fmla="*/ 82431 w 199831"/>
                <a:gd name="connsiteY10" fmla="*/ 74937 h 99915"/>
                <a:gd name="connsiteX11" fmla="*/ 82431 w 199831"/>
                <a:gd name="connsiteY11" fmla="*/ 74937 h 999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99831" h="99915">
                  <a:moveTo>
                    <a:pt x="82431" y="74937"/>
                  </a:moveTo>
                  <a:cubicBezTo>
                    <a:pt x="72439" y="74937"/>
                    <a:pt x="72439" y="74937"/>
                    <a:pt x="82431" y="74937"/>
                  </a:cubicBezTo>
                  <a:lnTo>
                    <a:pt x="82431" y="74937"/>
                  </a:lnTo>
                  <a:cubicBezTo>
                    <a:pt x="72439" y="74937"/>
                    <a:pt x="72439" y="74937"/>
                    <a:pt x="82431" y="74937"/>
                  </a:cubicBezTo>
                  <a:lnTo>
                    <a:pt x="82431" y="74937"/>
                  </a:lnTo>
                  <a:lnTo>
                    <a:pt x="152372" y="74937"/>
                  </a:lnTo>
                  <a:cubicBezTo>
                    <a:pt x="152372" y="74937"/>
                    <a:pt x="152372" y="74937"/>
                    <a:pt x="152372" y="74937"/>
                  </a:cubicBezTo>
                  <a:lnTo>
                    <a:pt x="152372" y="74937"/>
                  </a:lnTo>
                  <a:cubicBezTo>
                    <a:pt x="152372" y="74937"/>
                    <a:pt x="152372" y="74937"/>
                    <a:pt x="152372" y="74937"/>
                  </a:cubicBezTo>
                  <a:lnTo>
                    <a:pt x="152372" y="74937"/>
                  </a:lnTo>
                  <a:lnTo>
                    <a:pt x="82431" y="74937"/>
                  </a:lnTo>
                  <a:lnTo>
                    <a:pt x="82431" y="74937"/>
                  </a:lnTo>
                  <a:close/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4" name="任意多边形: 形状 63">
              <a:extLst>
                <a:ext uri="{FF2B5EF4-FFF2-40B4-BE49-F238E27FC236}">
                  <a16:creationId xmlns:a16="http://schemas.microsoft.com/office/drawing/2014/main" id="{CC65B46A-7E5D-49B8-BE8A-A9DB82B540D9}"/>
                </a:ext>
              </a:extLst>
            </p:cNvPr>
            <p:cNvSpPr/>
            <p:nvPr userDrawn="1"/>
          </p:nvSpPr>
          <p:spPr>
            <a:xfrm>
              <a:off x="2687464" y="5012358"/>
              <a:ext cx="194670" cy="97335"/>
            </a:xfrm>
            <a:custGeom>
              <a:avLst/>
              <a:gdLst>
                <a:gd name="connsiteX0" fmla="*/ 82431 w 199831"/>
                <a:gd name="connsiteY0" fmla="*/ 74937 h 99915"/>
                <a:gd name="connsiteX1" fmla="*/ 82431 w 199831"/>
                <a:gd name="connsiteY1" fmla="*/ 74937 h 99915"/>
                <a:gd name="connsiteX2" fmla="*/ 82431 w 199831"/>
                <a:gd name="connsiteY2" fmla="*/ 74937 h 99915"/>
                <a:gd name="connsiteX3" fmla="*/ 82431 w 199831"/>
                <a:gd name="connsiteY3" fmla="*/ 74937 h 99915"/>
                <a:gd name="connsiteX4" fmla="*/ 82431 w 199831"/>
                <a:gd name="connsiteY4" fmla="*/ 74937 h 99915"/>
                <a:gd name="connsiteX5" fmla="*/ 152372 w 199831"/>
                <a:gd name="connsiteY5" fmla="*/ 74937 h 99915"/>
                <a:gd name="connsiteX6" fmla="*/ 152372 w 199831"/>
                <a:gd name="connsiteY6" fmla="*/ 74937 h 99915"/>
                <a:gd name="connsiteX7" fmla="*/ 152372 w 199831"/>
                <a:gd name="connsiteY7" fmla="*/ 74937 h 99915"/>
                <a:gd name="connsiteX8" fmla="*/ 152372 w 199831"/>
                <a:gd name="connsiteY8" fmla="*/ 74937 h 99915"/>
                <a:gd name="connsiteX9" fmla="*/ 152372 w 199831"/>
                <a:gd name="connsiteY9" fmla="*/ 74937 h 99915"/>
                <a:gd name="connsiteX10" fmla="*/ 82431 w 199831"/>
                <a:gd name="connsiteY10" fmla="*/ 74937 h 99915"/>
                <a:gd name="connsiteX11" fmla="*/ 82431 w 199831"/>
                <a:gd name="connsiteY11" fmla="*/ 74937 h 999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99831" h="99915">
                  <a:moveTo>
                    <a:pt x="82431" y="74937"/>
                  </a:moveTo>
                  <a:cubicBezTo>
                    <a:pt x="72439" y="74937"/>
                    <a:pt x="72439" y="74937"/>
                    <a:pt x="82431" y="74937"/>
                  </a:cubicBezTo>
                  <a:lnTo>
                    <a:pt x="82431" y="74937"/>
                  </a:lnTo>
                  <a:cubicBezTo>
                    <a:pt x="72439" y="74937"/>
                    <a:pt x="72439" y="74937"/>
                    <a:pt x="82431" y="74937"/>
                  </a:cubicBezTo>
                  <a:lnTo>
                    <a:pt x="82431" y="74937"/>
                  </a:lnTo>
                  <a:lnTo>
                    <a:pt x="152372" y="74937"/>
                  </a:lnTo>
                  <a:cubicBezTo>
                    <a:pt x="152372" y="74937"/>
                    <a:pt x="152372" y="74937"/>
                    <a:pt x="152372" y="74937"/>
                  </a:cubicBezTo>
                  <a:lnTo>
                    <a:pt x="152372" y="74937"/>
                  </a:lnTo>
                  <a:cubicBezTo>
                    <a:pt x="152372" y="74937"/>
                    <a:pt x="152372" y="74937"/>
                    <a:pt x="152372" y="74937"/>
                  </a:cubicBezTo>
                  <a:lnTo>
                    <a:pt x="152372" y="74937"/>
                  </a:lnTo>
                  <a:lnTo>
                    <a:pt x="82431" y="74937"/>
                  </a:lnTo>
                  <a:lnTo>
                    <a:pt x="82431" y="74937"/>
                  </a:lnTo>
                  <a:close/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5" name="任意多边形: 形状 64">
              <a:extLst>
                <a:ext uri="{FF2B5EF4-FFF2-40B4-BE49-F238E27FC236}">
                  <a16:creationId xmlns:a16="http://schemas.microsoft.com/office/drawing/2014/main" id="{88B1AC70-E77B-45AB-8149-64579CB00868}"/>
                </a:ext>
              </a:extLst>
            </p:cNvPr>
            <p:cNvSpPr/>
            <p:nvPr userDrawn="1"/>
          </p:nvSpPr>
          <p:spPr>
            <a:xfrm>
              <a:off x="2687464" y="5095633"/>
              <a:ext cx="194670" cy="97335"/>
            </a:xfrm>
            <a:custGeom>
              <a:avLst/>
              <a:gdLst>
                <a:gd name="connsiteX0" fmla="*/ 82431 w 199831"/>
                <a:gd name="connsiteY0" fmla="*/ 79378 h 99915"/>
                <a:gd name="connsiteX1" fmla="*/ 82431 w 199831"/>
                <a:gd name="connsiteY1" fmla="*/ 79378 h 99915"/>
                <a:gd name="connsiteX2" fmla="*/ 82431 w 199831"/>
                <a:gd name="connsiteY2" fmla="*/ 79378 h 99915"/>
                <a:gd name="connsiteX3" fmla="*/ 82431 w 199831"/>
                <a:gd name="connsiteY3" fmla="*/ 79378 h 99915"/>
                <a:gd name="connsiteX4" fmla="*/ 82431 w 199831"/>
                <a:gd name="connsiteY4" fmla="*/ 79378 h 99915"/>
                <a:gd name="connsiteX5" fmla="*/ 152372 w 199831"/>
                <a:gd name="connsiteY5" fmla="*/ 79378 h 99915"/>
                <a:gd name="connsiteX6" fmla="*/ 152372 w 199831"/>
                <a:gd name="connsiteY6" fmla="*/ 79378 h 99915"/>
                <a:gd name="connsiteX7" fmla="*/ 152372 w 199831"/>
                <a:gd name="connsiteY7" fmla="*/ 79378 h 99915"/>
                <a:gd name="connsiteX8" fmla="*/ 152372 w 199831"/>
                <a:gd name="connsiteY8" fmla="*/ 79378 h 99915"/>
                <a:gd name="connsiteX9" fmla="*/ 152372 w 199831"/>
                <a:gd name="connsiteY9" fmla="*/ 79378 h 99915"/>
                <a:gd name="connsiteX10" fmla="*/ 82431 w 199831"/>
                <a:gd name="connsiteY10" fmla="*/ 79378 h 99915"/>
                <a:gd name="connsiteX11" fmla="*/ 82431 w 199831"/>
                <a:gd name="connsiteY11" fmla="*/ 79378 h 999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99831" h="99915">
                  <a:moveTo>
                    <a:pt x="82431" y="79378"/>
                  </a:moveTo>
                  <a:cubicBezTo>
                    <a:pt x="72439" y="79378"/>
                    <a:pt x="72439" y="79378"/>
                    <a:pt x="82431" y="79378"/>
                  </a:cubicBezTo>
                  <a:lnTo>
                    <a:pt x="82431" y="79378"/>
                  </a:lnTo>
                  <a:cubicBezTo>
                    <a:pt x="72439" y="79378"/>
                    <a:pt x="72439" y="69386"/>
                    <a:pt x="82431" y="79378"/>
                  </a:cubicBezTo>
                  <a:lnTo>
                    <a:pt x="82431" y="79378"/>
                  </a:lnTo>
                  <a:lnTo>
                    <a:pt x="152372" y="79378"/>
                  </a:lnTo>
                  <a:cubicBezTo>
                    <a:pt x="152372" y="79378"/>
                    <a:pt x="152372" y="79378"/>
                    <a:pt x="152372" y="79378"/>
                  </a:cubicBezTo>
                  <a:lnTo>
                    <a:pt x="152372" y="79378"/>
                  </a:lnTo>
                  <a:cubicBezTo>
                    <a:pt x="152372" y="79378"/>
                    <a:pt x="152372" y="79378"/>
                    <a:pt x="152372" y="79378"/>
                  </a:cubicBezTo>
                  <a:lnTo>
                    <a:pt x="152372" y="79378"/>
                  </a:lnTo>
                  <a:lnTo>
                    <a:pt x="82431" y="79378"/>
                  </a:lnTo>
                  <a:lnTo>
                    <a:pt x="82431" y="79378"/>
                  </a:lnTo>
                  <a:close/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6" name="任意多边形: 形状 65">
              <a:extLst>
                <a:ext uri="{FF2B5EF4-FFF2-40B4-BE49-F238E27FC236}">
                  <a16:creationId xmlns:a16="http://schemas.microsoft.com/office/drawing/2014/main" id="{C8F15135-5567-4A9F-B1CB-43BBF61597B5}"/>
                </a:ext>
              </a:extLst>
            </p:cNvPr>
            <p:cNvSpPr/>
            <p:nvPr userDrawn="1"/>
          </p:nvSpPr>
          <p:spPr>
            <a:xfrm>
              <a:off x="2687464" y="5138894"/>
              <a:ext cx="194670" cy="97335"/>
            </a:xfrm>
            <a:custGeom>
              <a:avLst/>
              <a:gdLst>
                <a:gd name="connsiteX0" fmla="*/ 82431 w 199831"/>
                <a:gd name="connsiteY0" fmla="*/ 74937 h 99915"/>
                <a:gd name="connsiteX1" fmla="*/ 82431 w 199831"/>
                <a:gd name="connsiteY1" fmla="*/ 74937 h 99915"/>
                <a:gd name="connsiteX2" fmla="*/ 82431 w 199831"/>
                <a:gd name="connsiteY2" fmla="*/ 74937 h 99915"/>
                <a:gd name="connsiteX3" fmla="*/ 82431 w 199831"/>
                <a:gd name="connsiteY3" fmla="*/ 74937 h 99915"/>
                <a:gd name="connsiteX4" fmla="*/ 82431 w 199831"/>
                <a:gd name="connsiteY4" fmla="*/ 74937 h 99915"/>
                <a:gd name="connsiteX5" fmla="*/ 152372 w 199831"/>
                <a:gd name="connsiteY5" fmla="*/ 74937 h 99915"/>
                <a:gd name="connsiteX6" fmla="*/ 152372 w 199831"/>
                <a:gd name="connsiteY6" fmla="*/ 74937 h 99915"/>
                <a:gd name="connsiteX7" fmla="*/ 152372 w 199831"/>
                <a:gd name="connsiteY7" fmla="*/ 74937 h 99915"/>
                <a:gd name="connsiteX8" fmla="*/ 152372 w 199831"/>
                <a:gd name="connsiteY8" fmla="*/ 74937 h 99915"/>
                <a:gd name="connsiteX9" fmla="*/ 152372 w 199831"/>
                <a:gd name="connsiteY9" fmla="*/ 74937 h 99915"/>
                <a:gd name="connsiteX10" fmla="*/ 82431 w 199831"/>
                <a:gd name="connsiteY10" fmla="*/ 74937 h 99915"/>
                <a:gd name="connsiteX11" fmla="*/ 82431 w 199831"/>
                <a:gd name="connsiteY11" fmla="*/ 74937 h 999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99831" h="99915">
                  <a:moveTo>
                    <a:pt x="82431" y="74937"/>
                  </a:moveTo>
                  <a:cubicBezTo>
                    <a:pt x="72439" y="74937"/>
                    <a:pt x="72439" y="74937"/>
                    <a:pt x="82431" y="74937"/>
                  </a:cubicBezTo>
                  <a:lnTo>
                    <a:pt x="82431" y="74937"/>
                  </a:lnTo>
                  <a:cubicBezTo>
                    <a:pt x="72439" y="74937"/>
                    <a:pt x="72439" y="74937"/>
                    <a:pt x="82431" y="74937"/>
                  </a:cubicBezTo>
                  <a:lnTo>
                    <a:pt x="82431" y="74937"/>
                  </a:lnTo>
                  <a:lnTo>
                    <a:pt x="152372" y="74937"/>
                  </a:lnTo>
                  <a:cubicBezTo>
                    <a:pt x="152372" y="74937"/>
                    <a:pt x="152372" y="74937"/>
                    <a:pt x="152372" y="74937"/>
                  </a:cubicBezTo>
                  <a:lnTo>
                    <a:pt x="152372" y="74937"/>
                  </a:lnTo>
                  <a:cubicBezTo>
                    <a:pt x="152372" y="74937"/>
                    <a:pt x="152372" y="74937"/>
                    <a:pt x="152372" y="74937"/>
                  </a:cubicBezTo>
                  <a:lnTo>
                    <a:pt x="152372" y="74937"/>
                  </a:lnTo>
                  <a:lnTo>
                    <a:pt x="82431" y="74937"/>
                  </a:lnTo>
                  <a:lnTo>
                    <a:pt x="82431" y="74937"/>
                  </a:lnTo>
                  <a:close/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7" name="任意多边形: 形状 66">
              <a:extLst>
                <a:ext uri="{FF2B5EF4-FFF2-40B4-BE49-F238E27FC236}">
                  <a16:creationId xmlns:a16="http://schemas.microsoft.com/office/drawing/2014/main" id="{D60E132D-3150-4B44-958F-7391CD8FEA95}"/>
                </a:ext>
              </a:extLst>
            </p:cNvPr>
            <p:cNvSpPr/>
            <p:nvPr userDrawn="1"/>
          </p:nvSpPr>
          <p:spPr>
            <a:xfrm>
              <a:off x="2687464" y="5177828"/>
              <a:ext cx="194670" cy="97335"/>
            </a:xfrm>
            <a:custGeom>
              <a:avLst/>
              <a:gdLst>
                <a:gd name="connsiteX0" fmla="*/ 82431 w 199831"/>
                <a:gd name="connsiteY0" fmla="*/ 74937 h 99915"/>
                <a:gd name="connsiteX1" fmla="*/ 82431 w 199831"/>
                <a:gd name="connsiteY1" fmla="*/ 74937 h 99915"/>
                <a:gd name="connsiteX2" fmla="*/ 82431 w 199831"/>
                <a:gd name="connsiteY2" fmla="*/ 74937 h 99915"/>
                <a:gd name="connsiteX3" fmla="*/ 82431 w 199831"/>
                <a:gd name="connsiteY3" fmla="*/ 74937 h 99915"/>
                <a:gd name="connsiteX4" fmla="*/ 82431 w 199831"/>
                <a:gd name="connsiteY4" fmla="*/ 74937 h 99915"/>
                <a:gd name="connsiteX5" fmla="*/ 152372 w 199831"/>
                <a:gd name="connsiteY5" fmla="*/ 74937 h 99915"/>
                <a:gd name="connsiteX6" fmla="*/ 152372 w 199831"/>
                <a:gd name="connsiteY6" fmla="*/ 74937 h 99915"/>
                <a:gd name="connsiteX7" fmla="*/ 152372 w 199831"/>
                <a:gd name="connsiteY7" fmla="*/ 74937 h 99915"/>
                <a:gd name="connsiteX8" fmla="*/ 152372 w 199831"/>
                <a:gd name="connsiteY8" fmla="*/ 74937 h 99915"/>
                <a:gd name="connsiteX9" fmla="*/ 152372 w 199831"/>
                <a:gd name="connsiteY9" fmla="*/ 74937 h 99915"/>
                <a:gd name="connsiteX10" fmla="*/ 82431 w 199831"/>
                <a:gd name="connsiteY10" fmla="*/ 74937 h 99915"/>
                <a:gd name="connsiteX11" fmla="*/ 82431 w 199831"/>
                <a:gd name="connsiteY11" fmla="*/ 74937 h 999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99831" h="99915">
                  <a:moveTo>
                    <a:pt x="82431" y="74937"/>
                  </a:moveTo>
                  <a:cubicBezTo>
                    <a:pt x="82431" y="74937"/>
                    <a:pt x="72439" y="74937"/>
                    <a:pt x="82431" y="74937"/>
                  </a:cubicBezTo>
                  <a:lnTo>
                    <a:pt x="82431" y="74937"/>
                  </a:lnTo>
                  <a:cubicBezTo>
                    <a:pt x="72439" y="74937"/>
                    <a:pt x="72439" y="74937"/>
                    <a:pt x="82431" y="74937"/>
                  </a:cubicBezTo>
                  <a:lnTo>
                    <a:pt x="82431" y="74937"/>
                  </a:lnTo>
                  <a:lnTo>
                    <a:pt x="152372" y="74937"/>
                  </a:lnTo>
                  <a:cubicBezTo>
                    <a:pt x="152372" y="74937"/>
                    <a:pt x="152372" y="74937"/>
                    <a:pt x="152372" y="74937"/>
                  </a:cubicBezTo>
                  <a:lnTo>
                    <a:pt x="152372" y="74937"/>
                  </a:lnTo>
                  <a:cubicBezTo>
                    <a:pt x="152372" y="74937"/>
                    <a:pt x="152372" y="74937"/>
                    <a:pt x="152372" y="74937"/>
                  </a:cubicBezTo>
                  <a:lnTo>
                    <a:pt x="152372" y="74937"/>
                  </a:lnTo>
                  <a:lnTo>
                    <a:pt x="82431" y="74937"/>
                  </a:lnTo>
                  <a:lnTo>
                    <a:pt x="82431" y="74937"/>
                  </a:lnTo>
                  <a:close/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8" name="任意多边形: 形状 67">
              <a:extLst>
                <a:ext uri="{FF2B5EF4-FFF2-40B4-BE49-F238E27FC236}">
                  <a16:creationId xmlns:a16="http://schemas.microsoft.com/office/drawing/2014/main" id="{B3D26A8B-3281-47CF-82F2-0923DBEE794E}"/>
                </a:ext>
              </a:extLst>
            </p:cNvPr>
            <p:cNvSpPr/>
            <p:nvPr userDrawn="1"/>
          </p:nvSpPr>
          <p:spPr>
            <a:xfrm>
              <a:off x="2690439" y="5219195"/>
              <a:ext cx="194670" cy="97335"/>
            </a:xfrm>
            <a:custGeom>
              <a:avLst/>
              <a:gdLst>
                <a:gd name="connsiteX0" fmla="*/ 79378 w 199831"/>
                <a:gd name="connsiteY0" fmla="*/ 82430 h 99915"/>
                <a:gd name="connsiteX1" fmla="*/ 79378 w 199831"/>
                <a:gd name="connsiteY1" fmla="*/ 82430 h 99915"/>
                <a:gd name="connsiteX2" fmla="*/ 79378 w 199831"/>
                <a:gd name="connsiteY2" fmla="*/ 82430 h 99915"/>
                <a:gd name="connsiteX3" fmla="*/ 79378 w 199831"/>
                <a:gd name="connsiteY3" fmla="*/ 82430 h 99915"/>
                <a:gd name="connsiteX4" fmla="*/ 79378 w 199831"/>
                <a:gd name="connsiteY4" fmla="*/ 82430 h 99915"/>
                <a:gd name="connsiteX5" fmla="*/ 149319 w 199831"/>
                <a:gd name="connsiteY5" fmla="*/ 82430 h 99915"/>
                <a:gd name="connsiteX6" fmla="*/ 149319 w 199831"/>
                <a:gd name="connsiteY6" fmla="*/ 82430 h 99915"/>
                <a:gd name="connsiteX7" fmla="*/ 149319 w 199831"/>
                <a:gd name="connsiteY7" fmla="*/ 82430 h 99915"/>
                <a:gd name="connsiteX8" fmla="*/ 149319 w 199831"/>
                <a:gd name="connsiteY8" fmla="*/ 82430 h 99915"/>
                <a:gd name="connsiteX9" fmla="*/ 149319 w 199831"/>
                <a:gd name="connsiteY9" fmla="*/ 82430 h 99915"/>
                <a:gd name="connsiteX10" fmla="*/ 79378 w 199831"/>
                <a:gd name="connsiteY10" fmla="*/ 82430 h 99915"/>
                <a:gd name="connsiteX11" fmla="*/ 79378 w 199831"/>
                <a:gd name="connsiteY11" fmla="*/ 82430 h 999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99831" h="99915">
                  <a:moveTo>
                    <a:pt x="79378" y="82430"/>
                  </a:moveTo>
                  <a:cubicBezTo>
                    <a:pt x="79378" y="82430"/>
                    <a:pt x="69386" y="82430"/>
                    <a:pt x="79378" y="82430"/>
                  </a:cubicBezTo>
                  <a:lnTo>
                    <a:pt x="79378" y="82430"/>
                  </a:lnTo>
                  <a:cubicBezTo>
                    <a:pt x="69386" y="72439"/>
                    <a:pt x="79378" y="72439"/>
                    <a:pt x="79378" y="82430"/>
                  </a:cubicBezTo>
                  <a:lnTo>
                    <a:pt x="79378" y="82430"/>
                  </a:lnTo>
                  <a:lnTo>
                    <a:pt x="149319" y="82430"/>
                  </a:lnTo>
                  <a:cubicBezTo>
                    <a:pt x="149319" y="82430"/>
                    <a:pt x="149319" y="82430"/>
                    <a:pt x="149319" y="82430"/>
                  </a:cubicBezTo>
                  <a:lnTo>
                    <a:pt x="149319" y="82430"/>
                  </a:lnTo>
                  <a:cubicBezTo>
                    <a:pt x="149319" y="82430"/>
                    <a:pt x="149319" y="82430"/>
                    <a:pt x="149319" y="82430"/>
                  </a:cubicBezTo>
                  <a:lnTo>
                    <a:pt x="149319" y="82430"/>
                  </a:lnTo>
                  <a:lnTo>
                    <a:pt x="79378" y="82430"/>
                  </a:lnTo>
                  <a:lnTo>
                    <a:pt x="79378" y="82430"/>
                  </a:lnTo>
                  <a:close/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9" name="任意多边形: 形状 68">
              <a:extLst>
                <a:ext uri="{FF2B5EF4-FFF2-40B4-BE49-F238E27FC236}">
                  <a16:creationId xmlns:a16="http://schemas.microsoft.com/office/drawing/2014/main" id="{375AC6C0-F083-43AD-A04B-E945A16F3D64}"/>
                </a:ext>
              </a:extLst>
            </p:cNvPr>
            <p:cNvSpPr/>
            <p:nvPr userDrawn="1"/>
          </p:nvSpPr>
          <p:spPr>
            <a:xfrm>
              <a:off x="2879701" y="4846887"/>
              <a:ext cx="97335" cy="97335"/>
            </a:xfrm>
            <a:custGeom>
              <a:avLst/>
              <a:gdLst>
                <a:gd name="connsiteX0" fmla="*/ 74937 w 99915"/>
                <a:gd name="connsiteY0" fmla="*/ 94920 h 99915"/>
                <a:gd name="connsiteX1" fmla="*/ 74937 w 99915"/>
                <a:gd name="connsiteY1" fmla="*/ 74937 h 99915"/>
                <a:gd name="connsiteX2" fmla="*/ 74937 w 99915"/>
                <a:gd name="connsiteY2" fmla="*/ 84929 h 99915"/>
                <a:gd name="connsiteX3" fmla="*/ 74937 w 99915"/>
                <a:gd name="connsiteY3" fmla="*/ 84929 h 99915"/>
                <a:gd name="connsiteX4" fmla="*/ 84928 w 99915"/>
                <a:gd name="connsiteY4" fmla="*/ 74937 h 99915"/>
                <a:gd name="connsiteX5" fmla="*/ 84928 w 99915"/>
                <a:gd name="connsiteY5" fmla="*/ 74937 h 99915"/>
                <a:gd name="connsiteX6" fmla="*/ 74937 w 99915"/>
                <a:gd name="connsiteY6" fmla="*/ 94920 h 99915"/>
                <a:gd name="connsiteX7" fmla="*/ 74937 w 99915"/>
                <a:gd name="connsiteY7" fmla="*/ 94920 h 999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9915" h="99915">
                  <a:moveTo>
                    <a:pt x="74937" y="94920"/>
                  </a:moveTo>
                  <a:lnTo>
                    <a:pt x="74937" y="74937"/>
                  </a:lnTo>
                  <a:lnTo>
                    <a:pt x="74937" y="84929"/>
                  </a:lnTo>
                  <a:lnTo>
                    <a:pt x="74937" y="84929"/>
                  </a:lnTo>
                  <a:lnTo>
                    <a:pt x="84928" y="74937"/>
                  </a:lnTo>
                  <a:lnTo>
                    <a:pt x="84928" y="74937"/>
                  </a:lnTo>
                  <a:lnTo>
                    <a:pt x="74937" y="94920"/>
                  </a:lnTo>
                  <a:lnTo>
                    <a:pt x="74937" y="94920"/>
                  </a:lnTo>
                  <a:close/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0" name="任意多边形: 形状 69">
              <a:extLst>
                <a:ext uri="{FF2B5EF4-FFF2-40B4-BE49-F238E27FC236}">
                  <a16:creationId xmlns:a16="http://schemas.microsoft.com/office/drawing/2014/main" id="{425A7765-1AB4-4C18-99A6-ED4DD6DEFB76}"/>
                </a:ext>
              </a:extLst>
            </p:cNvPr>
            <p:cNvSpPr/>
            <p:nvPr userDrawn="1"/>
          </p:nvSpPr>
          <p:spPr>
            <a:xfrm>
              <a:off x="2869968" y="5041559"/>
              <a:ext cx="97335" cy="97335"/>
            </a:xfrm>
            <a:custGeom>
              <a:avLst/>
              <a:gdLst>
                <a:gd name="connsiteX0" fmla="*/ 74937 w 99915"/>
                <a:gd name="connsiteY0" fmla="*/ 84929 h 99915"/>
                <a:gd name="connsiteX1" fmla="*/ 84929 w 99915"/>
                <a:gd name="connsiteY1" fmla="*/ 74937 h 99915"/>
                <a:gd name="connsiteX2" fmla="*/ 94920 w 99915"/>
                <a:gd name="connsiteY2" fmla="*/ 94920 h 99915"/>
                <a:gd name="connsiteX3" fmla="*/ 84929 w 99915"/>
                <a:gd name="connsiteY3" fmla="*/ 104912 h 99915"/>
                <a:gd name="connsiteX4" fmla="*/ 104912 w 99915"/>
                <a:gd name="connsiteY4" fmla="*/ 104912 h 99915"/>
                <a:gd name="connsiteX5" fmla="*/ 104912 w 99915"/>
                <a:gd name="connsiteY5" fmla="*/ 104912 h 99915"/>
                <a:gd name="connsiteX6" fmla="*/ 84929 w 99915"/>
                <a:gd name="connsiteY6" fmla="*/ 104912 h 99915"/>
                <a:gd name="connsiteX7" fmla="*/ 84929 w 99915"/>
                <a:gd name="connsiteY7" fmla="*/ 104912 h 99915"/>
                <a:gd name="connsiteX8" fmla="*/ 104912 w 99915"/>
                <a:gd name="connsiteY8" fmla="*/ 94920 h 99915"/>
                <a:gd name="connsiteX9" fmla="*/ 104912 w 99915"/>
                <a:gd name="connsiteY9" fmla="*/ 94920 h 99915"/>
                <a:gd name="connsiteX10" fmla="*/ 104912 w 99915"/>
                <a:gd name="connsiteY10" fmla="*/ 84929 h 99915"/>
                <a:gd name="connsiteX11" fmla="*/ 74937 w 99915"/>
                <a:gd name="connsiteY11" fmla="*/ 84929 h 99915"/>
                <a:gd name="connsiteX12" fmla="*/ 74937 w 99915"/>
                <a:gd name="connsiteY12" fmla="*/ 84929 h 999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99915" h="99915">
                  <a:moveTo>
                    <a:pt x="74937" y="84929"/>
                  </a:moveTo>
                  <a:cubicBezTo>
                    <a:pt x="74937" y="74937"/>
                    <a:pt x="74937" y="74937"/>
                    <a:pt x="84929" y="74937"/>
                  </a:cubicBezTo>
                  <a:cubicBezTo>
                    <a:pt x="94920" y="74937"/>
                    <a:pt x="104912" y="84929"/>
                    <a:pt x="94920" y="94920"/>
                  </a:cubicBezTo>
                  <a:cubicBezTo>
                    <a:pt x="94920" y="94920"/>
                    <a:pt x="84929" y="94920"/>
                    <a:pt x="84929" y="104912"/>
                  </a:cubicBezTo>
                  <a:lnTo>
                    <a:pt x="104912" y="104912"/>
                  </a:lnTo>
                  <a:lnTo>
                    <a:pt x="104912" y="104912"/>
                  </a:lnTo>
                  <a:lnTo>
                    <a:pt x="84929" y="104912"/>
                  </a:lnTo>
                  <a:lnTo>
                    <a:pt x="84929" y="104912"/>
                  </a:lnTo>
                  <a:lnTo>
                    <a:pt x="104912" y="94920"/>
                  </a:lnTo>
                  <a:lnTo>
                    <a:pt x="104912" y="94920"/>
                  </a:lnTo>
                  <a:cubicBezTo>
                    <a:pt x="114903" y="94920"/>
                    <a:pt x="104912" y="84929"/>
                    <a:pt x="104912" y="84929"/>
                  </a:cubicBezTo>
                  <a:cubicBezTo>
                    <a:pt x="84929" y="74937"/>
                    <a:pt x="84929" y="84929"/>
                    <a:pt x="74937" y="84929"/>
                  </a:cubicBezTo>
                  <a:lnTo>
                    <a:pt x="74937" y="84929"/>
                  </a:lnTo>
                  <a:close/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1" name="任意多边形: 形状 70">
              <a:extLst>
                <a:ext uri="{FF2B5EF4-FFF2-40B4-BE49-F238E27FC236}">
                  <a16:creationId xmlns:a16="http://schemas.microsoft.com/office/drawing/2014/main" id="{A90F8498-0C5B-49BD-9F44-4CA05085CC73}"/>
                </a:ext>
              </a:extLst>
            </p:cNvPr>
            <p:cNvSpPr/>
            <p:nvPr userDrawn="1"/>
          </p:nvSpPr>
          <p:spPr>
            <a:xfrm>
              <a:off x="2872402" y="5245962"/>
              <a:ext cx="97335" cy="97335"/>
            </a:xfrm>
            <a:custGeom>
              <a:avLst/>
              <a:gdLst>
                <a:gd name="connsiteX0" fmla="*/ 82431 w 99915"/>
                <a:gd name="connsiteY0" fmla="*/ 84929 h 99915"/>
                <a:gd name="connsiteX1" fmla="*/ 82431 w 99915"/>
                <a:gd name="connsiteY1" fmla="*/ 84929 h 99915"/>
                <a:gd name="connsiteX2" fmla="*/ 92422 w 99915"/>
                <a:gd name="connsiteY2" fmla="*/ 84929 h 99915"/>
                <a:gd name="connsiteX3" fmla="*/ 82431 w 99915"/>
                <a:gd name="connsiteY3" fmla="*/ 84929 h 99915"/>
                <a:gd name="connsiteX4" fmla="*/ 82431 w 99915"/>
                <a:gd name="connsiteY4" fmla="*/ 84929 h 99915"/>
                <a:gd name="connsiteX5" fmla="*/ 82431 w 99915"/>
                <a:gd name="connsiteY5" fmla="*/ 84929 h 99915"/>
                <a:gd name="connsiteX6" fmla="*/ 82431 w 99915"/>
                <a:gd name="connsiteY6" fmla="*/ 74937 h 99915"/>
                <a:gd name="connsiteX7" fmla="*/ 92422 w 99915"/>
                <a:gd name="connsiteY7" fmla="*/ 84929 h 99915"/>
                <a:gd name="connsiteX8" fmla="*/ 92422 w 99915"/>
                <a:gd name="connsiteY8" fmla="*/ 94920 h 99915"/>
                <a:gd name="connsiteX9" fmla="*/ 92422 w 99915"/>
                <a:gd name="connsiteY9" fmla="*/ 104912 h 99915"/>
                <a:gd name="connsiteX10" fmla="*/ 82431 w 99915"/>
                <a:gd name="connsiteY10" fmla="*/ 114903 h 99915"/>
                <a:gd name="connsiteX11" fmla="*/ 82431 w 99915"/>
                <a:gd name="connsiteY11" fmla="*/ 84929 h 99915"/>
                <a:gd name="connsiteX12" fmla="*/ 82431 w 99915"/>
                <a:gd name="connsiteY12" fmla="*/ 84929 h 99915"/>
                <a:gd name="connsiteX13" fmla="*/ 82431 w 99915"/>
                <a:gd name="connsiteY13" fmla="*/ 94920 h 99915"/>
                <a:gd name="connsiteX14" fmla="*/ 92422 w 99915"/>
                <a:gd name="connsiteY14" fmla="*/ 94920 h 99915"/>
                <a:gd name="connsiteX15" fmla="*/ 82431 w 99915"/>
                <a:gd name="connsiteY15" fmla="*/ 84929 h 99915"/>
                <a:gd name="connsiteX16" fmla="*/ 82431 w 99915"/>
                <a:gd name="connsiteY16" fmla="*/ 84929 h 99915"/>
                <a:gd name="connsiteX17" fmla="*/ 82431 w 99915"/>
                <a:gd name="connsiteY17" fmla="*/ 84929 h 999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99915" h="99915">
                  <a:moveTo>
                    <a:pt x="82431" y="84929"/>
                  </a:moveTo>
                  <a:lnTo>
                    <a:pt x="82431" y="84929"/>
                  </a:lnTo>
                  <a:cubicBezTo>
                    <a:pt x="92422" y="84929"/>
                    <a:pt x="92422" y="84929"/>
                    <a:pt x="92422" y="84929"/>
                  </a:cubicBezTo>
                  <a:cubicBezTo>
                    <a:pt x="92422" y="74937"/>
                    <a:pt x="92422" y="74937"/>
                    <a:pt x="82431" y="84929"/>
                  </a:cubicBezTo>
                  <a:cubicBezTo>
                    <a:pt x="82431" y="74937"/>
                    <a:pt x="82431" y="74937"/>
                    <a:pt x="82431" y="84929"/>
                  </a:cubicBezTo>
                  <a:lnTo>
                    <a:pt x="82431" y="84929"/>
                  </a:lnTo>
                  <a:cubicBezTo>
                    <a:pt x="72439" y="74937"/>
                    <a:pt x="82431" y="74937"/>
                    <a:pt x="82431" y="74937"/>
                  </a:cubicBezTo>
                  <a:cubicBezTo>
                    <a:pt x="92422" y="74937"/>
                    <a:pt x="92422" y="74937"/>
                    <a:pt x="92422" y="84929"/>
                  </a:cubicBezTo>
                  <a:cubicBezTo>
                    <a:pt x="92422" y="84929"/>
                    <a:pt x="92422" y="84929"/>
                    <a:pt x="92422" y="94920"/>
                  </a:cubicBezTo>
                  <a:cubicBezTo>
                    <a:pt x="92422" y="94920"/>
                    <a:pt x="92422" y="94920"/>
                    <a:pt x="92422" y="104912"/>
                  </a:cubicBezTo>
                  <a:cubicBezTo>
                    <a:pt x="92422" y="104912"/>
                    <a:pt x="92422" y="114903"/>
                    <a:pt x="82431" y="114903"/>
                  </a:cubicBezTo>
                  <a:cubicBezTo>
                    <a:pt x="72439" y="104912"/>
                    <a:pt x="72439" y="94920"/>
                    <a:pt x="82431" y="84929"/>
                  </a:cubicBezTo>
                  <a:lnTo>
                    <a:pt x="82431" y="84929"/>
                  </a:lnTo>
                  <a:cubicBezTo>
                    <a:pt x="82431" y="94920"/>
                    <a:pt x="82431" y="94920"/>
                    <a:pt x="82431" y="94920"/>
                  </a:cubicBezTo>
                  <a:cubicBezTo>
                    <a:pt x="92422" y="94920"/>
                    <a:pt x="92422" y="94920"/>
                    <a:pt x="92422" y="94920"/>
                  </a:cubicBezTo>
                  <a:cubicBezTo>
                    <a:pt x="92422" y="94920"/>
                    <a:pt x="92422" y="84929"/>
                    <a:pt x="82431" y="84929"/>
                  </a:cubicBezTo>
                  <a:lnTo>
                    <a:pt x="82431" y="84929"/>
                  </a:lnTo>
                  <a:lnTo>
                    <a:pt x="82431" y="84929"/>
                  </a:lnTo>
                  <a:close/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2" name="任意多边形: 形状 71">
              <a:extLst>
                <a:ext uri="{FF2B5EF4-FFF2-40B4-BE49-F238E27FC236}">
                  <a16:creationId xmlns:a16="http://schemas.microsoft.com/office/drawing/2014/main" id="{027235B0-A3C0-465B-8AB5-D3CC929ED79F}"/>
                </a:ext>
              </a:extLst>
            </p:cNvPr>
            <p:cNvSpPr/>
            <p:nvPr userDrawn="1"/>
          </p:nvSpPr>
          <p:spPr>
            <a:xfrm>
              <a:off x="2548762" y="5946776"/>
              <a:ext cx="584011" cy="194670"/>
            </a:xfrm>
            <a:custGeom>
              <a:avLst/>
              <a:gdLst>
                <a:gd name="connsiteX0" fmla="*/ 74937 w 599495"/>
                <a:gd name="connsiteY0" fmla="*/ 104912 h 199831"/>
                <a:gd name="connsiteX1" fmla="*/ 324727 w 599495"/>
                <a:gd name="connsiteY1" fmla="*/ 134886 h 199831"/>
                <a:gd name="connsiteX2" fmla="*/ 574516 w 599495"/>
                <a:gd name="connsiteY2" fmla="*/ 104912 h 199831"/>
                <a:gd name="connsiteX3" fmla="*/ 324727 w 599495"/>
                <a:gd name="connsiteY3" fmla="*/ 74937 h 199831"/>
                <a:gd name="connsiteX4" fmla="*/ 74937 w 599495"/>
                <a:gd name="connsiteY4" fmla="*/ 104912 h 199831"/>
                <a:gd name="connsiteX5" fmla="*/ 194836 w 599495"/>
                <a:gd name="connsiteY5" fmla="*/ 94920 h 199831"/>
                <a:gd name="connsiteX6" fmla="*/ 324727 w 599495"/>
                <a:gd name="connsiteY6" fmla="*/ 84928 h 199831"/>
                <a:gd name="connsiteX7" fmla="*/ 454617 w 599495"/>
                <a:gd name="connsiteY7" fmla="*/ 94920 h 199831"/>
                <a:gd name="connsiteX8" fmla="*/ 324727 w 599495"/>
                <a:gd name="connsiteY8" fmla="*/ 104912 h 199831"/>
                <a:gd name="connsiteX9" fmla="*/ 194836 w 599495"/>
                <a:gd name="connsiteY9" fmla="*/ 94920 h 199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99495" h="199831">
                  <a:moveTo>
                    <a:pt x="74937" y="104912"/>
                  </a:moveTo>
                  <a:cubicBezTo>
                    <a:pt x="74937" y="114903"/>
                    <a:pt x="184844" y="134886"/>
                    <a:pt x="324727" y="134886"/>
                  </a:cubicBezTo>
                  <a:cubicBezTo>
                    <a:pt x="464609" y="134886"/>
                    <a:pt x="574516" y="124895"/>
                    <a:pt x="574516" y="104912"/>
                  </a:cubicBezTo>
                  <a:cubicBezTo>
                    <a:pt x="574516" y="84928"/>
                    <a:pt x="464609" y="74937"/>
                    <a:pt x="324727" y="74937"/>
                  </a:cubicBezTo>
                  <a:cubicBezTo>
                    <a:pt x="184844" y="74937"/>
                    <a:pt x="74937" y="84928"/>
                    <a:pt x="74937" y="104912"/>
                  </a:cubicBezTo>
                  <a:close/>
                  <a:moveTo>
                    <a:pt x="194836" y="94920"/>
                  </a:moveTo>
                  <a:cubicBezTo>
                    <a:pt x="194836" y="84928"/>
                    <a:pt x="254785" y="84928"/>
                    <a:pt x="324727" y="84928"/>
                  </a:cubicBezTo>
                  <a:cubicBezTo>
                    <a:pt x="394668" y="84928"/>
                    <a:pt x="454617" y="84928"/>
                    <a:pt x="454617" y="94920"/>
                  </a:cubicBezTo>
                  <a:cubicBezTo>
                    <a:pt x="454617" y="104912"/>
                    <a:pt x="394668" y="104912"/>
                    <a:pt x="324727" y="104912"/>
                  </a:cubicBezTo>
                  <a:cubicBezTo>
                    <a:pt x="254785" y="114903"/>
                    <a:pt x="194836" y="104912"/>
                    <a:pt x="194836" y="94920"/>
                  </a:cubicBezTo>
                  <a:close/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3" name="任意多边形: 形状 72">
              <a:extLst>
                <a:ext uri="{FF2B5EF4-FFF2-40B4-BE49-F238E27FC236}">
                  <a16:creationId xmlns:a16="http://schemas.microsoft.com/office/drawing/2014/main" id="{8600BD91-2013-4B7F-A8FF-9F3113A2106C}"/>
                </a:ext>
              </a:extLst>
            </p:cNvPr>
            <p:cNvSpPr/>
            <p:nvPr userDrawn="1"/>
          </p:nvSpPr>
          <p:spPr>
            <a:xfrm>
              <a:off x="2548762" y="5966242"/>
              <a:ext cx="584011" cy="194670"/>
            </a:xfrm>
            <a:custGeom>
              <a:avLst/>
              <a:gdLst>
                <a:gd name="connsiteX0" fmla="*/ 324727 w 599495"/>
                <a:gd name="connsiteY0" fmla="*/ 104912 h 199831"/>
                <a:gd name="connsiteX1" fmla="*/ 74937 w 599495"/>
                <a:gd name="connsiteY1" fmla="*/ 74937 h 199831"/>
                <a:gd name="connsiteX2" fmla="*/ 74937 w 599495"/>
                <a:gd name="connsiteY2" fmla="*/ 104912 h 199831"/>
                <a:gd name="connsiteX3" fmla="*/ 74937 w 599495"/>
                <a:gd name="connsiteY3" fmla="*/ 104912 h 199831"/>
                <a:gd name="connsiteX4" fmla="*/ 74937 w 599495"/>
                <a:gd name="connsiteY4" fmla="*/ 104912 h 199831"/>
                <a:gd name="connsiteX5" fmla="*/ 74937 w 599495"/>
                <a:gd name="connsiteY5" fmla="*/ 104912 h 199831"/>
                <a:gd name="connsiteX6" fmla="*/ 74937 w 599495"/>
                <a:gd name="connsiteY6" fmla="*/ 104912 h 199831"/>
                <a:gd name="connsiteX7" fmla="*/ 324727 w 599495"/>
                <a:gd name="connsiteY7" fmla="*/ 134886 h 199831"/>
                <a:gd name="connsiteX8" fmla="*/ 574516 w 599495"/>
                <a:gd name="connsiteY8" fmla="*/ 104912 h 199831"/>
                <a:gd name="connsiteX9" fmla="*/ 574516 w 599495"/>
                <a:gd name="connsiteY9" fmla="*/ 104912 h 199831"/>
                <a:gd name="connsiteX10" fmla="*/ 574516 w 599495"/>
                <a:gd name="connsiteY10" fmla="*/ 84929 h 199831"/>
                <a:gd name="connsiteX11" fmla="*/ 324727 w 599495"/>
                <a:gd name="connsiteY11" fmla="*/ 104912 h 199831"/>
                <a:gd name="connsiteX12" fmla="*/ 74937 w 599495"/>
                <a:gd name="connsiteY12" fmla="*/ 84929 h 199831"/>
                <a:gd name="connsiteX13" fmla="*/ 74937 w 599495"/>
                <a:gd name="connsiteY13" fmla="*/ 84929 h 199831"/>
                <a:gd name="connsiteX14" fmla="*/ 74937 w 599495"/>
                <a:gd name="connsiteY14" fmla="*/ 84929 h 199831"/>
                <a:gd name="connsiteX15" fmla="*/ 74937 w 599495"/>
                <a:gd name="connsiteY15" fmla="*/ 84929 h 199831"/>
                <a:gd name="connsiteX16" fmla="*/ 74937 w 599495"/>
                <a:gd name="connsiteY16" fmla="*/ 84929 h 199831"/>
                <a:gd name="connsiteX17" fmla="*/ 74937 w 599495"/>
                <a:gd name="connsiteY17" fmla="*/ 84929 h 199831"/>
                <a:gd name="connsiteX18" fmla="*/ 74937 w 599495"/>
                <a:gd name="connsiteY18" fmla="*/ 84929 h 199831"/>
                <a:gd name="connsiteX19" fmla="*/ 74937 w 599495"/>
                <a:gd name="connsiteY19" fmla="*/ 84929 h 199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599495" h="199831">
                  <a:moveTo>
                    <a:pt x="324727" y="104912"/>
                  </a:moveTo>
                  <a:cubicBezTo>
                    <a:pt x="184844" y="104912"/>
                    <a:pt x="74937" y="94920"/>
                    <a:pt x="74937" y="74937"/>
                  </a:cubicBezTo>
                  <a:lnTo>
                    <a:pt x="74937" y="104912"/>
                  </a:lnTo>
                  <a:lnTo>
                    <a:pt x="74937" y="104912"/>
                  </a:lnTo>
                  <a:cubicBezTo>
                    <a:pt x="74937" y="104912"/>
                    <a:pt x="74937" y="104912"/>
                    <a:pt x="74937" y="104912"/>
                  </a:cubicBezTo>
                  <a:lnTo>
                    <a:pt x="74937" y="104912"/>
                  </a:lnTo>
                  <a:lnTo>
                    <a:pt x="74937" y="104912"/>
                  </a:lnTo>
                  <a:cubicBezTo>
                    <a:pt x="74937" y="124895"/>
                    <a:pt x="184844" y="134886"/>
                    <a:pt x="324727" y="134886"/>
                  </a:cubicBezTo>
                  <a:cubicBezTo>
                    <a:pt x="464609" y="134886"/>
                    <a:pt x="564525" y="124895"/>
                    <a:pt x="574516" y="104912"/>
                  </a:cubicBezTo>
                  <a:lnTo>
                    <a:pt x="574516" y="104912"/>
                  </a:lnTo>
                  <a:lnTo>
                    <a:pt x="574516" y="84929"/>
                  </a:lnTo>
                  <a:cubicBezTo>
                    <a:pt x="564525" y="94920"/>
                    <a:pt x="454617" y="104912"/>
                    <a:pt x="324727" y="104912"/>
                  </a:cubicBezTo>
                  <a:close/>
                  <a:moveTo>
                    <a:pt x="74937" y="84929"/>
                  </a:moveTo>
                  <a:lnTo>
                    <a:pt x="74937" y="84929"/>
                  </a:lnTo>
                  <a:cubicBezTo>
                    <a:pt x="74937" y="84929"/>
                    <a:pt x="74937" y="84929"/>
                    <a:pt x="74937" y="84929"/>
                  </a:cubicBezTo>
                  <a:lnTo>
                    <a:pt x="74937" y="84929"/>
                  </a:lnTo>
                  <a:close/>
                  <a:moveTo>
                    <a:pt x="74937" y="84929"/>
                  </a:moveTo>
                  <a:lnTo>
                    <a:pt x="74937" y="84929"/>
                  </a:lnTo>
                  <a:lnTo>
                    <a:pt x="74937" y="84929"/>
                  </a:lnTo>
                  <a:lnTo>
                    <a:pt x="74937" y="84929"/>
                  </a:lnTo>
                  <a:close/>
                </a:path>
              </a:pathLst>
            </a:custGeom>
            <a:solidFill>
              <a:schemeClr val="tx2">
                <a:lumMod val="20000"/>
                <a:lumOff val="8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4" name="任意多边形: 形状 73">
              <a:extLst>
                <a:ext uri="{FF2B5EF4-FFF2-40B4-BE49-F238E27FC236}">
                  <a16:creationId xmlns:a16="http://schemas.microsoft.com/office/drawing/2014/main" id="{7A7822B2-F6A0-483B-A2CE-BB3FB3432AA2}"/>
                </a:ext>
              </a:extLst>
            </p:cNvPr>
            <p:cNvSpPr/>
            <p:nvPr userDrawn="1"/>
          </p:nvSpPr>
          <p:spPr>
            <a:xfrm>
              <a:off x="2694764" y="5907842"/>
              <a:ext cx="194670" cy="194670"/>
            </a:xfrm>
            <a:custGeom>
              <a:avLst/>
              <a:gdLst>
                <a:gd name="connsiteX0" fmla="*/ 74937 w 199831"/>
                <a:gd name="connsiteY0" fmla="*/ 74937 h 199831"/>
                <a:gd name="connsiteX1" fmla="*/ 174853 w 199831"/>
                <a:gd name="connsiteY1" fmla="*/ 74937 h 199831"/>
                <a:gd name="connsiteX2" fmla="*/ 174853 w 199831"/>
                <a:gd name="connsiteY2" fmla="*/ 144878 h 199831"/>
                <a:gd name="connsiteX3" fmla="*/ 74937 w 199831"/>
                <a:gd name="connsiteY3" fmla="*/ 144878 h 199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9831" h="199831">
                  <a:moveTo>
                    <a:pt x="74937" y="74937"/>
                  </a:moveTo>
                  <a:lnTo>
                    <a:pt x="174853" y="74937"/>
                  </a:lnTo>
                  <a:lnTo>
                    <a:pt x="174853" y="144878"/>
                  </a:lnTo>
                  <a:lnTo>
                    <a:pt x="74937" y="144878"/>
                  </a:lnTo>
                  <a:close/>
                </a:path>
              </a:pathLst>
            </a:custGeom>
            <a:solidFill>
              <a:schemeClr val="tx2">
                <a:lumMod val="20000"/>
                <a:lumOff val="8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  <p:sp>
        <p:nvSpPr>
          <p:cNvPr id="75" name="矩形 74">
            <a:extLst>
              <a:ext uri="{FF2B5EF4-FFF2-40B4-BE49-F238E27FC236}">
                <a16:creationId xmlns:a16="http://schemas.microsoft.com/office/drawing/2014/main" id="{5F835235-D327-41D2-BF40-056FDB752948}"/>
              </a:ext>
            </a:extLst>
          </p:cNvPr>
          <p:cNvSpPr/>
          <p:nvPr userDrawn="1"/>
        </p:nvSpPr>
        <p:spPr>
          <a:xfrm>
            <a:off x="0" y="4355505"/>
            <a:ext cx="12192000" cy="2502496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8533342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>
            <a:extLst>
              <a:ext uri="{FF2B5EF4-FFF2-40B4-BE49-F238E27FC236}">
                <a16:creationId xmlns:a16="http://schemas.microsoft.com/office/drawing/2014/main" id="{9888B6D7-9D3F-49D7-BACE-73A9D1149A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pPr/>
              <a:t>2019/9/1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7AC997A4-1DD8-4731-B9FD-42398A20FF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DBA9825E-1876-42AD-ABCF-E0E100F351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6" name="标题 5">
            <a:extLst>
              <a:ext uri="{FF2B5EF4-FFF2-40B4-BE49-F238E27FC236}">
                <a16:creationId xmlns:a16="http://schemas.microsoft.com/office/drawing/2014/main" id="{D124F9DB-C87A-423F-9657-38C7A29014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>
            <a:extLst>
              <a:ext uri="{FF2B5EF4-FFF2-40B4-BE49-F238E27FC236}">
                <a16:creationId xmlns:a16="http://schemas.microsoft.com/office/drawing/2014/main" id="{2070191C-4093-409C-8FD5-7369A79637A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6775934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1C7A1C-3684-4AAF-A408-C63B6CB641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986EA5F-D77D-4318-90E9-C04AA8ADC0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pPr/>
              <a:t>2019/9/1</a:t>
            </a:fld>
            <a:endParaRPr lang="zh-CN" alt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0832621-D9D9-445E-BFF9-F8348FA1E2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371151B-F790-4A9F-962F-B8718A9560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8417621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bg>
      <p:bgPr>
        <a:solidFill>
          <a:srgbClr val="FAFAF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组合 1">
            <a:extLst>
              <a:ext uri="{FF2B5EF4-FFF2-40B4-BE49-F238E27FC236}">
                <a16:creationId xmlns:a16="http://schemas.microsoft.com/office/drawing/2014/main" id="{2D7C9440-1CB7-4ADF-9598-708C8463EF15}"/>
              </a:ext>
            </a:extLst>
          </p:cNvPr>
          <p:cNvGrpSpPr/>
          <p:nvPr userDrawn="1"/>
        </p:nvGrpSpPr>
        <p:grpSpPr>
          <a:xfrm>
            <a:off x="171893" y="5305645"/>
            <a:ext cx="1220972" cy="1275907"/>
            <a:chOff x="1775488" y="3250592"/>
            <a:chExt cx="3644659" cy="3348329"/>
          </a:xfrm>
        </p:grpSpPr>
        <p:sp>
          <p:nvSpPr>
            <p:cNvPr id="3" name="任意多边形: 形状 2">
              <a:extLst>
                <a:ext uri="{FF2B5EF4-FFF2-40B4-BE49-F238E27FC236}">
                  <a16:creationId xmlns:a16="http://schemas.microsoft.com/office/drawing/2014/main" id="{9507A7B7-1D1F-449B-9734-91FE014A149D}"/>
                </a:ext>
              </a:extLst>
            </p:cNvPr>
            <p:cNvSpPr/>
            <p:nvPr userDrawn="1"/>
          </p:nvSpPr>
          <p:spPr>
            <a:xfrm>
              <a:off x="4816670" y="6345849"/>
              <a:ext cx="584011" cy="194670"/>
            </a:xfrm>
            <a:custGeom>
              <a:avLst/>
              <a:gdLst>
                <a:gd name="connsiteX0" fmla="*/ 554533 w 599495"/>
                <a:gd name="connsiteY0" fmla="*/ 124895 h 199831"/>
                <a:gd name="connsiteX1" fmla="*/ 314735 w 599495"/>
                <a:gd name="connsiteY1" fmla="*/ 174853 h 199831"/>
                <a:gd name="connsiteX2" fmla="*/ 74937 w 599495"/>
                <a:gd name="connsiteY2" fmla="*/ 124895 h 199831"/>
                <a:gd name="connsiteX3" fmla="*/ 314735 w 599495"/>
                <a:gd name="connsiteY3" fmla="*/ 74937 h 199831"/>
                <a:gd name="connsiteX4" fmla="*/ 554533 w 599495"/>
                <a:gd name="connsiteY4" fmla="*/ 124895 h 199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99495" h="199831">
                  <a:moveTo>
                    <a:pt x="554533" y="124895"/>
                  </a:moveTo>
                  <a:cubicBezTo>
                    <a:pt x="554533" y="154870"/>
                    <a:pt x="444626" y="174853"/>
                    <a:pt x="314735" y="174853"/>
                  </a:cubicBezTo>
                  <a:cubicBezTo>
                    <a:pt x="184844" y="174853"/>
                    <a:pt x="74937" y="154870"/>
                    <a:pt x="74937" y="124895"/>
                  </a:cubicBezTo>
                  <a:cubicBezTo>
                    <a:pt x="74937" y="94920"/>
                    <a:pt x="184844" y="74937"/>
                    <a:pt x="314735" y="74937"/>
                  </a:cubicBezTo>
                  <a:cubicBezTo>
                    <a:pt x="444626" y="74937"/>
                    <a:pt x="554533" y="84929"/>
                    <a:pt x="554533" y="124895"/>
                  </a:cubicBezTo>
                  <a:close/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" name="任意多边形: 形状 3">
              <a:extLst>
                <a:ext uri="{FF2B5EF4-FFF2-40B4-BE49-F238E27FC236}">
                  <a16:creationId xmlns:a16="http://schemas.microsoft.com/office/drawing/2014/main" id="{20EA4357-2E04-4B64-8375-EC757C28C773}"/>
                </a:ext>
              </a:extLst>
            </p:cNvPr>
            <p:cNvSpPr/>
            <p:nvPr userDrawn="1"/>
          </p:nvSpPr>
          <p:spPr>
            <a:xfrm>
              <a:off x="4816670" y="6404251"/>
              <a:ext cx="584011" cy="194670"/>
            </a:xfrm>
            <a:custGeom>
              <a:avLst/>
              <a:gdLst>
                <a:gd name="connsiteX0" fmla="*/ 554533 w 599495"/>
                <a:gd name="connsiteY0" fmla="*/ 74937 h 199831"/>
                <a:gd name="connsiteX1" fmla="*/ 314735 w 599495"/>
                <a:gd name="connsiteY1" fmla="*/ 124895 h 199831"/>
                <a:gd name="connsiteX2" fmla="*/ 74937 w 599495"/>
                <a:gd name="connsiteY2" fmla="*/ 74937 h 199831"/>
                <a:gd name="connsiteX3" fmla="*/ 74937 w 599495"/>
                <a:gd name="connsiteY3" fmla="*/ 94920 h 199831"/>
                <a:gd name="connsiteX4" fmla="*/ 74937 w 599495"/>
                <a:gd name="connsiteY4" fmla="*/ 94920 h 199831"/>
                <a:gd name="connsiteX5" fmla="*/ 314735 w 599495"/>
                <a:gd name="connsiteY5" fmla="*/ 144878 h 199831"/>
                <a:gd name="connsiteX6" fmla="*/ 554533 w 599495"/>
                <a:gd name="connsiteY6" fmla="*/ 94920 h 199831"/>
                <a:gd name="connsiteX7" fmla="*/ 554533 w 599495"/>
                <a:gd name="connsiteY7" fmla="*/ 94920 h 199831"/>
                <a:gd name="connsiteX8" fmla="*/ 554533 w 599495"/>
                <a:gd name="connsiteY8" fmla="*/ 94920 h 199831"/>
                <a:gd name="connsiteX9" fmla="*/ 554533 w 599495"/>
                <a:gd name="connsiteY9" fmla="*/ 94920 h 199831"/>
                <a:gd name="connsiteX10" fmla="*/ 554533 w 599495"/>
                <a:gd name="connsiteY10" fmla="*/ 94920 h 199831"/>
                <a:gd name="connsiteX11" fmla="*/ 554533 w 599495"/>
                <a:gd name="connsiteY11" fmla="*/ 74937 h 199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99495" h="199831">
                  <a:moveTo>
                    <a:pt x="554533" y="74937"/>
                  </a:moveTo>
                  <a:cubicBezTo>
                    <a:pt x="534550" y="104912"/>
                    <a:pt x="434634" y="124895"/>
                    <a:pt x="314735" y="124895"/>
                  </a:cubicBezTo>
                  <a:cubicBezTo>
                    <a:pt x="184844" y="124895"/>
                    <a:pt x="74937" y="104912"/>
                    <a:pt x="74937" y="74937"/>
                  </a:cubicBezTo>
                  <a:cubicBezTo>
                    <a:pt x="74937" y="74937"/>
                    <a:pt x="74937" y="94920"/>
                    <a:pt x="74937" y="94920"/>
                  </a:cubicBezTo>
                  <a:lnTo>
                    <a:pt x="74937" y="94920"/>
                  </a:lnTo>
                  <a:cubicBezTo>
                    <a:pt x="74937" y="124895"/>
                    <a:pt x="184844" y="144878"/>
                    <a:pt x="314735" y="144878"/>
                  </a:cubicBezTo>
                  <a:cubicBezTo>
                    <a:pt x="444626" y="144878"/>
                    <a:pt x="554533" y="124895"/>
                    <a:pt x="554533" y="94920"/>
                  </a:cubicBezTo>
                  <a:lnTo>
                    <a:pt x="554533" y="94920"/>
                  </a:lnTo>
                  <a:lnTo>
                    <a:pt x="554533" y="94920"/>
                  </a:lnTo>
                  <a:cubicBezTo>
                    <a:pt x="554533" y="94920"/>
                    <a:pt x="554533" y="94920"/>
                    <a:pt x="554533" y="94920"/>
                  </a:cubicBezTo>
                  <a:cubicBezTo>
                    <a:pt x="554533" y="94920"/>
                    <a:pt x="554533" y="94920"/>
                    <a:pt x="554533" y="94920"/>
                  </a:cubicBezTo>
                  <a:cubicBezTo>
                    <a:pt x="554533" y="94920"/>
                    <a:pt x="554533" y="74937"/>
                    <a:pt x="554533" y="74937"/>
                  </a:cubicBezTo>
                  <a:close/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" name="任意多边形: 形状 4">
              <a:extLst>
                <a:ext uri="{FF2B5EF4-FFF2-40B4-BE49-F238E27FC236}">
                  <a16:creationId xmlns:a16="http://schemas.microsoft.com/office/drawing/2014/main" id="{D31132C1-9CA0-4116-8CC3-DEDBAA6F4A83}"/>
                </a:ext>
              </a:extLst>
            </p:cNvPr>
            <p:cNvSpPr/>
            <p:nvPr userDrawn="1"/>
          </p:nvSpPr>
          <p:spPr>
            <a:xfrm>
              <a:off x="4914005" y="5041559"/>
              <a:ext cx="194670" cy="1460026"/>
            </a:xfrm>
            <a:custGeom>
              <a:avLst/>
              <a:gdLst>
                <a:gd name="connsiteX0" fmla="*/ 204827 w 199831"/>
                <a:gd name="connsiteY0" fmla="*/ 1463768 h 1498738"/>
                <a:gd name="connsiteX1" fmla="*/ 134886 w 199831"/>
                <a:gd name="connsiteY1" fmla="*/ 1463768 h 1498738"/>
                <a:gd name="connsiteX2" fmla="*/ 134886 w 199831"/>
                <a:gd name="connsiteY2" fmla="*/ 1193995 h 1498738"/>
                <a:gd name="connsiteX3" fmla="*/ 84928 w 199831"/>
                <a:gd name="connsiteY3" fmla="*/ 1004155 h 1498738"/>
                <a:gd name="connsiteX4" fmla="*/ 74937 w 199831"/>
                <a:gd name="connsiteY4" fmla="*/ 74937 h 1498738"/>
                <a:gd name="connsiteX5" fmla="*/ 204827 w 199831"/>
                <a:gd name="connsiteY5" fmla="*/ 74937 h 1498738"/>
                <a:gd name="connsiteX6" fmla="*/ 204827 w 199831"/>
                <a:gd name="connsiteY6" fmla="*/ 1463768 h 14987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99831" h="1498738">
                  <a:moveTo>
                    <a:pt x="204827" y="1463768"/>
                  </a:moveTo>
                  <a:lnTo>
                    <a:pt x="134886" y="1463768"/>
                  </a:lnTo>
                  <a:lnTo>
                    <a:pt x="134886" y="1193995"/>
                  </a:lnTo>
                  <a:cubicBezTo>
                    <a:pt x="134886" y="1193995"/>
                    <a:pt x="94920" y="1084087"/>
                    <a:pt x="84928" y="1004155"/>
                  </a:cubicBezTo>
                  <a:cubicBezTo>
                    <a:pt x="84928" y="924222"/>
                    <a:pt x="84928" y="924222"/>
                    <a:pt x="74937" y="74937"/>
                  </a:cubicBezTo>
                  <a:cubicBezTo>
                    <a:pt x="74937" y="74937"/>
                    <a:pt x="144878" y="74937"/>
                    <a:pt x="204827" y="74937"/>
                  </a:cubicBezTo>
                  <a:cubicBezTo>
                    <a:pt x="214819" y="914230"/>
                    <a:pt x="204827" y="1463768"/>
                    <a:pt x="204827" y="1463768"/>
                  </a:cubicBezTo>
                  <a:close/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" name="任意多边形: 形状 5">
              <a:extLst>
                <a:ext uri="{FF2B5EF4-FFF2-40B4-BE49-F238E27FC236}">
                  <a16:creationId xmlns:a16="http://schemas.microsoft.com/office/drawing/2014/main" id="{46B3829B-8133-4667-A848-BFA1DB7171E2}"/>
                </a:ext>
              </a:extLst>
            </p:cNvPr>
            <p:cNvSpPr/>
            <p:nvPr userDrawn="1"/>
          </p:nvSpPr>
          <p:spPr>
            <a:xfrm>
              <a:off x="5128143" y="5061025"/>
              <a:ext cx="194670" cy="1460026"/>
            </a:xfrm>
            <a:custGeom>
              <a:avLst/>
              <a:gdLst>
                <a:gd name="connsiteX0" fmla="*/ 84928 w 199831"/>
                <a:gd name="connsiteY0" fmla="*/ 74937 h 1498738"/>
                <a:gd name="connsiteX1" fmla="*/ 94920 w 199831"/>
                <a:gd name="connsiteY1" fmla="*/ 1014146 h 1498738"/>
                <a:gd name="connsiteX2" fmla="*/ 74937 w 199831"/>
                <a:gd name="connsiteY2" fmla="*/ 1184003 h 1498738"/>
                <a:gd name="connsiteX3" fmla="*/ 74937 w 199831"/>
                <a:gd name="connsiteY3" fmla="*/ 1463768 h 1498738"/>
                <a:gd name="connsiteX4" fmla="*/ 94920 w 199831"/>
                <a:gd name="connsiteY4" fmla="*/ 1443784 h 1498738"/>
                <a:gd name="connsiteX5" fmla="*/ 94920 w 199831"/>
                <a:gd name="connsiteY5" fmla="*/ 1193995 h 1498738"/>
                <a:gd name="connsiteX6" fmla="*/ 134886 w 199831"/>
                <a:gd name="connsiteY6" fmla="*/ 1004155 h 1498738"/>
                <a:gd name="connsiteX7" fmla="*/ 134886 w 199831"/>
                <a:gd name="connsiteY7" fmla="*/ 74937 h 1498738"/>
                <a:gd name="connsiteX8" fmla="*/ 84928 w 199831"/>
                <a:gd name="connsiteY8" fmla="*/ 74937 h 14987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99831" h="1498738">
                  <a:moveTo>
                    <a:pt x="84928" y="74937"/>
                  </a:moveTo>
                  <a:cubicBezTo>
                    <a:pt x="84928" y="94920"/>
                    <a:pt x="94920" y="964188"/>
                    <a:pt x="94920" y="1014146"/>
                  </a:cubicBezTo>
                  <a:cubicBezTo>
                    <a:pt x="94920" y="1064104"/>
                    <a:pt x="84928" y="1144037"/>
                    <a:pt x="74937" y="1184003"/>
                  </a:cubicBezTo>
                  <a:cubicBezTo>
                    <a:pt x="74937" y="1223970"/>
                    <a:pt x="74937" y="1433793"/>
                    <a:pt x="74937" y="1463768"/>
                  </a:cubicBezTo>
                  <a:lnTo>
                    <a:pt x="94920" y="1443784"/>
                  </a:lnTo>
                  <a:cubicBezTo>
                    <a:pt x="94920" y="1443784"/>
                    <a:pt x="94920" y="1273928"/>
                    <a:pt x="94920" y="1193995"/>
                  </a:cubicBezTo>
                  <a:cubicBezTo>
                    <a:pt x="104912" y="1154028"/>
                    <a:pt x="134886" y="1094079"/>
                    <a:pt x="134886" y="1004155"/>
                  </a:cubicBezTo>
                  <a:cubicBezTo>
                    <a:pt x="134886" y="944205"/>
                    <a:pt x="134886" y="74937"/>
                    <a:pt x="134886" y="74937"/>
                  </a:cubicBezTo>
                  <a:lnTo>
                    <a:pt x="84928" y="74937"/>
                  </a:lnTo>
                  <a:close/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" name="任意多边形: 形状 6">
              <a:extLst>
                <a:ext uri="{FF2B5EF4-FFF2-40B4-BE49-F238E27FC236}">
                  <a16:creationId xmlns:a16="http://schemas.microsoft.com/office/drawing/2014/main" id="{F6B0C28F-AE5F-481E-AF54-2CBCB4C53AE1}"/>
                </a:ext>
              </a:extLst>
            </p:cNvPr>
            <p:cNvSpPr/>
            <p:nvPr userDrawn="1"/>
          </p:nvSpPr>
          <p:spPr>
            <a:xfrm>
              <a:off x="5040541" y="5051292"/>
              <a:ext cx="194670" cy="1460026"/>
            </a:xfrm>
            <a:custGeom>
              <a:avLst/>
              <a:gdLst>
                <a:gd name="connsiteX0" fmla="*/ 84928 w 199831"/>
                <a:gd name="connsiteY0" fmla="*/ 84929 h 1498738"/>
                <a:gd name="connsiteX1" fmla="*/ 154870 w 199831"/>
                <a:gd name="connsiteY1" fmla="*/ 74937 h 1498738"/>
                <a:gd name="connsiteX2" fmla="*/ 164861 w 199831"/>
                <a:gd name="connsiteY2" fmla="*/ 1024138 h 1498738"/>
                <a:gd name="connsiteX3" fmla="*/ 144878 w 199831"/>
                <a:gd name="connsiteY3" fmla="*/ 1193995 h 1498738"/>
                <a:gd name="connsiteX4" fmla="*/ 144878 w 199831"/>
                <a:gd name="connsiteY4" fmla="*/ 1463768 h 1498738"/>
                <a:gd name="connsiteX5" fmla="*/ 74937 w 199831"/>
                <a:gd name="connsiteY5" fmla="*/ 1473759 h 1498738"/>
                <a:gd name="connsiteX6" fmla="*/ 84928 w 199831"/>
                <a:gd name="connsiteY6" fmla="*/ 84929 h 14987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99831" h="1498738">
                  <a:moveTo>
                    <a:pt x="84928" y="84929"/>
                  </a:moveTo>
                  <a:lnTo>
                    <a:pt x="154870" y="74937"/>
                  </a:lnTo>
                  <a:cubicBezTo>
                    <a:pt x="154870" y="74937"/>
                    <a:pt x="164861" y="964188"/>
                    <a:pt x="164861" y="1024138"/>
                  </a:cubicBezTo>
                  <a:cubicBezTo>
                    <a:pt x="164861" y="1074096"/>
                    <a:pt x="154870" y="1154028"/>
                    <a:pt x="144878" y="1193995"/>
                  </a:cubicBezTo>
                  <a:cubicBezTo>
                    <a:pt x="144878" y="1233961"/>
                    <a:pt x="144878" y="1463768"/>
                    <a:pt x="144878" y="1463768"/>
                  </a:cubicBezTo>
                  <a:lnTo>
                    <a:pt x="74937" y="1473759"/>
                  </a:lnTo>
                  <a:lnTo>
                    <a:pt x="84928" y="84929"/>
                  </a:lnTo>
                  <a:close/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" name="任意多边形: 形状 7">
              <a:extLst>
                <a:ext uri="{FF2B5EF4-FFF2-40B4-BE49-F238E27FC236}">
                  <a16:creationId xmlns:a16="http://schemas.microsoft.com/office/drawing/2014/main" id="{F2F4340B-37B5-4D74-9359-ADA5665DD501}"/>
                </a:ext>
              </a:extLst>
            </p:cNvPr>
            <p:cNvSpPr/>
            <p:nvPr userDrawn="1"/>
          </p:nvSpPr>
          <p:spPr>
            <a:xfrm>
              <a:off x="4894538" y="5041559"/>
              <a:ext cx="389340" cy="194670"/>
            </a:xfrm>
            <a:custGeom>
              <a:avLst/>
              <a:gdLst>
                <a:gd name="connsiteX0" fmla="*/ 394668 w 399663"/>
                <a:gd name="connsiteY0" fmla="*/ 74937 h 199831"/>
                <a:gd name="connsiteX1" fmla="*/ 74937 w 399663"/>
                <a:gd name="connsiteY1" fmla="*/ 74937 h 199831"/>
                <a:gd name="connsiteX2" fmla="*/ 74937 w 399663"/>
                <a:gd name="connsiteY2" fmla="*/ 84929 h 199831"/>
                <a:gd name="connsiteX3" fmla="*/ 74937 w 399663"/>
                <a:gd name="connsiteY3" fmla="*/ 94920 h 199831"/>
                <a:gd name="connsiteX4" fmla="*/ 84928 w 399663"/>
                <a:gd name="connsiteY4" fmla="*/ 94920 h 199831"/>
                <a:gd name="connsiteX5" fmla="*/ 84928 w 399663"/>
                <a:gd name="connsiteY5" fmla="*/ 124895 h 199831"/>
                <a:gd name="connsiteX6" fmla="*/ 74937 w 399663"/>
                <a:gd name="connsiteY6" fmla="*/ 124895 h 199831"/>
                <a:gd name="connsiteX7" fmla="*/ 74937 w 399663"/>
                <a:gd name="connsiteY7" fmla="*/ 134886 h 199831"/>
                <a:gd name="connsiteX8" fmla="*/ 74937 w 399663"/>
                <a:gd name="connsiteY8" fmla="*/ 144878 h 199831"/>
                <a:gd name="connsiteX9" fmla="*/ 84928 w 399663"/>
                <a:gd name="connsiteY9" fmla="*/ 144878 h 199831"/>
                <a:gd name="connsiteX10" fmla="*/ 84928 w 399663"/>
                <a:gd name="connsiteY10" fmla="*/ 164861 h 199831"/>
                <a:gd name="connsiteX11" fmla="*/ 74937 w 399663"/>
                <a:gd name="connsiteY11" fmla="*/ 164861 h 199831"/>
                <a:gd name="connsiteX12" fmla="*/ 74937 w 399663"/>
                <a:gd name="connsiteY12" fmla="*/ 174853 h 199831"/>
                <a:gd name="connsiteX13" fmla="*/ 74937 w 399663"/>
                <a:gd name="connsiteY13" fmla="*/ 184844 h 199831"/>
                <a:gd name="connsiteX14" fmla="*/ 394668 w 399663"/>
                <a:gd name="connsiteY14" fmla="*/ 184844 h 199831"/>
                <a:gd name="connsiteX15" fmla="*/ 394668 w 399663"/>
                <a:gd name="connsiteY15" fmla="*/ 174853 h 199831"/>
                <a:gd name="connsiteX16" fmla="*/ 394668 w 399663"/>
                <a:gd name="connsiteY16" fmla="*/ 164861 h 199831"/>
                <a:gd name="connsiteX17" fmla="*/ 384676 w 399663"/>
                <a:gd name="connsiteY17" fmla="*/ 164861 h 199831"/>
                <a:gd name="connsiteX18" fmla="*/ 384676 w 399663"/>
                <a:gd name="connsiteY18" fmla="*/ 144878 h 199831"/>
                <a:gd name="connsiteX19" fmla="*/ 394668 w 399663"/>
                <a:gd name="connsiteY19" fmla="*/ 144878 h 199831"/>
                <a:gd name="connsiteX20" fmla="*/ 394668 w 399663"/>
                <a:gd name="connsiteY20" fmla="*/ 134886 h 199831"/>
                <a:gd name="connsiteX21" fmla="*/ 394668 w 399663"/>
                <a:gd name="connsiteY21" fmla="*/ 124895 h 199831"/>
                <a:gd name="connsiteX22" fmla="*/ 384676 w 399663"/>
                <a:gd name="connsiteY22" fmla="*/ 124895 h 199831"/>
                <a:gd name="connsiteX23" fmla="*/ 384676 w 399663"/>
                <a:gd name="connsiteY23" fmla="*/ 94920 h 199831"/>
                <a:gd name="connsiteX24" fmla="*/ 394668 w 399663"/>
                <a:gd name="connsiteY24" fmla="*/ 94920 h 199831"/>
                <a:gd name="connsiteX25" fmla="*/ 394668 w 399663"/>
                <a:gd name="connsiteY25" fmla="*/ 74937 h 199831"/>
                <a:gd name="connsiteX26" fmla="*/ 394668 w 399663"/>
                <a:gd name="connsiteY26" fmla="*/ 74937 h 199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399663" h="199831">
                  <a:moveTo>
                    <a:pt x="394668" y="74937"/>
                  </a:moveTo>
                  <a:lnTo>
                    <a:pt x="74937" y="74937"/>
                  </a:lnTo>
                  <a:cubicBezTo>
                    <a:pt x="74937" y="74937"/>
                    <a:pt x="74937" y="74937"/>
                    <a:pt x="74937" y="84929"/>
                  </a:cubicBezTo>
                  <a:cubicBezTo>
                    <a:pt x="74937" y="84929"/>
                    <a:pt x="74937" y="94920"/>
                    <a:pt x="74937" y="94920"/>
                  </a:cubicBezTo>
                  <a:lnTo>
                    <a:pt x="84928" y="94920"/>
                  </a:lnTo>
                  <a:lnTo>
                    <a:pt x="84928" y="124895"/>
                  </a:lnTo>
                  <a:lnTo>
                    <a:pt x="74937" y="124895"/>
                  </a:lnTo>
                  <a:cubicBezTo>
                    <a:pt x="74937" y="124895"/>
                    <a:pt x="74937" y="124895"/>
                    <a:pt x="74937" y="134886"/>
                  </a:cubicBezTo>
                  <a:cubicBezTo>
                    <a:pt x="74937" y="134886"/>
                    <a:pt x="74937" y="144878"/>
                    <a:pt x="74937" y="144878"/>
                  </a:cubicBezTo>
                  <a:lnTo>
                    <a:pt x="84928" y="144878"/>
                  </a:lnTo>
                  <a:lnTo>
                    <a:pt x="84928" y="164861"/>
                  </a:lnTo>
                  <a:lnTo>
                    <a:pt x="74937" y="164861"/>
                  </a:lnTo>
                  <a:cubicBezTo>
                    <a:pt x="74937" y="164861"/>
                    <a:pt x="74937" y="164861"/>
                    <a:pt x="74937" y="174853"/>
                  </a:cubicBezTo>
                  <a:cubicBezTo>
                    <a:pt x="74937" y="174853"/>
                    <a:pt x="74937" y="184844"/>
                    <a:pt x="74937" y="184844"/>
                  </a:cubicBezTo>
                  <a:lnTo>
                    <a:pt x="394668" y="184844"/>
                  </a:lnTo>
                  <a:cubicBezTo>
                    <a:pt x="394668" y="184844"/>
                    <a:pt x="394668" y="184844"/>
                    <a:pt x="394668" y="174853"/>
                  </a:cubicBezTo>
                  <a:cubicBezTo>
                    <a:pt x="394668" y="174853"/>
                    <a:pt x="394668" y="164861"/>
                    <a:pt x="394668" y="164861"/>
                  </a:cubicBezTo>
                  <a:lnTo>
                    <a:pt x="384676" y="164861"/>
                  </a:lnTo>
                  <a:lnTo>
                    <a:pt x="384676" y="144878"/>
                  </a:lnTo>
                  <a:lnTo>
                    <a:pt x="394668" y="144878"/>
                  </a:lnTo>
                  <a:cubicBezTo>
                    <a:pt x="394668" y="144878"/>
                    <a:pt x="394668" y="144878"/>
                    <a:pt x="394668" y="134886"/>
                  </a:cubicBezTo>
                  <a:cubicBezTo>
                    <a:pt x="394668" y="134886"/>
                    <a:pt x="394668" y="124895"/>
                    <a:pt x="394668" y="124895"/>
                  </a:cubicBezTo>
                  <a:lnTo>
                    <a:pt x="384676" y="124895"/>
                  </a:lnTo>
                  <a:lnTo>
                    <a:pt x="384676" y="94920"/>
                  </a:lnTo>
                  <a:lnTo>
                    <a:pt x="394668" y="94920"/>
                  </a:lnTo>
                  <a:cubicBezTo>
                    <a:pt x="394668" y="94920"/>
                    <a:pt x="404659" y="94920"/>
                    <a:pt x="394668" y="74937"/>
                  </a:cubicBezTo>
                  <a:cubicBezTo>
                    <a:pt x="404659" y="84929"/>
                    <a:pt x="394668" y="74937"/>
                    <a:pt x="394668" y="74937"/>
                  </a:cubicBezTo>
                  <a:close/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" name="任意多边形: 形状 8">
              <a:extLst>
                <a:ext uri="{FF2B5EF4-FFF2-40B4-BE49-F238E27FC236}">
                  <a16:creationId xmlns:a16="http://schemas.microsoft.com/office/drawing/2014/main" id="{E1165EF6-3C80-4711-8624-91E63209FFC5}"/>
                </a:ext>
              </a:extLst>
            </p:cNvPr>
            <p:cNvSpPr/>
            <p:nvPr userDrawn="1"/>
          </p:nvSpPr>
          <p:spPr>
            <a:xfrm>
              <a:off x="4845870" y="4360213"/>
              <a:ext cx="486676" cy="1654698"/>
            </a:xfrm>
            <a:custGeom>
              <a:avLst/>
              <a:gdLst>
                <a:gd name="connsiteX0" fmla="*/ 74937 w 499579"/>
                <a:gd name="connsiteY0" fmla="*/ 1663599 h 1698569"/>
                <a:gd name="connsiteX1" fmla="*/ 74937 w 499579"/>
                <a:gd name="connsiteY1" fmla="*/ 84929 h 1698569"/>
                <a:gd name="connsiteX2" fmla="*/ 84929 w 499579"/>
                <a:gd name="connsiteY2" fmla="*/ 74937 h 1698569"/>
                <a:gd name="connsiteX3" fmla="*/ 84929 w 499579"/>
                <a:gd name="connsiteY3" fmla="*/ 74937 h 1698569"/>
                <a:gd name="connsiteX4" fmla="*/ 474600 w 499579"/>
                <a:gd name="connsiteY4" fmla="*/ 74937 h 1698569"/>
                <a:gd name="connsiteX5" fmla="*/ 484592 w 499579"/>
                <a:gd name="connsiteY5" fmla="*/ 74937 h 1698569"/>
                <a:gd name="connsiteX6" fmla="*/ 484592 w 499579"/>
                <a:gd name="connsiteY6" fmla="*/ 74937 h 1698569"/>
                <a:gd name="connsiteX7" fmla="*/ 484592 w 499579"/>
                <a:gd name="connsiteY7" fmla="*/ 84929 h 1698569"/>
                <a:gd name="connsiteX8" fmla="*/ 484592 w 499579"/>
                <a:gd name="connsiteY8" fmla="*/ 84929 h 1698569"/>
                <a:gd name="connsiteX9" fmla="*/ 484592 w 499579"/>
                <a:gd name="connsiteY9" fmla="*/ 1663599 h 1698569"/>
                <a:gd name="connsiteX10" fmla="*/ 484592 w 499579"/>
                <a:gd name="connsiteY10" fmla="*/ 1673591 h 1698569"/>
                <a:gd name="connsiteX11" fmla="*/ 484592 w 499579"/>
                <a:gd name="connsiteY11" fmla="*/ 1673591 h 1698569"/>
                <a:gd name="connsiteX12" fmla="*/ 414651 w 499579"/>
                <a:gd name="connsiteY12" fmla="*/ 1693574 h 1698569"/>
                <a:gd name="connsiteX13" fmla="*/ 414651 w 499579"/>
                <a:gd name="connsiteY13" fmla="*/ 1693574 h 1698569"/>
                <a:gd name="connsiteX14" fmla="*/ 284760 w 499579"/>
                <a:gd name="connsiteY14" fmla="*/ 1703566 h 1698569"/>
                <a:gd name="connsiteX15" fmla="*/ 284760 w 499579"/>
                <a:gd name="connsiteY15" fmla="*/ 1703566 h 1698569"/>
                <a:gd name="connsiteX16" fmla="*/ 154870 w 499579"/>
                <a:gd name="connsiteY16" fmla="*/ 1693574 h 1698569"/>
                <a:gd name="connsiteX17" fmla="*/ 154870 w 499579"/>
                <a:gd name="connsiteY17" fmla="*/ 1693574 h 1698569"/>
                <a:gd name="connsiteX18" fmla="*/ 84929 w 499579"/>
                <a:gd name="connsiteY18" fmla="*/ 1683583 h 1698569"/>
                <a:gd name="connsiteX19" fmla="*/ 84929 w 499579"/>
                <a:gd name="connsiteY19" fmla="*/ 1683583 h 1698569"/>
                <a:gd name="connsiteX20" fmla="*/ 74937 w 499579"/>
                <a:gd name="connsiteY20" fmla="*/ 1663599 h 1698569"/>
                <a:gd name="connsiteX21" fmla="*/ 74937 w 499579"/>
                <a:gd name="connsiteY21" fmla="*/ 1663599 h 1698569"/>
                <a:gd name="connsiteX22" fmla="*/ 74937 w 499579"/>
                <a:gd name="connsiteY22" fmla="*/ 1663599 h 1698569"/>
                <a:gd name="connsiteX23" fmla="*/ 74937 w 499579"/>
                <a:gd name="connsiteY23" fmla="*/ 1663599 h 1698569"/>
                <a:gd name="connsiteX24" fmla="*/ 104912 w 499579"/>
                <a:gd name="connsiteY24" fmla="*/ 1653608 h 1698569"/>
                <a:gd name="connsiteX25" fmla="*/ 154870 w 499579"/>
                <a:gd name="connsiteY25" fmla="*/ 1663599 h 1698569"/>
                <a:gd name="connsiteX26" fmla="*/ 154870 w 499579"/>
                <a:gd name="connsiteY26" fmla="*/ 1663599 h 1698569"/>
                <a:gd name="connsiteX27" fmla="*/ 284760 w 499579"/>
                <a:gd name="connsiteY27" fmla="*/ 1673591 h 1698569"/>
                <a:gd name="connsiteX28" fmla="*/ 284760 w 499579"/>
                <a:gd name="connsiteY28" fmla="*/ 1673591 h 1698569"/>
                <a:gd name="connsiteX29" fmla="*/ 404659 w 499579"/>
                <a:gd name="connsiteY29" fmla="*/ 1663599 h 1698569"/>
                <a:gd name="connsiteX30" fmla="*/ 404659 w 499579"/>
                <a:gd name="connsiteY30" fmla="*/ 1663599 h 1698569"/>
                <a:gd name="connsiteX31" fmla="*/ 454617 w 499579"/>
                <a:gd name="connsiteY31" fmla="*/ 1653608 h 1698569"/>
                <a:gd name="connsiteX32" fmla="*/ 454617 w 499579"/>
                <a:gd name="connsiteY32" fmla="*/ 1653608 h 1698569"/>
                <a:gd name="connsiteX33" fmla="*/ 464609 w 499579"/>
                <a:gd name="connsiteY33" fmla="*/ 1653608 h 1698569"/>
                <a:gd name="connsiteX34" fmla="*/ 464609 w 499579"/>
                <a:gd name="connsiteY34" fmla="*/ 1653608 h 1698569"/>
                <a:gd name="connsiteX35" fmla="*/ 464609 w 499579"/>
                <a:gd name="connsiteY35" fmla="*/ 94920 h 1698569"/>
                <a:gd name="connsiteX36" fmla="*/ 104912 w 499579"/>
                <a:gd name="connsiteY36" fmla="*/ 94920 h 1698569"/>
                <a:gd name="connsiteX37" fmla="*/ 104912 w 499579"/>
                <a:gd name="connsiteY37" fmla="*/ 1653608 h 1698569"/>
                <a:gd name="connsiteX38" fmla="*/ 104912 w 499579"/>
                <a:gd name="connsiteY38" fmla="*/ 1653608 h 16985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499579" h="1698569">
                  <a:moveTo>
                    <a:pt x="74937" y="1663599"/>
                  </a:moveTo>
                  <a:lnTo>
                    <a:pt x="74937" y="84929"/>
                  </a:lnTo>
                  <a:cubicBezTo>
                    <a:pt x="74937" y="74937"/>
                    <a:pt x="74937" y="74937"/>
                    <a:pt x="84929" y="74937"/>
                  </a:cubicBezTo>
                  <a:lnTo>
                    <a:pt x="84929" y="74937"/>
                  </a:lnTo>
                  <a:lnTo>
                    <a:pt x="474600" y="74937"/>
                  </a:lnTo>
                  <a:cubicBezTo>
                    <a:pt x="474600" y="74937"/>
                    <a:pt x="484592" y="74937"/>
                    <a:pt x="484592" y="74937"/>
                  </a:cubicBezTo>
                  <a:lnTo>
                    <a:pt x="484592" y="74937"/>
                  </a:lnTo>
                  <a:cubicBezTo>
                    <a:pt x="484592" y="74937"/>
                    <a:pt x="484592" y="74937"/>
                    <a:pt x="484592" y="84929"/>
                  </a:cubicBezTo>
                  <a:lnTo>
                    <a:pt x="484592" y="84929"/>
                  </a:lnTo>
                  <a:lnTo>
                    <a:pt x="484592" y="1663599"/>
                  </a:lnTo>
                  <a:cubicBezTo>
                    <a:pt x="484592" y="1663599"/>
                    <a:pt x="484592" y="1673591"/>
                    <a:pt x="484592" y="1673591"/>
                  </a:cubicBezTo>
                  <a:lnTo>
                    <a:pt x="484592" y="1673591"/>
                  </a:lnTo>
                  <a:cubicBezTo>
                    <a:pt x="484592" y="1673591"/>
                    <a:pt x="464609" y="1683583"/>
                    <a:pt x="414651" y="1693574"/>
                  </a:cubicBezTo>
                  <a:lnTo>
                    <a:pt x="414651" y="1693574"/>
                  </a:lnTo>
                  <a:cubicBezTo>
                    <a:pt x="384676" y="1693574"/>
                    <a:pt x="344710" y="1703566"/>
                    <a:pt x="284760" y="1703566"/>
                  </a:cubicBezTo>
                  <a:lnTo>
                    <a:pt x="284760" y="1703566"/>
                  </a:lnTo>
                  <a:cubicBezTo>
                    <a:pt x="234802" y="1703566"/>
                    <a:pt x="184844" y="1703566"/>
                    <a:pt x="154870" y="1693574"/>
                  </a:cubicBezTo>
                  <a:lnTo>
                    <a:pt x="154870" y="1693574"/>
                  </a:lnTo>
                  <a:cubicBezTo>
                    <a:pt x="114903" y="1683583"/>
                    <a:pt x="84929" y="1683583"/>
                    <a:pt x="84929" y="1683583"/>
                  </a:cubicBezTo>
                  <a:lnTo>
                    <a:pt x="84929" y="1683583"/>
                  </a:lnTo>
                  <a:cubicBezTo>
                    <a:pt x="84929" y="1673591"/>
                    <a:pt x="84929" y="1673591"/>
                    <a:pt x="74937" y="1663599"/>
                  </a:cubicBezTo>
                  <a:lnTo>
                    <a:pt x="74937" y="1663599"/>
                  </a:lnTo>
                  <a:cubicBezTo>
                    <a:pt x="74937" y="1673591"/>
                    <a:pt x="74937" y="1663599"/>
                    <a:pt x="74937" y="1663599"/>
                  </a:cubicBezTo>
                  <a:lnTo>
                    <a:pt x="74937" y="1663599"/>
                  </a:lnTo>
                  <a:close/>
                  <a:moveTo>
                    <a:pt x="104912" y="1653608"/>
                  </a:moveTo>
                  <a:cubicBezTo>
                    <a:pt x="114903" y="1653608"/>
                    <a:pt x="134886" y="1663599"/>
                    <a:pt x="154870" y="1663599"/>
                  </a:cubicBezTo>
                  <a:lnTo>
                    <a:pt x="154870" y="1663599"/>
                  </a:lnTo>
                  <a:cubicBezTo>
                    <a:pt x="184844" y="1663599"/>
                    <a:pt x="234802" y="1673591"/>
                    <a:pt x="284760" y="1673591"/>
                  </a:cubicBezTo>
                  <a:lnTo>
                    <a:pt x="284760" y="1673591"/>
                  </a:lnTo>
                  <a:cubicBezTo>
                    <a:pt x="334718" y="1673591"/>
                    <a:pt x="374685" y="1673591"/>
                    <a:pt x="404659" y="1663599"/>
                  </a:cubicBezTo>
                  <a:lnTo>
                    <a:pt x="404659" y="1663599"/>
                  </a:lnTo>
                  <a:cubicBezTo>
                    <a:pt x="424642" y="1663599"/>
                    <a:pt x="444626" y="1653608"/>
                    <a:pt x="454617" y="1653608"/>
                  </a:cubicBezTo>
                  <a:lnTo>
                    <a:pt x="454617" y="1653608"/>
                  </a:lnTo>
                  <a:cubicBezTo>
                    <a:pt x="454617" y="1653608"/>
                    <a:pt x="464609" y="1653608"/>
                    <a:pt x="464609" y="1653608"/>
                  </a:cubicBezTo>
                  <a:lnTo>
                    <a:pt x="464609" y="1653608"/>
                  </a:lnTo>
                  <a:lnTo>
                    <a:pt x="464609" y="94920"/>
                  </a:lnTo>
                  <a:lnTo>
                    <a:pt x="104912" y="94920"/>
                  </a:lnTo>
                  <a:lnTo>
                    <a:pt x="104912" y="1653608"/>
                  </a:lnTo>
                  <a:lnTo>
                    <a:pt x="104912" y="1653608"/>
                  </a:lnTo>
                  <a:close/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" name="任意多边形: 形状 9">
              <a:extLst>
                <a:ext uri="{FF2B5EF4-FFF2-40B4-BE49-F238E27FC236}">
                  <a16:creationId xmlns:a16="http://schemas.microsoft.com/office/drawing/2014/main" id="{967A82D8-24B0-49B1-8547-FBE339099D55}"/>
                </a:ext>
              </a:extLst>
            </p:cNvPr>
            <p:cNvSpPr/>
            <p:nvPr userDrawn="1"/>
          </p:nvSpPr>
          <p:spPr>
            <a:xfrm>
              <a:off x="4845870" y="4194743"/>
              <a:ext cx="486676" cy="973352"/>
            </a:xfrm>
            <a:custGeom>
              <a:avLst/>
              <a:gdLst>
                <a:gd name="connsiteX0" fmla="*/ 74937 w 499579"/>
                <a:gd name="connsiteY0" fmla="*/ 254786 h 999158"/>
                <a:gd name="connsiteX1" fmla="*/ 74937 w 499579"/>
                <a:gd name="connsiteY1" fmla="*/ 254786 h 999158"/>
                <a:gd name="connsiteX2" fmla="*/ 74937 w 499579"/>
                <a:gd name="connsiteY2" fmla="*/ 254786 h 999158"/>
                <a:gd name="connsiteX3" fmla="*/ 84929 w 499579"/>
                <a:gd name="connsiteY3" fmla="*/ 234802 h 999158"/>
                <a:gd name="connsiteX4" fmla="*/ 84929 w 499579"/>
                <a:gd name="connsiteY4" fmla="*/ 234802 h 999158"/>
                <a:gd name="connsiteX5" fmla="*/ 114903 w 499579"/>
                <a:gd name="connsiteY5" fmla="*/ 224811 h 999158"/>
                <a:gd name="connsiteX6" fmla="*/ 114903 w 499579"/>
                <a:gd name="connsiteY6" fmla="*/ 224811 h 999158"/>
                <a:gd name="connsiteX7" fmla="*/ 214819 w 499579"/>
                <a:gd name="connsiteY7" fmla="*/ 204828 h 999158"/>
                <a:gd name="connsiteX8" fmla="*/ 214819 w 499579"/>
                <a:gd name="connsiteY8" fmla="*/ 204828 h 999158"/>
                <a:gd name="connsiteX9" fmla="*/ 224811 w 499579"/>
                <a:gd name="connsiteY9" fmla="*/ 204828 h 999158"/>
                <a:gd name="connsiteX10" fmla="*/ 224811 w 499579"/>
                <a:gd name="connsiteY10" fmla="*/ 204828 h 999158"/>
                <a:gd name="connsiteX11" fmla="*/ 224811 w 499579"/>
                <a:gd name="connsiteY11" fmla="*/ 94920 h 999158"/>
                <a:gd name="connsiteX12" fmla="*/ 224811 w 499579"/>
                <a:gd name="connsiteY12" fmla="*/ 94920 h 999158"/>
                <a:gd name="connsiteX13" fmla="*/ 224811 w 499579"/>
                <a:gd name="connsiteY13" fmla="*/ 74937 h 999158"/>
                <a:gd name="connsiteX14" fmla="*/ 354701 w 499579"/>
                <a:gd name="connsiteY14" fmla="*/ 74937 h 999158"/>
                <a:gd name="connsiteX15" fmla="*/ 354701 w 499579"/>
                <a:gd name="connsiteY15" fmla="*/ 84929 h 999158"/>
                <a:gd name="connsiteX16" fmla="*/ 354701 w 499579"/>
                <a:gd name="connsiteY16" fmla="*/ 194836 h 999158"/>
                <a:gd name="connsiteX17" fmla="*/ 354701 w 499579"/>
                <a:gd name="connsiteY17" fmla="*/ 194836 h 999158"/>
                <a:gd name="connsiteX18" fmla="*/ 354701 w 499579"/>
                <a:gd name="connsiteY18" fmla="*/ 194836 h 999158"/>
                <a:gd name="connsiteX19" fmla="*/ 354701 w 499579"/>
                <a:gd name="connsiteY19" fmla="*/ 194836 h 999158"/>
                <a:gd name="connsiteX20" fmla="*/ 364693 w 499579"/>
                <a:gd name="connsiteY20" fmla="*/ 194836 h 999158"/>
                <a:gd name="connsiteX21" fmla="*/ 364693 w 499579"/>
                <a:gd name="connsiteY21" fmla="*/ 194836 h 999158"/>
                <a:gd name="connsiteX22" fmla="*/ 404659 w 499579"/>
                <a:gd name="connsiteY22" fmla="*/ 204828 h 999158"/>
                <a:gd name="connsiteX23" fmla="*/ 404659 w 499579"/>
                <a:gd name="connsiteY23" fmla="*/ 204828 h 999158"/>
                <a:gd name="connsiteX24" fmla="*/ 484592 w 499579"/>
                <a:gd name="connsiteY24" fmla="*/ 224811 h 999158"/>
                <a:gd name="connsiteX25" fmla="*/ 484592 w 499579"/>
                <a:gd name="connsiteY25" fmla="*/ 224811 h 999158"/>
                <a:gd name="connsiteX26" fmla="*/ 494584 w 499579"/>
                <a:gd name="connsiteY26" fmla="*/ 234802 h 999158"/>
                <a:gd name="connsiteX27" fmla="*/ 494584 w 499579"/>
                <a:gd name="connsiteY27" fmla="*/ 234802 h 999158"/>
                <a:gd name="connsiteX28" fmla="*/ 494584 w 499579"/>
                <a:gd name="connsiteY28" fmla="*/ 234802 h 999158"/>
                <a:gd name="connsiteX29" fmla="*/ 494584 w 499579"/>
                <a:gd name="connsiteY29" fmla="*/ 934213 h 999158"/>
                <a:gd name="connsiteX30" fmla="*/ 484592 w 499579"/>
                <a:gd name="connsiteY30" fmla="*/ 934213 h 999158"/>
                <a:gd name="connsiteX31" fmla="*/ 494584 w 499579"/>
                <a:gd name="connsiteY31" fmla="*/ 934213 h 999158"/>
                <a:gd name="connsiteX32" fmla="*/ 494584 w 499579"/>
                <a:gd name="connsiteY32" fmla="*/ 944205 h 999158"/>
                <a:gd name="connsiteX33" fmla="*/ 84929 w 499579"/>
                <a:gd name="connsiteY33" fmla="*/ 944205 h 999158"/>
                <a:gd name="connsiteX34" fmla="*/ 74937 w 499579"/>
                <a:gd name="connsiteY34" fmla="*/ 254786 h 999158"/>
                <a:gd name="connsiteX35" fmla="*/ 74937 w 499579"/>
                <a:gd name="connsiteY35" fmla="*/ 254786 h 999158"/>
                <a:gd name="connsiteX36" fmla="*/ 104912 w 499579"/>
                <a:gd name="connsiteY36" fmla="*/ 944205 h 999158"/>
                <a:gd name="connsiteX37" fmla="*/ 464609 w 499579"/>
                <a:gd name="connsiteY37" fmla="*/ 944205 h 999158"/>
                <a:gd name="connsiteX38" fmla="*/ 464609 w 499579"/>
                <a:gd name="connsiteY38" fmla="*/ 254786 h 999158"/>
                <a:gd name="connsiteX39" fmla="*/ 464609 w 499579"/>
                <a:gd name="connsiteY39" fmla="*/ 254786 h 999158"/>
                <a:gd name="connsiteX40" fmla="*/ 394668 w 499579"/>
                <a:gd name="connsiteY40" fmla="*/ 234802 h 999158"/>
                <a:gd name="connsiteX41" fmla="*/ 394668 w 499579"/>
                <a:gd name="connsiteY41" fmla="*/ 234802 h 999158"/>
                <a:gd name="connsiteX42" fmla="*/ 334718 w 499579"/>
                <a:gd name="connsiteY42" fmla="*/ 214819 h 999158"/>
                <a:gd name="connsiteX43" fmla="*/ 334718 w 499579"/>
                <a:gd name="connsiteY43" fmla="*/ 214819 h 999158"/>
                <a:gd name="connsiteX44" fmla="*/ 334718 w 499579"/>
                <a:gd name="connsiteY44" fmla="*/ 214819 h 999158"/>
                <a:gd name="connsiteX45" fmla="*/ 334718 w 499579"/>
                <a:gd name="connsiteY45" fmla="*/ 214819 h 999158"/>
                <a:gd name="connsiteX46" fmla="*/ 334718 w 499579"/>
                <a:gd name="connsiteY46" fmla="*/ 204828 h 999158"/>
                <a:gd name="connsiteX47" fmla="*/ 334718 w 499579"/>
                <a:gd name="connsiteY47" fmla="*/ 204828 h 999158"/>
                <a:gd name="connsiteX48" fmla="*/ 334718 w 499579"/>
                <a:gd name="connsiteY48" fmla="*/ 94920 h 999158"/>
                <a:gd name="connsiteX49" fmla="*/ 334718 w 499579"/>
                <a:gd name="connsiteY49" fmla="*/ 94920 h 999158"/>
                <a:gd name="connsiteX50" fmla="*/ 244794 w 499579"/>
                <a:gd name="connsiteY50" fmla="*/ 94920 h 999158"/>
                <a:gd name="connsiteX51" fmla="*/ 244794 w 499579"/>
                <a:gd name="connsiteY51" fmla="*/ 204828 h 999158"/>
                <a:gd name="connsiteX52" fmla="*/ 244794 w 499579"/>
                <a:gd name="connsiteY52" fmla="*/ 204828 h 999158"/>
                <a:gd name="connsiteX53" fmla="*/ 244794 w 499579"/>
                <a:gd name="connsiteY53" fmla="*/ 214819 h 999158"/>
                <a:gd name="connsiteX54" fmla="*/ 244794 w 499579"/>
                <a:gd name="connsiteY54" fmla="*/ 214819 h 999158"/>
                <a:gd name="connsiteX55" fmla="*/ 194836 w 499579"/>
                <a:gd name="connsiteY55" fmla="*/ 234802 h 999158"/>
                <a:gd name="connsiteX56" fmla="*/ 194836 w 499579"/>
                <a:gd name="connsiteY56" fmla="*/ 234802 h 999158"/>
                <a:gd name="connsiteX57" fmla="*/ 124895 w 499579"/>
                <a:gd name="connsiteY57" fmla="*/ 244794 h 999158"/>
                <a:gd name="connsiteX58" fmla="*/ 124895 w 499579"/>
                <a:gd name="connsiteY58" fmla="*/ 244794 h 999158"/>
                <a:gd name="connsiteX59" fmla="*/ 114903 w 499579"/>
                <a:gd name="connsiteY59" fmla="*/ 254786 h 999158"/>
                <a:gd name="connsiteX60" fmla="*/ 114903 w 499579"/>
                <a:gd name="connsiteY60" fmla="*/ 254786 h 999158"/>
                <a:gd name="connsiteX61" fmla="*/ 104912 w 499579"/>
                <a:gd name="connsiteY61" fmla="*/ 944205 h 999158"/>
                <a:gd name="connsiteX62" fmla="*/ 104912 w 499579"/>
                <a:gd name="connsiteY62" fmla="*/ 944205 h 9991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</a:cxnLst>
              <a:rect l="l" t="t" r="r" b="b"/>
              <a:pathLst>
                <a:path w="499579" h="999158">
                  <a:moveTo>
                    <a:pt x="74937" y="254786"/>
                  </a:moveTo>
                  <a:lnTo>
                    <a:pt x="74937" y="254786"/>
                  </a:lnTo>
                  <a:lnTo>
                    <a:pt x="74937" y="254786"/>
                  </a:lnTo>
                  <a:cubicBezTo>
                    <a:pt x="74937" y="244794"/>
                    <a:pt x="74937" y="244794"/>
                    <a:pt x="84929" y="234802"/>
                  </a:cubicBezTo>
                  <a:lnTo>
                    <a:pt x="84929" y="234802"/>
                  </a:lnTo>
                  <a:cubicBezTo>
                    <a:pt x="94920" y="224811"/>
                    <a:pt x="94920" y="224811"/>
                    <a:pt x="114903" y="224811"/>
                  </a:cubicBezTo>
                  <a:lnTo>
                    <a:pt x="114903" y="224811"/>
                  </a:lnTo>
                  <a:cubicBezTo>
                    <a:pt x="144878" y="214819"/>
                    <a:pt x="184844" y="214819"/>
                    <a:pt x="214819" y="204828"/>
                  </a:cubicBezTo>
                  <a:lnTo>
                    <a:pt x="214819" y="204828"/>
                  </a:lnTo>
                  <a:cubicBezTo>
                    <a:pt x="214819" y="204828"/>
                    <a:pt x="224811" y="204828"/>
                    <a:pt x="224811" y="204828"/>
                  </a:cubicBezTo>
                  <a:lnTo>
                    <a:pt x="224811" y="204828"/>
                  </a:lnTo>
                  <a:cubicBezTo>
                    <a:pt x="224811" y="184844"/>
                    <a:pt x="224811" y="94920"/>
                    <a:pt x="224811" y="94920"/>
                  </a:cubicBezTo>
                  <a:lnTo>
                    <a:pt x="224811" y="94920"/>
                  </a:lnTo>
                  <a:lnTo>
                    <a:pt x="224811" y="74937"/>
                  </a:lnTo>
                  <a:lnTo>
                    <a:pt x="354701" y="74937"/>
                  </a:lnTo>
                  <a:lnTo>
                    <a:pt x="354701" y="84929"/>
                  </a:lnTo>
                  <a:cubicBezTo>
                    <a:pt x="354701" y="84929"/>
                    <a:pt x="354701" y="174853"/>
                    <a:pt x="354701" y="194836"/>
                  </a:cubicBezTo>
                  <a:lnTo>
                    <a:pt x="354701" y="194836"/>
                  </a:lnTo>
                  <a:lnTo>
                    <a:pt x="354701" y="194836"/>
                  </a:lnTo>
                  <a:lnTo>
                    <a:pt x="354701" y="194836"/>
                  </a:lnTo>
                  <a:cubicBezTo>
                    <a:pt x="354701" y="194836"/>
                    <a:pt x="364693" y="194836"/>
                    <a:pt x="364693" y="194836"/>
                  </a:cubicBezTo>
                  <a:lnTo>
                    <a:pt x="364693" y="194836"/>
                  </a:lnTo>
                  <a:cubicBezTo>
                    <a:pt x="374685" y="194836"/>
                    <a:pt x="384676" y="204828"/>
                    <a:pt x="404659" y="204828"/>
                  </a:cubicBezTo>
                  <a:lnTo>
                    <a:pt x="404659" y="204828"/>
                  </a:lnTo>
                  <a:cubicBezTo>
                    <a:pt x="434634" y="214819"/>
                    <a:pt x="464609" y="214819"/>
                    <a:pt x="484592" y="224811"/>
                  </a:cubicBezTo>
                  <a:lnTo>
                    <a:pt x="484592" y="224811"/>
                  </a:lnTo>
                  <a:cubicBezTo>
                    <a:pt x="484592" y="224811"/>
                    <a:pt x="494584" y="234802"/>
                    <a:pt x="494584" y="234802"/>
                  </a:cubicBezTo>
                  <a:lnTo>
                    <a:pt x="494584" y="234802"/>
                  </a:lnTo>
                  <a:lnTo>
                    <a:pt x="494584" y="234802"/>
                  </a:lnTo>
                  <a:lnTo>
                    <a:pt x="494584" y="934213"/>
                  </a:lnTo>
                  <a:lnTo>
                    <a:pt x="484592" y="934213"/>
                  </a:lnTo>
                  <a:lnTo>
                    <a:pt x="494584" y="934213"/>
                  </a:lnTo>
                  <a:lnTo>
                    <a:pt x="494584" y="944205"/>
                  </a:lnTo>
                  <a:lnTo>
                    <a:pt x="84929" y="944205"/>
                  </a:lnTo>
                  <a:lnTo>
                    <a:pt x="74937" y="254786"/>
                  </a:lnTo>
                  <a:lnTo>
                    <a:pt x="74937" y="254786"/>
                  </a:lnTo>
                  <a:close/>
                  <a:moveTo>
                    <a:pt x="104912" y="944205"/>
                  </a:moveTo>
                  <a:lnTo>
                    <a:pt x="464609" y="944205"/>
                  </a:lnTo>
                  <a:lnTo>
                    <a:pt x="464609" y="254786"/>
                  </a:lnTo>
                  <a:lnTo>
                    <a:pt x="464609" y="254786"/>
                  </a:lnTo>
                  <a:cubicBezTo>
                    <a:pt x="454617" y="254786"/>
                    <a:pt x="424642" y="244794"/>
                    <a:pt x="394668" y="234802"/>
                  </a:cubicBezTo>
                  <a:lnTo>
                    <a:pt x="394668" y="234802"/>
                  </a:lnTo>
                  <a:cubicBezTo>
                    <a:pt x="364693" y="224811"/>
                    <a:pt x="344710" y="224811"/>
                    <a:pt x="334718" y="214819"/>
                  </a:cubicBezTo>
                  <a:lnTo>
                    <a:pt x="334718" y="214819"/>
                  </a:lnTo>
                  <a:cubicBezTo>
                    <a:pt x="334718" y="214819"/>
                    <a:pt x="334718" y="214819"/>
                    <a:pt x="334718" y="214819"/>
                  </a:cubicBezTo>
                  <a:lnTo>
                    <a:pt x="334718" y="214819"/>
                  </a:lnTo>
                  <a:cubicBezTo>
                    <a:pt x="334718" y="214819"/>
                    <a:pt x="334718" y="214819"/>
                    <a:pt x="334718" y="204828"/>
                  </a:cubicBezTo>
                  <a:lnTo>
                    <a:pt x="334718" y="204828"/>
                  </a:lnTo>
                  <a:cubicBezTo>
                    <a:pt x="334718" y="194836"/>
                    <a:pt x="334718" y="124895"/>
                    <a:pt x="334718" y="94920"/>
                  </a:cubicBezTo>
                  <a:lnTo>
                    <a:pt x="334718" y="94920"/>
                  </a:lnTo>
                  <a:lnTo>
                    <a:pt x="244794" y="94920"/>
                  </a:lnTo>
                  <a:cubicBezTo>
                    <a:pt x="244794" y="124895"/>
                    <a:pt x="244794" y="194836"/>
                    <a:pt x="244794" y="204828"/>
                  </a:cubicBezTo>
                  <a:lnTo>
                    <a:pt x="244794" y="204828"/>
                  </a:lnTo>
                  <a:cubicBezTo>
                    <a:pt x="244794" y="204828"/>
                    <a:pt x="244794" y="214819"/>
                    <a:pt x="244794" y="214819"/>
                  </a:cubicBezTo>
                  <a:lnTo>
                    <a:pt x="244794" y="214819"/>
                  </a:lnTo>
                  <a:cubicBezTo>
                    <a:pt x="234802" y="224811"/>
                    <a:pt x="214819" y="224811"/>
                    <a:pt x="194836" y="234802"/>
                  </a:cubicBezTo>
                  <a:lnTo>
                    <a:pt x="194836" y="234802"/>
                  </a:lnTo>
                  <a:cubicBezTo>
                    <a:pt x="174853" y="234802"/>
                    <a:pt x="144878" y="244794"/>
                    <a:pt x="124895" y="244794"/>
                  </a:cubicBezTo>
                  <a:lnTo>
                    <a:pt x="124895" y="244794"/>
                  </a:lnTo>
                  <a:cubicBezTo>
                    <a:pt x="114903" y="244794"/>
                    <a:pt x="114903" y="244794"/>
                    <a:pt x="114903" y="254786"/>
                  </a:cubicBezTo>
                  <a:lnTo>
                    <a:pt x="114903" y="254786"/>
                  </a:lnTo>
                  <a:lnTo>
                    <a:pt x="104912" y="944205"/>
                  </a:lnTo>
                  <a:lnTo>
                    <a:pt x="104912" y="944205"/>
                  </a:lnTo>
                  <a:close/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" name="任意多边形: 形状 10">
              <a:extLst>
                <a:ext uri="{FF2B5EF4-FFF2-40B4-BE49-F238E27FC236}">
                  <a16:creationId xmlns:a16="http://schemas.microsoft.com/office/drawing/2014/main" id="{C8BDB26A-D8F8-4AD0-97D8-475F348449F6}"/>
                </a:ext>
              </a:extLst>
            </p:cNvPr>
            <p:cNvSpPr/>
            <p:nvPr userDrawn="1"/>
          </p:nvSpPr>
          <p:spPr>
            <a:xfrm>
              <a:off x="5040541" y="3250592"/>
              <a:ext cx="97335" cy="778681"/>
            </a:xfrm>
            <a:custGeom>
              <a:avLst/>
              <a:gdLst>
                <a:gd name="connsiteX0" fmla="*/ 94920 w 99915"/>
                <a:gd name="connsiteY0" fmla="*/ 764357 h 799327"/>
                <a:gd name="connsiteX1" fmla="*/ 74937 w 99915"/>
                <a:gd name="connsiteY1" fmla="*/ 764357 h 799327"/>
                <a:gd name="connsiteX2" fmla="*/ 74937 w 99915"/>
                <a:gd name="connsiteY2" fmla="*/ 74937 h 799327"/>
                <a:gd name="connsiteX3" fmla="*/ 94920 w 99915"/>
                <a:gd name="connsiteY3" fmla="*/ 134886 h 799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9915" h="799327">
                  <a:moveTo>
                    <a:pt x="94920" y="764357"/>
                  </a:moveTo>
                  <a:lnTo>
                    <a:pt x="74937" y="764357"/>
                  </a:lnTo>
                  <a:lnTo>
                    <a:pt x="74937" y="74937"/>
                  </a:lnTo>
                  <a:lnTo>
                    <a:pt x="94920" y="134886"/>
                  </a:lnTo>
                  <a:close/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" name="任意多边形: 形状 11">
              <a:extLst>
                <a:ext uri="{FF2B5EF4-FFF2-40B4-BE49-F238E27FC236}">
                  <a16:creationId xmlns:a16="http://schemas.microsoft.com/office/drawing/2014/main" id="{317CFBB4-F12C-414E-A69C-26D4B0290420}"/>
                </a:ext>
              </a:extLst>
            </p:cNvPr>
            <p:cNvSpPr/>
            <p:nvPr userDrawn="1"/>
          </p:nvSpPr>
          <p:spPr>
            <a:xfrm>
              <a:off x="4962673" y="3931938"/>
              <a:ext cx="292005" cy="389341"/>
            </a:xfrm>
            <a:custGeom>
              <a:avLst/>
              <a:gdLst>
                <a:gd name="connsiteX0" fmla="*/ 194836 w 299747"/>
                <a:gd name="connsiteY0" fmla="*/ 94920 h 399663"/>
                <a:gd name="connsiteX1" fmla="*/ 184844 w 299747"/>
                <a:gd name="connsiteY1" fmla="*/ 74937 h 399663"/>
                <a:gd name="connsiteX2" fmla="*/ 174853 w 299747"/>
                <a:gd name="connsiteY2" fmla="*/ 74937 h 399663"/>
                <a:gd name="connsiteX3" fmla="*/ 164861 w 299747"/>
                <a:gd name="connsiteY3" fmla="*/ 84928 h 399663"/>
                <a:gd name="connsiteX4" fmla="*/ 164861 w 299747"/>
                <a:gd name="connsiteY4" fmla="*/ 204828 h 399663"/>
                <a:gd name="connsiteX5" fmla="*/ 154870 w 299747"/>
                <a:gd name="connsiteY5" fmla="*/ 214819 h 399663"/>
                <a:gd name="connsiteX6" fmla="*/ 144878 w 299747"/>
                <a:gd name="connsiteY6" fmla="*/ 204828 h 399663"/>
                <a:gd name="connsiteX7" fmla="*/ 144878 w 299747"/>
                <a:gd name="connsiteY7" fmla="*/ 84928 h 399663"/>
                <a:gd name="connsiteX8" fmla="*/ 144878 w 299747"/>
                <a:gd name="connsiteY8" fmla="*/ 74937 h 399663"/>
                <a:gd name="connsiteX9" fmla="*/ 134886 w 299747"/>
                <a:gd name="connsiteY9" fmla="*/ 74937 h 399663"/>
                <a:gd name="connsiteX10" fmla="*/ 124895 w 299747"/>
                <a:gd name="connsiteY10" fmla="*/ 94920 h 399663"/>
                <a:gd name="connsiteX11" fmla="*/ 114903 w 299747"/>
                <a:gd name="connsiteY11" fmla="*/ 94920 h 399663"/>
                <a:gd name="connsiteX12" fmla="*/ 114903 w 299747"/>
                <a:gd name="connsiteY12" fmla="*/ 194836 h 399663"/>
                <a:gd name="connsiteX13" fmla="*/ 94920 w 299747"/>
                <a:gd name="connsiteY13" fmla="*/ 234802 h 399663"/>
                <a:gd name="connsiteX14" fmla="*/ 74937 w 299747"/>
                <a:gd name="connsiteY14" fmla="*/ 394668 h 399663"/>
                <a:gd name="connsiteX15" fmla="*/ 154870 w 299747"/>
                <a:gd name="connsiteY15" fmla="*/ 394668 h 399663"/>
                <a:gd name="connsiteX16" fmla="*/ 234802 w 299747"/>
                <a:gd name="connsiteY16" fmla="*/ 394668 h 399663"/>
                <a:gd name="connsiteX17" fmla="*/ 214819 w 299747"/>
                <a:gd name="connsiteY17" fmla="*/ 234802 h 399663"/>
                <a:gd name="connsiteX18" fmla="*/ 204827 w 299747"/>
                <a:gd name="connsiteY18" fmla="*/ 194836 h 399663"/>
                <a:gd name="connsiteX19" fmla="*/ 204827 w 299747"/>
                <a:gd name="connsiteY19" fmla="*/ 94920 h 399663"/>
                <a:gd name="connsiteX20" fmla="*/ 194836 w 299747"/>
                <a:gd name="connsiteY20" fmla="*/ 94920 h 3996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99747" h="399663">
                  <a:moveTo>
                    <a:pt x="194836" y="94920"/>
                  </a:moveTo>
                  <a:cubicBezTo>
                    <a:pt x="194836" y="94920"/>
                    <a:pt x="194836" y="74937"/>
                    <a:pt x="184844" y="74937"/>
                  </a:cubicBezTo>
                  <a:cubicBezTo>
                    <a:pt x="184844" y="74937"/>
                    <a:pt x="174853" y="74937"/>
                    <a:pt x="174853" y="74937"/>
                  </a:cubicBezTo>
                  <a:lnTo>
                    <a:pt x="164861" y="84928"/>
                  </a:lnTo>
                  <a:lnTo>
                    <a:pt x="164861" y="204828"/>
                  </a:lnTo>
                  <a:cubicBezTo>
                    <a:pt x="164861" y="214819"/>
                    <a:pt x="154870" y="214819"/>
                    <a:pt x="154870" y="214819"/>
                  </a:cubicBezTo>
                  <a:cubicBezTo>
                    <a:pt x="144878" y="214819"/>
                    <a:pt x="144878" y="214819"/>
                    <a:pt x="144878" y="204828"/>
                  </a:cubicBezTo>
                  <a:lnTo>
                    <a:pt x="144878" y="84928"/>
                  </a:lnTo>
                  <a:lnTo>
                    <a:pt x="144878" y="74937"/>
                  </a:lnTo>
                  <a:cubicBezTo>
                    <a:pt x="144878" y="74937"/>
                    <a:pt x="134886" y="74937"/>
                    <a:pt x="134886" y="74937"/>
                  </a:cubicBezTo>
                  <a:cubicBezTo>
                    <a:pt x="134886" y="74937"/>
                    <a:pt x="124895" y="94920"/>
                    <a:pt x="124895" y="94920"/>
                  </a:cubicBezTo>
                  <a:cubicBezTo>
                    <a:pt x="124895" y="94920"/>
                    <a:pt x="114903" y="94920"/>
                    <a:pt x="114903" y="94920"/>
                  </a:cubicBezTo>
                  <a:cubicBezTo>
                    <a:pt x="114903" y="94920"/>
                    <a:pt x="114903" y="184844"/>
                    <a:pt x="114903" y="194836"/>
                  </a:cubicBezTo>
                  <a:cubicBezTo>
                    <a:pt x="114903" y="204828"/>
                    <a:pt x="104912" y="224811"/>
                    <a:pt x="94920" y="234802"/>
                  </a:cubicBezTo>
                  <a:cubicBezTo>
                    <a:pt x="84928" y="244794"/>
                    <a:pt x="74937" y="394668"/>
                    <a:pt x="74937" y="394668"/>
                  </a:cubicBezTo>
                  <a:cubicBezTo>
                    <a:pt x="74937" y="394668"/>
                    <a:pt x="84928" y="394668"/>
                    <a:pt x="154870" y="394668"/>
                  </a:cubicBezTo>
                  <a:cubicBezTo>
                    <a:pt x="214819" y="394668"/>
                    <a:pt x="234802" y="394668"/>
                    <a:pt x="234802" y="394668"/>
                  </a:cubicBezTo>
                  <a:cubicBezTo>
                    <a:pt x="234802" y="394668"/>
                    <a:pt x="224811" y="244794"/>
                    <a:pt x="214819" y="234802"/>
                  </a:cubicBezTo>
                  <a:cubicBezTo>
                    <a:pt x="214819" y="224811"/>
                    <a:pt x="204827" y="214819"/>
                    <a:pt x="204827" y="194836"/>
                  </a:cubicBezTo>
                  <a:cubicBezTo>
                    <a:pt x="204827" y="184844"/>
                    <a:pt x="214819" y="94920"/>
                    <a:pt x="204827" y="94920"/>
                  </a:cubicBezTo>
                  <a:cubicBezTo>
                    <a:pt x="204827" y="94920"/>
                    <a:pt x="194836" y="94920"/>
                    <a:pt x="194836" y="94920"/>
                  </a:cubicBezTo>
                  <a:close/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" name="任意多边形: 形状 12">
              <a:extLst>
                <a:ext uri="{FF2B5EF4-FFF2-40B4-BE49-F238E27FC236}">
                  <a16:creationId xmlns:a16="http://schemas.microsoft.com/office/drawing/2014/main" id="{33562B5D-92D0-453B-8F71-98E769F7A334}"/>
                </a:ext>
              </a:extLst>
            </p:cNvPr>
            <p:cNvSpPr/>
            <p:nvPr userDrawn="1"/>
          </p:nvSpPr>
          <p:spPr>
            <a:xfrm>
              <a:off x="5030807" y="3912471"/>
              <a:ext cx="97335" cy="97335"/>
            </a:xfrm>
            <a:custGeom>
              <a:avLst/>
              <a:gdLst>
                <a:gd name="connsiteX0" fmla="*/ 74937 w 99915"/>
                <a:gd name="connsiteY0" fmla="*/ 94920 h 99915"/>
                <a:gd name="connsiteX1" fmla="*/ 94920 w 99915"/>
                <a:gd name="connsiteY1" fmla="*/ 74937 h 99915"/>
                <a:gd name="connsiteX2" fmla="*/ 114903 w 99915"/>
                <a:gd name="connsiteY2" fmla="*/ 94920 h 99915"/>
                <a:gd name="connsiteX3" fmla="*/ 94920 w 99915"/>
                <a:gd name="connsiteY3" fmla="*/ 94920 h 99915"/>
                <a:gd name="connsiteX4" fmla="*/ 74937 w 99915"/>
                <a:gd name="connsiteY4" fmla="*/ 94920 h 999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9915" h="99915">
                  <a:moveTo>
                    <a:pt x="74937" y="94920"/>
                  </a:moveTo>
                  <a:cubicBezTo>
                    <a:pt x="74937" y="84928"/>
                    <a:pt x="84928" y="74937"/>
                    <a:pt x="94920" y="74937"/>
                  </a:cubicBezTo>
                  <a:cubicBezTo>
                    <a:pt x="104912" y="74937"/>
                    <a:pt x="114903" y="84928"/>
                    <a:pt x="114903" y="94920"/>
                  </a:cubicBezTo>
                  <a:cubicBezTo>
                    <a:pt x="114903" y="94920"/>
                    <a:pt x="104912" y="94920"/>
                    <a:pt x="94920" y="94920"/>
                  </a:cubicBezTo>
                  <a:cubicBezTo>
                    <a:pt x="74937" y="94920"/>
                    <a:pt x="74937" y="94920"/>
                    <a:pt x="74937" y="94920"/>
                  </a:cubicBezTo>
                  <a:close/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" name="任意多边形: 形状 13">
              <a:extLst>
                <a:ext uri="{FF2B5EF4-FFF2-40B4-BE49-F238E27FC236}">
                  <a16:creationId xmlns:a16="http://schemas.microsoft.com/office/drawing/2014/main" id="{16E0C0C0-3A7D-41BD-9CA9-9DDEF764B73F}"/>
                </a:ext>
              </a:extLst>
            </p:cNvPr>
            <p:cNvSpPr/>
            <p:nvPr userDrawn="1"/>
          </p:nvSpPr>
          <p:spPr>
            <a:xfrm>
              <a:off x="4952939" y="4233678"/>
              <a:ext cx="292005" cy="97335"/>
            </a:xfrm>
            <a:custGeom>
              <a:avLst/>
              <a:gdLst>
                <a:gd name="connsiteX0" fmla="*/ 264777 w 299747"/>
                <a:gd name="connsiteY0" fmla="*/ 84928 h 99915"/>
                <a:gd name="connsiteX1" fmla="*/ 264777 w 299747"/>
                <a:gd name="connsiteY1" fmla="*/ 84928 h 99915"/>
                <a:gd name="connsiteX2" fmla="*/ 84929 w 299747"/>
                <a:gd name="connsiteY2" fmla="*/ 94920 h 99915"/>
                <a:gd name="connsiteX3" fmla="*/ 74937 w 299747"/>
                <a:gd name="connsiteY3" fmla="*/ 84928 h 99915"/>
                <a:gd name="connsiteX4" fmla="*/ 74937 w 299747"/>
                <a:gd name="connsiteY4" fmla="*/ 84928 h 99915"/>
                <a:gd name="connsiteX5" fmla="*/ 84929 w 299747"/>
                <a:gd name="connsiteY5" fmla="*/ 74937 h 99915"/>
                <a:gd name="connsiteX6" fmla="*/ 264777 w 299747"/>
                <a:gd name="connsiteY6" fmla="*/ 84928 h 99915"/>
                <a:gd name="connsiteX7" fmla="*/ 264777 w 299747"/>
                <a:gd name="connsiteY7" fmla="*/ 84928 h 99915"/>
                <a:gd name="connsiteX8" fmla="*/ 264777 w 299747"/>
                <a:gd name="connsiteY8" fmla="*/ 84928 h 999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99747" h="99915">
                  <a:moveTo>
                    <a:pt x="264777" y="84928"/>
                  </a:moveTo>
                  <a:cubicBezTo>
                    <a:pt x="264777" y="94920"/>
                    <a:pt x="264777" y="94920"/>
                    <a:pt x="264777" y="84928"/>
                  </a:cubicBezTo>
                  <a:lnTo>
                    <a:pt x="84929" y="94920"/>
                  </a:lnTo>
                  <a:cubicBezTo>
                    <a:pt x="84929" y="94920"/>
                    <a:pt x="74937" y="94920"/>
                    <a:pt x="74937" y="84928"/>
                  </a:cubicBezTo>
                  <a:lnTo>
                    <a:pt x="74937" y="84928"/>
                  </a:lnTo>
                  <a:cubicBezTo>
                    <a:pt x="74937" y="84928"/>
                    <a:pt x="74937" y="74937"/>
                    <a:pt x="84929" y="74937"/>
                  </a:cubicBezTo>
                  <a:lnTo>
                    <a:pt x="264777" y="84928"/>
                  </a:lnTo>
                  <a:cubicBezTo>
                    <a:pt x="264777" y="84928"/>
                    <a:pt x="264777" y="84928"/>
                    <a:pt x="264777" y="84928"/>
                  </a:cubicBezTo>
                  <a:lnTo>
                    <a:pt x="264777" y="84928"/>
                  </a:lnTo>
                  <a:close/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" name="任意多边形: 形状 14">
              <a:extLst>
                <a:ext uri="{FF2B5EF4-FFF2-40B4-BE49-F238E27FC236}">
                  <a16:creationId xmlns:a16="http://schemas.microsoft.com/office/drawing/2014/main" id="{B043B6FF-E676-4436-8416-AD1B8174A3E9}"/>
                </a:ext>
              </a:extLst>
            </p:cNvPr>
            <p:cNvSpPr/>
            <p:nvPr userDrawn="1"/>
          </p:nvSpPr>
          <p:spPr>
            <a:xfrm>
              <a:off x="4916439" y="4438081"/>
              <a:ext cx="292005" cy="97335"/>
            </a:xfrm>
            <a:custGeom>
              <a:avLst/>
              <a:gdLst>
                <a:gd name="connsiteX0" fmla="*/ 82430 w 299747"/>
                <a:gd name="connsiteY0" fmla="*/ 84929 h 99915"/>
                <a:gd name="connsiteX1" fmla="*/ 82430 w 299747"/>
                <a:gd name="connsiteY1" fmla="*/ 84929 h 99915"/>
                <a:gd name="connsiteX2" fmla="*/ 82430 w 299747"/>
                <a:gd name="connsiteY2" fmla="*/ 84929 h 99915"/>
                <a:gd name="connsiteX3" fmla="*/ 82430 w 299747"/>
                <a:gd name="connsiteY3" fmla="*/ 84929 h 99915"/>
                <a:gd name="connsiteX4" fmla="*/ 82430 w 299747"/>
                <a:gd name="connsiteY4" fmla="*/ 84929 h 99915"/>
                <a:gd name="connsiteX5" fmla="*/ 282262 w 299747"/>
                <a:gd name="connsiteY5" fmla="*/ 74937 h 99915"/>
                <a:gd name="connsiteX6" fmla="*/ 282262 w 299747"/>
                <a:gd name="connsiteY6" fmla="*/ 74937 h 99915"/>
                <a:gd name="connsiteX7" fmla="*/ 282262 w 299747"/>
                <a:gd name="connsiteY7" fmla="*/ 74937 h 99915"/>
                <a:gd name="connsiteX8" fmla="*/ 282262 w 299747"/>
                <a:gd name="connsiteY8" fmla="*/ 74937 h 99915"/>
                <a:gd name="connsiteX9" fmla="*/ 282262 w 299747"/>
                <a:gd name="connsiteY9" fmla="*/ 74937 h 99915"/>
                <a:gd name="connsiteX10" fmla="*/ 82430 w 299747"/>
                <a:gd name="connsiteY10" fmla="*/ 84929 h 99915"/>
                <a:gd name="connsiteX11" fmla="*/ 82430 w 299747"/>
                <a:gd name="connsiteY11" fmla="*/ 84929 h 999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99747" h="99915">
                  <a:moveTo>
                    <a:pt x="82430" y="84929"/>
                  </a:moveTo>
                  <a:cubicBezTo>
                    <a:pt x="72439" y="84929"/>
                    <a:pt x="72439" y="84929"/>
                    <a:pt x="82430" y="84929"/>
                  </a:cubicBezTo>
                  <a:lnTo>
                    <a:pt x="82430" y="84929"/>
                  </a:lnTo>
                  <a:cubicBezTo>
                    <a:pt x="72439" y="84929"/>
                    <a:pt x="72439" y="84929"/>
                    <a:pt x="82430" y="84929"/>
                  </a:cubicBezTo>
                  <a:lnTo>
                    <a:pt x="82430" y="84929"/>
                  </a:lnTo>
                  <a:lnTo>
                    <a:pt x="282262" y="74937"/>
                  </a:lnTo>
                  <a:cubicBezTo>
                    <a:pt x="282262" y="74937"/>
                    <a:pt x="282262" y="74937"/>
                    <a:pt x="282262" y="74937"/>
                  </a:cubicBezTo>
                  <a:lnTo>
                    <a:pt x="282262" y="74937"/>
                  </a:lnTo>
                  <a:cubicBezTo>
                    <a:pt x="282262" y="74937"/>
                    <a:pt x="282262" y="74937"/>
                    <a:pt x="282262" y="74937"/>
                  </a:cubicBezTo>
                  <a:lnTo>
                    <a:pt x="282262" y="74937"/>
                  </a:lnTo>
                  <a:lnTo>
                    <a:pt x="82430" y="84929"/>
                  </a:lnTo>
                  <a:lnTo>
                    <a:pt x="82430" y="84929"/>
                  </a:lnTo>
                  <a:close/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" name="任意多边形: 形状 15">
              <a:extLst>
                <a:ext uri="{FF2B5EF4-FFF2-40B4-BE49-F238E27FC236}">
                  <a16:creationId xmlns:a16="http://schemas.microsoft.com/office/drawing/2014/main" id="{4335B291-1044-454E-B26D-BAD65E8A1E98}"/>
                </a:ext>
              </a:extLst>
            </p:cNvPr>
            <p:cNvSpPr/>
            <p:nvPr userDrawn="1"/>
          </p:nvSpPr>
          <p:spPr>
            <a:xfrm>
              <a:off x="4919412" y="4700886"/>
              <a:ext cx="292005" cy="97335"/>
            </a:xfrm>
            <a:custGeom>
              <a:avLst/>
              <a:gdLst>
                <a:gd name="connsiteX0" fmla="*/ 79378 w 299747"/>
                <a:gd name="connsiteY0" fmla="*/ 84929 h 99915"/>
                <a:gd name="connsiteX1" fmla="*/ 79378 w 299747"/>
                <a:gd name="connsiteY1" fmla="*/ 84929 h 99915"/>
                <a:gd name="connsiteX2" fmla="*/ 79378 w 299747"/>
                <a:gd name="connsiteY2" fmla="*/ 84929 h 99915"/>
                <a:gd name="connsiteX3" fmla="*/ 79378 w 299747"/>
                <a:gd name="connsiteY3" fmla="*/ 84929 h 99915"/>
                <a:gd name="connsiteX4" fmla="*/ 79378 w 299747"/>
                <a:gd name="connsiteY4" fmla="*/ 84929 h 99915"/>
                <a:gd name="connsiteX5" fmla="*/ 279209 w 299747"/>
                <a:gd name="connsiteY5" fmla="*/ 74937 h 99915"/>
                <a:gd name="connsiteX6" fmla="*/ 279209 w 299747"/>
                <a:gd name="connsiteY6" fmla="*/ 74937 h 99915"/>
                <a:gd name="connsiteX7" fmla="*/ 279209 w 299747"/>
                <a:gd name="connsiteY7" fmla="*/ 74937 h 99915"/>
                <a:gd name="connsiteX8" fmla="*/ 279209 w 299747"/>
                <a:gd name="connsiteY8" fmla="*/ 74937 h 99915"/>
                <a:gd name="connsiteX9" fmla="*/ 279209 w 299747"/>
                <a:gd name="connsiteY9" fmla="*/ 74937 h 99915"/>
                <a:gd name="connsiteX10" fmla="*/ 79378 w 299747"/>
                <a:gd name="connsiteY10" fmla="*/ 84929 h 99915"/>
                <a:gd name="connsiteX11" fmla="*/ 79378 w 299747"/>
                <a:gd name="connsiteY11" fmla="*/ 84929 h 999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99747" h="99915">
                  <a:moveTo>
                    <a:pt x="79378" y="84929"/>
                  </a:moveTo>
                  <a:cubicBezTo>
                    <a:pt x="79378" y="84929"/>
                    <a:pt x="69386" y="84929"/>
                    <a:pt x="79378" y="84929"/>
                  </a:cubicBezTo>
                  <a:lnTo>
                    <a:pt x="79378" y="84929"/>
                  </a:lnTo>
                  <a:cubicBezTo>
                    <a:pt x="69386" y="84929"/>
                    <a:pt x="79378" y="84929"/>
                    <a:pt x="79378" y="84929"/>
                  </a:cubicBezTo>
                  <a:lnTo>
                    <a:pt x="79378" y="84929"/>
                  </a:lnTo>
                  <a:lnTo>
                    <a:pt x="279209" y="74937"/>
                  </a:lnTo>
                  <a:cubicBezTo>
                    <a:pt x="279209" y="74937"/>
                    <a:pt x="279209" y="74937"/>
                    <a:pt x="279209" y="74937"/>
                  </a:cubicBezTo>
                  <a:lnTo>
                    <a:pt x="279209" y="74937"/>
                  </a:lnTo>
                  <a:cubicBezTo>
                    <a:pt x="279209" y="74937"/>
                    <a:pt x="279209" y="74937"/>
                    <a:pt x="279209" y="74937"/>
                  </a:cubicBezTo>
                  <a:lnTo>
                    <a:pt x="279209" y="74937"/>
                  </a:lnTo>
                  <a:lnTo>
                    <a:pt x="79378" y="84929"/>
                  </a:lnTo>
                  <a:lnTo>
                    <a:pt x="79378" y="84929"/>
                  </a:lnTo>
                  <a:close/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" name="任意多边形: 形状 16">
              <a:extLst>
                <a:ext uri="{FF2B5EF4-FFF2-40B4-BE49-F238E27FC236}">
                  <a16:creationId xmlns:a16="http://schemas.microsoft.com/office/drawing/2014/main" id="{42FF716D-C7A3-49B0-BB48-BB30576260D4}"/>
                </a:ext>
              </a:extLst>
            </p:cNvPr>
            <p:cNvSpPr/>
            <p:nvPr userDrawn="1"/>
          </p:nvSpPr>
          <p:spPr>
            <a:xfrm>
              <a:off x="4919412" y="4973424"/>
              <a:ext cx="292005" cy="97335"/>
            </a:xfrm>
            <a:custGeom>
              <a:avLst/>
              <a:gdLst>
                <a:gd name="connsiteX0" fmla="*/ 79378 w 299747"/>
                <a:gd name="connsiteY0" fmla="*/ 84928 h 99915"/>
                <a:gd name="connsiteX1" fmla="*/ 79378 w 299747"/>
                <a:gd name="connsiteY1" fmla="*/ 84928 h 99915"/>
                <a:gd name="connsiteX2" fmla="*/ 79378 w 299747"/>
                <a:gd name="connsiteY2" fmla="*/ 84928 h 99915"/>
                <a:gd name="connsiteX3" fmla="*/ 79378 w 299747"/>
                <a:gd name="connsiteY3" fmla="*/ 84928 h 99915"/>
                <a:gd name="connsiteX4" fmla="*/ 79378 w 299747"/>
                <a:gd name="connsiteY4" fmla="*/ 84928 h 99915"/>
                <a:gd name="connsiteX5" fmla="*/ 279209 w 299747"/>
                <a:gd name="connsiteY5" fmla="*/ 74937 h 99915"/>
                <a:gd name="connsiteX6" fmla="*/ 279209 w 299747"/>
                <a:gd name="connsiteY6" fmla="*/ 74937 h 99915"/>
                <a:gd name="connsiteX7" fmla="*/ 279209 w 299747"/>
                <a:gd name="connsiteY7" fmla="*/ 74937 h 99915"/>
                <a:gd name="connsiteX8" fmla="*/ 279209 w 299747"/>
                <a:gd name="connsiteY8" fmla="*/ 74937 h 99915"/>
                <a:gd name="connsiteX9" fmla="*/ 279209 w 299747"/>
                <a:gd name="connsiteY9" fmla="*/ 74937 h 99915"/>
                <a:gd name="connsiteX10" fmla="*/ 79378 w 299747"/>
                <a:gd name="connsiteY10" fmla="*/ 84928 h 99915"/>
                <a:gd name="connsiteX11" fmla="*/ 79378 w 299747"/>
                <a:gd name="connsiteY11" fmla="*/ 84928 h 999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99747" h="99915">
                  <a:moveTo>
                    <a:pt x="79378" y="84928"/>
                  </a:moveTo>
                  <a:cubicBezTo>
                    <a:pt x="79378" y="84928"/>
                    <a:pt x="69386" y="84928"/>
                    <a:pt x="79378" y="84928"/>
                  </a:cubicBezTo>
                  <a:lnTo>
                    <a:pt x="79378" y="84928"/>
                  </a:lnTo>
                  <a:cubicBezTo>
                    <a:pt x="69386" y="84928"/>
                    <a:pt x="79378" y="84928"/>
                    <a:pt x="79378" y="84928"/>
                  </a:cubicBezTo>
                  <a:lnTo>
                    <a:pt x="79378" y="84928"/>
                  </a:lnTo>
                  <a:lnTo>
                    <a:pt x="279209" y="74937"/>
                  </a:lnTo>
                  <a:cubicBezTo>
                    <a:pt x="279209" y="74937"/>
                    <a:pt x="279209" y="74937"/>
                    <a:pt x="279209" y="74937"/>
                  </a:cubicBezTo>
                  <a:lnTo>
                    <a:pt x="279209" y="74937"/>
                  </a:lnTo>
                  <a:cubicBezTo>
                    <a:pt x="279209" y="74937"/>
                    <a:pt x="279209" y="74937"/>
                    <a:pt x="279209" y="74937"/>
                  </a:cubicBezTo>
                  <a:lnTo>
                    <a:pt x="279209" y="74937"/>
                  </a:lnTo>
                  <a:lnTo>
                    <a:pt x="79378" y="84928"/>
                  </a:lnTo>
                  <a:lnTo>
                    <a:pt x="79378" y="84928"/>
                  </a:lnTo>
                  <a:close/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" name="任意多边形: 形状 17">
              <a:extLst>
                <a:ext uri="{FF2B5EF4-FFF2-40B4-BE49-F238E27FC236}">
                  <a16:creationId xmlns:a16="http://schemas.microsoft.com/office/drawing/2014/main" id="{C5EE7A71-7828-4A4A-9321-1F5C45A5AAFB}"/>
                </a:ext>
              </a:extLst>
            </p:cNvPr>
            <p:cNvSpPr/>
            <p:nvPr userDrawn="1"/>
          </p:nvSpPr>
          <p:spPr>
            <a:xfrm>
              <a:off x="4916439" y="4486748"/>
              <a:ext cx="194670" cy="97335"/>
            </a:xfrm>
            <a:custGeom>
              <a:avLst/>
              <a:gdLst>
                <a:gd name="connsiteX0" fmla="*/ 82430 w 199831"/>
                <a:gd name="connsiteY0" fmla="*/ 84929 h 99915"/>
                <a:gd name="connsiteX1" fmla="*/ 82430 w 199831"/>
                <a:gd name="connsiteY1" fmla="*/ 84929 h 99915"/>
                <a:gd name="connsiteX2" fmla="*/ 82430 w 199831"/>
                <a:gd name="connsiteY2" fmla="*/ 84929 h 99915"/>
                <a:gd name="connsiteX3" fmla="*/ 82430 w 199831"/>
                <a:gd name="connsiteY3" fmla="*/ 84929 h 99915"/>
                <a:gd name="connsiteX4" fmla="*/ 82430 w 199831"/>
                <a:gd name="connsiteY4" fmla="*/ 84929 h 99915"/>
                <a:gd name="connsiteX5" fmla="*/ 172355 w 199831"/>
                <a:gd name="connsiteY5" fmla="*/ 74937 h 99915"/>
                <a:gd name="connsiteX6" fmla="*/ 172355 w 199831"/>
                <a:gd name="connsiteY6" fmla="*/ 74937 h 99915"/>
                <a:gd name="connsiteX7" fmla="*/ 172355 w 199831"/>
                <a:gd name="connsiteY7" fmla="*/ 74937 h 99915"/>
                <a:gd name="connsiteX8" fmla="*/ 172355 w 199831"/>
                <a:gd name="connsiteY8" fmla="*/ 74937 h 99915"/>
                <a:gd name="connsiteX9" fmla="*/ 172355 w 199831"/>
                <a:gd name="connsiteY9" fmla="*/ 74937 h 99915"/>
                <a:gd name="connsiteX10" fmla="*/ 82430 w 199831"/>
                <a:gd name="connsiteY10" fmla="*/ 84929 h 99915"/>
                <a:gd name="connsiteX11" fmla="*/ 82430 w 199831"/>
                <a:gd name="connsiteY11" fmla="*/ 84929 h 999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99831" h="99915">
                  <a:moveTo>
                    <a:pt x="82430" y="84929"/>
                  </a:moveTo>
                  <a:cubicBezTo>
                    <a:pt x="72439" y="84929"/>
                    <a:pt x="72439" y="84929"/>
                    <a:pt x="82430" y="84929"/>
                  </a:cubicBezTo>
                  <a:lnTo>
                    <a:pt x="82430" y="84929"/>
                  </a:lnTo>
                  <a:cubicBezTo>
                    <a:pt x="72439" y="84929"/>
                    <a:pt x="72439" y="84929"/>
                    <a:pt x="82430" y="84929"/>
                  </a:cubicBezTo>
                  <a:lnTo>
                    <a:pt x="82430" y="84929"/>
                  </a:lnTo>
                  <a:lnTo>
                    <a:pt x="172355" y="74937"/>
                  </a:lnTo>
                  <a:cubicBezTo>
                    <a:pt x="172355" y="74937"/>
                    <a:pt x="172355" y="74937"/>
                    <a:pt x="172355" y="74937"/>
                  </a:cubicBezTo>
                  <a:lnTo>
                    <a:pt x="172355" y="74937"/>
                  </a:lnTo>
                  <a:cubicBezTo>
                    <a:pt x="172355" y="74937"/>
                    <a:pt x="172355" y="74937"/>
                    <a:pt x="172355" y="74937"/>
                  </a:cubicBezTo>
                  <a:lnTo>
                    <a:pt x="172355" y="74937"/>
                  </a:lnTo>
                  <a:lnTo>
                    <a:pt x="82430" y="84929"/>
                  </a:lnTo>
                  <a:lnTo>
                    <a:pt x="82430" y="84929"/>
                  </a:lnTo>
                  <a:close/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" name="任意多边形: 形状 18">
              <a:extLst>
                <a:ext uri="{FF2B5EF4-FFF2-40B4-BE49-F238E27FC236}">
                  <a16:creationId xmlns:a16="http://schemas.microsoft.com/office/drawing/2014/main" id="{D6559A13-ECCD-404F-9EC1-9E0C962B26DA}"/>
                </a:ext>
              </a:extLst>
            </p:cNvPr>
            <p:cNvSpPr/>
            <p:nvPr userDrawn="1"/>
          </p:nvSpPr>
          <p:spPr>
            <a:xfrm>
              <a:off x="4916439" y="4545149"/>
              <a:ext cx="194670" cy="97335"/>
            </a:xfrm>
            <a:custGeom>
              <a:avLst/>
              <a:gdLst>
                <a:gd name="connsiteX0" fmla="*/ 82430 w 199831"/>
                <a:gd name="connsiteY0" fmla="*/ 84928 h 99915"/>
                <a:gd name="connsiteX1" fmla="*/ 82430 w 199831"/>
                <a:gd name="connsiteY1" fmla="*/ 84928 h 99915"/>
                <a:gd name="connsiteX2" fmla="*/ 82430 w 199831"/>
                <a:gd name="connsiteY2" fmla="*/ 84928 h 99915"/>
                <a:gd name="connsiteX3" fmla="*/ 82430 w 199831"/>
                <a:gd name="connsiteY3" fmla="*/ 84928 h 99915"/>
                <a:gd name="connsiteX4" fmla="*/ 82430 w 199831"/>
                <a:gd name="connsiteY4" fmla="*/ 84928 h 99915"/>
                <a:gd name="connsiteX5" fmla="*/ 172355 w 199831"/>
                <a:gd name="connsiteY5" fmla="*/ 74937 h 99915"/>
                <a:gd name="connsiteX6" fmla="*/ 172355 w 199831"/>
                <a:gd name="connsiteY6" fmla="*/ 74937 h 99915"/>
                <a:gd name="connsiteX7" fmla="*/ 172355 w 199831"/>
                <a:gd name="connsiteY7" fmla="*/ 74937 h 99915"/>
                <a:gd name="connsiteX8" fmla="*/ 172355 w 199831"/>
                <a:gd name="connsiteY8" fmla="*/ 74937 h 99915"/>
                <a:gd name="connsiteX9" fmla="*/ 172355 w 199831"/>
                <a:gd name="connsiteY9" fmla="*/ 74937 h 99915"/>
                <a:gd name="connsiteX10" fmla="*/ 82430 w 199831"/>
                <a:gd name="connsiteY10" fmla="*/ 84928 h 99915"/>
                <a:gd name="connsiteX11" fmla="*/ 82430 w 199831"/>
                <a:gd name="connsiteY11" fmla="*/ 84928 h 999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99831" h="99915">
                  <a:moveTo>
                    <a:pt x="82430" y="84928"/>
                  </a:moveTo>
                  <a:cubicBezTo>
                    <a:pt x="72439" y="84928"/>
                    <a:pt x="72439" y="84928"/>
                    <a:pt x="82430" y="84928"/>
                  </a:cubicBezTo>
                  <a:lnTo>
                    <a:pt x="82430" y="84928"/>
                  </a:lnTo>
                  <a:cubicBezTo>
                    <a:pt x="72439" y="74937"/>
                    <a:pt x="72439" y="74937"/>
                    <a:pt x="82430" y="84928"/>
                  </a:cubicBezTo>
                  <a:lnTo>
                    <a:pt x="82430" y="84928"/>
                  </a:lnTo>
                  <a:lnTo>
                    <a:pt x="172355" y="74937"/>
                  </a:lnTo>
                  <a:cubicBezTo>
                    <a:pt x="172355" y="74937"/>
                    <a:pt x="172355" y="74937"/>
                    <a:pt x="172355" y="74937"/>
                  </a:cubicBezTo>
                  <a:lnTo>
                    <a:pt x="172355" y="74937"/>
                  </a:lnTo>
                  <a:cubicBezTo>
                    <a:pt x="172355" y="74937"/>
                    <a:pt x="172355" y="74937"/>
                    <a:pt x="172355" y="74937"/>
                  </a:cubicBezTo>
                  <a:lnTo>
                    <a:pt x="172355" y="74937"/>
                  </a:lnTo>
                  <a:lnTo>
                    <a:pt x="82430" y="84928"/>
                  </a:lnTo>
                  <a:lnTo>
                    <a:pt x="82430" y="84928"/>
                  </a:lnTo>
                  <a:close/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0" name="任意多边形: 形状 19">
              <a:extLst>
                <a:ext uri="{FF2B5EF4-FFF2-40B4-BE49-F238E27FC236}">
                  <a16:creationId xmlns:a16="http://schemas.microsoft.com/office/drawing/2014/main" id="{9E4C4063-EBE7-4EC4-BDAD-5E5F20F2A10B}"/>
                </a:ext>
              </a:extLst>
            </p:cNvPr>
            <p:cNvSpPr/>
            <p:nvPr userDrawn="1"/>
          </p:nvSpPr>
          <p:spPr>
            <a:xfrm>
              <a:off x="4919412" y="4593817"/>
              <a:ext cx="194670" cy="97335"/>
            </a:xfrm>
            <a:custGeom>
              <a:avLst/>
              <a:gdLst>
                <a:gd name="connsiteX0" fmla="*/ 79378 w 199831"/>
                <a:gd name="connsiteY0" fmla="*/ 84928 h 99915"/>
                <a:gd name="connsiteX1" fmla="*/ 79378 w 199831"/>
                <a:gd name="connsiteY1" fmla="*/ 84928 h 99915"/>
                <a:gd name="connsiteX2" fmla="*/ 79378 w 199831"/>
                <a:gd name="connsiteY2" fmla="*/ 84928 h 99915"/>
                <a:gd name="connsiteX3" fmla="*/ 79378 w 199831"/>
                <a:gd name="connsiteY3" fmla="*/ 84928 h 99915"/>
                <a:gd name="connsiteX4" fmla="*/ 79378 w 199831"/>
                <a:gd name="connsiteY4" fmla="*/ 84928 h 99915"/>
                <a:gd name="connsiteX5" fmla="*/ 169302 w 199831"/>
                <a:gd name="connsiteY5" fmla="*/ 74937 h 99915"/>
                <a:gd name="connsiteX6" fmla="*/ 169302 w 199831"/>
                <a:gd name="connsiteY6" fmla="*/ 74937 h 99915"/>
                <a:gd name="connsiteX7" fmla="*/ 169302 w 199831"/>
                <a:gd name="connsiteY7" fmla="*/ 74937 h 99915"/>
                <a:gd name="connsiteX8" fmla="*/ 169302 w 199831"/>
                <a:gd name="connsiteY8" fmla="*/ 74937 h 99915"/>
                <a:gd name="connsiteX9" fmla="*/ 169302 w 199831"/>
                <a:gd name="connsiteY9" fmla="*/ 74937 h 99915"/>
                <a:gd name="connsiteX10" fmla="*/ 79378 w 199831"/>
                <a:gd name="connsiteY10" fmla="*/ 84928 h 99915"/>
                <a:gd name="connsiteX11" fmla="*/ 79378 w 199831"/>
                <a:gd name="connsiteY11" fmla="*/ 84928 h 999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99831" h="99915">
                  <a:moveTo>
                    <a:pt x="79378" y="84928"/>
                  </a:moveTo>
                  <a:cubicBezTo>
                    <a:pt x="79378" y="84928"/>
                    <a:pt x="69386" y="84928"/>
                    <a:pt x="79378" y="84928"/>
                  </a:cubicBezTo>
                  <a:lnTo>
                    <a:pt x="79378" y="84928"/>
                  </a:lnTo>
                  <a:cubicBezTo>
                    <a:pt x="69386" y="84928"/>
                    <a:pt x="79378" y="84928"/>
                    <a:pt x="79378" y="84928"/>
                  </a:cubicBezTo>
                  <a:lnTo>
                    <a:pt x="79378" y="84928"/>
                  </a:lnTo>
                  <a:lnTo>
                    <a:pt x="169302" y="74937"/>
                  </a:lnTo>
                  <a:cubicBezTo>
                    <a:pt x="169302" y="74937"/>
                    <a:pt x="169302" y="74937"/>
                    <a:pt x="169302" y="74937"/>
                  </a:cubicBezTo>
                  <a:lnTo>
                    <a:pt x="169302" y="74937"/>
                  </a:lnTo>
                  <a:cubicBezTo>
                    <a:pt x="169302" y="74937"/>
                    <a:pt x="169302" y="74937"/>
                    <a:pt x="169302" y="74937"/>
                  </a:cubicBezTo>
                  <a:lnTo>
                    <a:pt x="169302" y="74937"/>
                  </a:lnTo>
                  <a:lnTo>
                    <a:pt x="79378" y="84928"/>
                  </a:lnTo>
                  <a:lnTo>
                    <a:pt x="79378" y="84928"/>
                  </a:lnTo>
                  <a:close/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1" name="任意多边形: 形状 20">
              <a:extLst>
                <a:ext uri="{FF2B5EF4-FFF2-40B4-BE49-F238E27FC236}">
                  <a16:creationId xmlns:a16="http://schemas.microsoft.com/office/drawing/2014/main" id="{680BA8B7-EEE2-4E85-9CF7-46D6C99AED7E}"/>
                </a:ext>
              </a:extLst>
            </p:cNvPr>
            <p:cNvSpPr/>
            <p:nvPr userDrawn="1"/>
          </p:nvSpPr>
          <p:spPr>
            <a:xfrm>
              <a:off x="4919412" y="4652218"/>
              <a:ext cx="194670" cy="97335"/>
            </a:xfrm>
            <a:custGeom>
              <a:avLst/>
              <a:gdLst>
                <a:gd name="connsiteX0" fmla="*/ 79378 w 199831"/>
                <a:gd name="connsiteY0" fmla="*/ 84929 h 99915"/>
                <a:gd name="connsiteX1" fmla="*/ 79378 w 199831"/>
                <a:gd name="connsiteY1" fmla="*/ 84929 h 99915"/>
                <a:gd name="connsiteX2" fmla="*/ 79378 w 199831"/>
                <a:gd name="connsiteY2" fmla="*/ 84929 h 99915"/>
                <a:gd name="connsiteX3" fmla="*/ 79378 w 199831"/>
                <a:gd name="connsiteY3" fmla="*/ 84929 h 99915"/>
                <a:gd name="connsiteX4" fmla="*/ 79378 w 199831"/>
                <a:gd name="connsiteY4" fmla="*/ 84929 h 99915"/>
                <a:gd name="connsiteX5" fmla="*/ 169302 w 199831"/>
                <a:gd name="connsiteY5" fmla="*/ 74937 h 99915"/>
                <a:gd name="connsiteX6" fmla="*/ 169302 w 199831"/>
                <a:gd name="connsiteY6" fmla="*/ 74937 h 99915"/>
                <a:gd name="connsiteX7" fmla="*/ 169302 w 199831"/>
                <a:gd name="connsiteY7" fmla="*/ 74937 h 99915"/>
                <a:gd name="connsiteX8" fmla="*/ 169302 w 199831"/>
                <a:gd name="connsiteY8" fmla="*/ 74937 h 99915"/>
                <a:gd name="connsiteX9" fmla="*/ 169302 w 199831"/>
                <a:gd name="connsiteY9" fmla="*/ 74937 h 99915"/>
                <a:gd name="connsiteX10" fmla="*/ 79378 w 199831"/>
                <a:gd name="connsiteY10" fmla="*/ 84929 h 99915"/>
                <a:gd name="connsiteX11" fmla="*/ 79378 w 199831"/>
                <a:gd name="connsiteY11" fmla="*/ 84929 h 999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99831" h="99915">
                  <a:moveTo>
                    <a:pt x="79378" y="84929"/>
                  </a:moveTo>
                  <a:cubicBezTo>
                    <a:pt x="79378" y="84929"/>
                    <a:pt x="69386" y="84929"/>
                    <a:pt x="79378" y="84929"/>
                  </a:cubicBezTo>
                  <a:lnTo>
                    <a:pt x="79378" y="84929"/>
                  </a:lnTo>
                  <a:cubicBezTo>
                    <a:pt x="69386" y="74937"/>
                    <a:pt x="79378" y="74937"/>
                    <a:pt x="79378" y="84929"/>
                  </a:cubicBezTo>
                  <a:lnTo>
                    <a:pt x="79378" y="84929"/>
                  </a:lnTo>
                  <a:lnTo>
                    <a:pt x="169302" y="74937"/>
                  </a:lnTo>
                  <a:cubicBezTo>
                    <a:pt x="169302" y="74937"/>
                    <a:pt x="169302" y="74937"/>
                    <a:pt x="169302" y="74937"/>
                  </a:cubicBezTo>
                  <a:lnTo>
                    <a:pt x="169302" y="74937"/>
                  </a:lnTo>
                  <a:cubicBezTo>
                    <a:pt x="169302" y="74937"/>
                    <a:pt x="169302" y="74937"/>
                    <a:pt x="169302" y="74937"/>
                  </a:cubicBezTo>
                  <a:lnTo>
                    <a:pt x="169302" y="74937"/>
                  </a:lnTo>
                  <a:lnTo>
                    <a:pt x="79378" y="84929"/>
                  </a:lnTo>
                  <a:lnTo>
                    <a:pt x="79378" y="84929"/>
                  </a:lnTo>
                  <a:close/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2" name="任意多边形: 形状 21">
              <a:extLst>
                <a:ext uri="{FF2B5EF4-FFF2-40B4-BE49-F238E27FC236}">
                  <a16:creationId xmlns:a16="http://schemas.microsoft.com/office/drawing/2014/main" id="{DFCC88F9-D2B3-4D5D-B283-F95533D6630F}"/>
                </a:ext>
              </a:extLst>
            </p:cNvPr>
            <p:cNvSpPr/>
            <p:nvPr userDrawn="1"/>
          </p:nvSpPr>
          <p:spPr>
            <a:xfrm>
              <a:off x="4919412" y="4759286"/>
              <a:ext cx="194670" cy="97335"/>
            </a:xfrm>
            <a:custGeom>
              <a:avLst/>
              <a:gdLst>
                <a:gd name="connsiteX0" fmla="*/ 79378 w 199831"/>
                <a:gd name="connsiteY0" fmla="*/ 84929 h 99915"/>
                <a:gd name="connsiteX1" fmla="*/ 79378 w 199831"/>
                <a:gd name="connsiteY1" fmla="*/ 84929 h 99915"/>
                <a:gd name="connsiteX2" fmla="*/ 79378 w 199831"/>
                <a:gd name="connsiteY2" fmla="*/ 84929 h 99915"/>
                <a:gd name="connsiteX3" fmla="*/ 79378 w 199831"/>
                <a:gd name="connsiteY3" fmla="*/ 84929 h 99915"/>
                <a:gd name="connsiteX4" fmla="*/ 79378 w 199831"/>
                <a:gd name="connsiteY4" fmla="*/ 84929 h 99915"/>
                <a:gd name="connsiteX5" fmla="*/ 169302 w 199831"/>
                <a:gd name="connsiteY5" fmla="*/ 74937 h 99915"/>
                <a:gd name="connsiteX6" fmla="*/ 169302 w 199831"/>
                <a:gd name="connsiteY6" fmla="*/ 74937 h 99915"/>
                <a:gd name="connsiteX7" fmla="*/ 169302 w 199831"/>
                <a:gd name="connsiteY7" fmla="*/ 74937 h 99915"/>
                <a:gd name="connsiteX8" fmla="*/ 169302 w 199831"/>
                <a:gd name="connsiteY8" fmla="*/ 74937 h 99915"/>
                <a:gd name="connsiteX9" fmla="*/ 169302 w 199831"/>
                <a:gd name="connsiteY9" fmla="*/ 74937 h 99915"/>
                <a:gd name="connsiteX10" fmla="*/ 79378 w 199831"/>
                <a:gd name="connsiteY10" fmla="*/ 84929 h 99915"/>
                <a:gd name="connsiteX11" fmla="*/ 79378 w 199831"/>
                <a:gd name="connsiteY11" fmla="*/ 84929 h 999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99831" h="99915">
                  <a:moveTo>
                    <a:pt x="79378" y="84929"/>
                  </a:moveTo>
                  <a:cubicBezTo>
                    <a:pt x="79378" y="84929"/>
                    <a:pt x="69386" y="84929"/>
                    <a:pt x="79378" y="84929"/>
                  </a:cubicBezTo>
                  <a:lnTo>
                    <a:pt x="79378" y="84929"/>
                  </a:lnTo>
                  <a:cubicBezTo>
                    <a:pt x="69386" y="74937"/>
                    <a:pt x="79378" y="74937"/>
                    <a:pt x="79378" y="84929"/>
                  </a:cubicBezTo>
                  <a:lnTo>
                    <a:pt x="79378" y="84929"/>
                  </a:lnTo>
                  <a:lnTo>
                    <a:pt x="169302" y="74937"/>
                  </a:lnTo>
                  <a:cubicBezTo>
                    <a:pt x="169302" y="74937"/>
                    <a:pt x="169302" y="74937"/>
                    <a:pt x="169302" y="74937"/>
                  </a:cubicBezTo>
                  <a:lnTo>
                    <a:pt x="169302" y="74937"/>
                  </a:lnTo>
                  <a:cubicBezTo>
                    <a:pt x="169302" y="74937"/>
                    <a:pt x="169302" y="74937"/>
                    <a:pt x="169302" y="74937"/>
                  </a:cubicBezTo>
                  <a:lnTo>
                    <a:pt x="169302" y="74937"/>
                  </a:lnTo>
                  <a:lnTo>
                    <a:pt x="79378" y="84929"/>
                  </a:lnTo>
                  <a:lnTo>
                    <a:pt x="79378" y="84929"/>
                  </a:lnTo>
                  <a:close/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3" name="任意多边形: 形状 22">
              <a:extLst>
                <a:ext uri="{FF2B5EF4-FFF2-40B4-BE49-F238E27FC236}">
                  <a16:creationId xmlns:a16="http://schemas.microsoft.com/office/drawing/2014/main" id="{55ED52EE-5864-4E2D-BC35-85BF9775EB44}"/>
                </a:ext>
              </a:extLst>
            </p:cNvPr>
            <p:cNvSpPr/>
            <p:nvPr userDrawn="1"/>
          </p:nvSpPr>
          <p:spPr>
            <a:xfrm>
              <a:off x="4919412" y="4807954"/>
              <a:ext cx="194670" cy="97335"/>
            </a:xfrm>
            <a:custGeom>
              <a:avLst/>
              <a:gdLst>
                <a:gd name="connsiteX0" fmla="*/ 79378 w 199831"/>
                <a:gd name="connsiteY0" fmla="*/ 84929 h 99915"/>
                <a:gd name="connsiteX1" fmla="*/ 79378 w 199831"/>
                <a:gd name="connsiteY1" fmla="*/ 84929 h 99915"/>
                <a:gd name="connsiteX2" fmla="*/ 79378 w 199831"/>
                <a:gd name="connsiteY2" fmla="*/ 84929 h 99915"/>
                <a:gd name="connsiteX3" fmla="*/ 79378 w 199831"/>
                <a:gd name="connsiteY3" fmla="*/ 84929 h 99915"/>
                <a:gd name="connsiteX4" fmla="*/ 79378 w 199831"/>
                <a:gd name="connsiteY4" fmla="*/ 84929 h 99915"/>
                <a:gd name="connsiteX5" fmla="*/ 169302 w 199831"/>
                <a:gd name="connsiteY5" fmla="*/ 74937 h 99915"/>
                <a:gd name="connsiteX6" fmla="*/ 169302 w 199831"/>
                <a:gd name="connsiteY6" fmla="*/ 74937 h 99915"/>
                <a:gd name="connsiteX7" fmla="*/ 169302 w 199831"/>
                <a:gd name="connsiteY7" fmla="*/ 74937 h 99915"/>
                <a:gd name="connsiteX8" fmla="*/ 169302 w 199831"/>
                <a:gd name="connsiteY8" fmla="*/ 74937 h 99915"/>
                <a:gd name="connsiteX9" fmla="*/ 169302 w 199831"/>
                <a:gd name="connsiteY9" fmla="*/ 74937 h 99915"/>
                <a:gd name="connsiteX10" fmla="*/ 79378 w 199831"/>
                <a:gd name="connsiteY10" fmla="*/ 84929 h 99915"/>
                <a:gd name="connsiteX11" fmla="*/ 79378 w 199831"/>
                <a:gd name="connsiteY11" fmla="*/ 84929 h 999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99831" h="99915">
                  <a:moveTo>
                    <a:pt x="79378" y="84929"/>
                  </a:moveTo>
                  <a:cubicBezTo>
                    <a:pt x="79378" y="84929"/>
                    <a:pt x="69386" y="84929"/>
                    <a:pt x="79378" y="84929"/>
                  </a:cubicBezTo>
                  <a:lnTo>
                    <a:pt x="79378" y="84929"/>
                  </a:lnTo>
                  <a:cubicBezTo>
                    <a:pt x="69386" y="84929"/>
                    <a:pt x="79378" y="84929"/>
                    <a:pt x="79378" y="84929"/>
                  </a:cubicBezTo>
                  <a:lnTo>
                    <a:pt x="79378" y="84929"/>
                  </a:lnTo>
                  <a:lnTo>
                    <a:pt x="169302" y="74937"/>
                  </a:lnTo>
                  <a:cubicBezTo>
                    <a:pt x="169302" y="74937"/>
                    <a:pt x="169302" y="74937"/>
                    <a:pt x="169302" y="74937"/>
                  </a:cubicBezTo>
                  <a:lnTo>
                    <a:pt x="169302" y="74937"/>
                  </a:lnTo>
                  <a:cubicBezTo>
                    <a:pt x="169302" y="74937"/>
                    <a:pt x="169302" y="74937"/>
                    <a:pt x="169302" y="74937"/>
                  </a:cubicBezTo>
                  <a:lnTo>
                    <a:pt x="169302" y="74937"/>
                  </a:lnTo>
                  <a:lnTo>
                    <a:pt x="79378" y="84929"/>
                  </a:lnTo>
                  <a:lnTo>
                    <a:pt x="79378" y="84929"/>
                  </a:lnTo>
                  <a:close/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4" name="任意多边形: 形状 23">
              <a:extLst>
                <a:ext uri="{FF2B5EF4-FFF2-40B4-BE49-F238E27FC236}">
                  <a16:creationId xmlns:a16="http://schemas.microsoft.com/office/drawing/2014/main" id="{A082C8C6-0688-4625-A2F3-F4E5F165F418}"/>
                </a:ext>
              </a:extLst>
            </p:cNvPr>
            <p:cNvSpPr/>
            <p:nvPr userDrawn="1"/>
          </p:nvSpPr>
          <p:spPr>
            <a:xfrm>
              <a:off x="4919412" y="4866356"/>
              <a:ext cx="194670" cy="97335"/>
            </a:xfrm>
            <a:custGeom>
              <a:avLst/>
              <a:gdLst>
                <a:gd name="connsiteX0" fmla="*/ 79378 w 199831"/>
                <a:gd name="connsiteY0" fmla="*/ 84929 h 99915"/>
                <a:gd name="connsiteX1" fmla="*/ 79378 w 199831"/>
                <a:gd name="connsiteY1" fmla="*/ 84929 h 99915"/>
                <a:gd name="connsiteX2" fmla="*/ 79378 w 199831"/>
                <a:gd name="connsiteY2" fmla="*/ 84929 h 99915"/>
                <a:gd name="connsiteX3" fmla="*/ 79378 w 199831"/>
                <a:gd name="connsiteY3" fmla="*/ 84929 h 99915"/>
                <a:gd name="connsiteX4" fmla="*/ 79378 w 199831"/>
                <a:gd name="connsiteY4" fmla="*/ 84929 h 99915"/>
                <a:gd name="connsiteX5" fmla="*/ 169302 w 199831"/>
                <a:gd name="connsiteY5" fmla="*/ 74937 h 99915"/>
                <a:gd name="connsiteX6" fmla="*/ 169302 w 199831"/>
                <a:gd name="connsiteY6" fmla="*/ 74937 h 99915"/>
                <a:gd name="connsiteX7" fmla="*/ 169302 w 199831"/>
                <a:gd name="connsiteY7" fmla="*/ 74937 h 99915"/>
                <a:gd name="connsiteX8" fmla="*/ 169302 w 199831"/>
                <a:gd name="connsiteY8" fmla="*/ 74937 h 99915"/>
                <a:gd name="connsiteX9" fmla="*/ 169302 w 199831"/>
                <a:gd name="connsiteY9" fmla="*/ 74937 h 99915"/>
                <a:gd name="connsiteX10" fmla="*/ 79378 w 199831"/>
                <a:gd name="connsiteY10" fmla="*/ 84929 h 99915"/>
                <a:gd name="connsiteX11" fmla="*/ 79378 w 199831"/>
                <a:gd name="connsiteY11" fmla="*/ 84929 h 999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99831" h="99915">
                  <a:moveTo>
                    <a:pt x="79378" y="84929"/>
                  </a:moveTo>
                  <a:cubicBezTo>
                    <a:pt x="79378" y="84929"/>
                    <a:pt x="69386" y="84929"/>
                    <a:pt x="79378" y="84929"/>
                  </a:cubicBezTo>
                  <a:lnTo>
                    <a:pt x="79378" y="84929"/>
                  </a:lnTo>
                  <a:cubicBezTo>
                    <a:pt x="69386" y="84929"/>
                    <a:pt x="79378" y="74937"/>
                    <a:pt x="79378" y="84929"/>
                  </a:cubicBezTo>
                  <a:lnTo>
                    <a:pt x="79378" y="84929"/>
                  </a:lnTo>
                  <a:lnTo>
                    <a:pt x="169302" y="74937"/>
                  </a:lnTo>
                  <a:cubicBezTo>
                    <a:pt x="169302" y="74937"/>
                    <a:pt x="169302" y="74937"/>
                    <a:pt x="169302" y="74937"/>
                  </a:cubicBezTo>
                  <a:lnTo>
                    <a:pt x="169302" y="74937"/>
                  </a:lnTo>
                  <a:cubicBezTo>
                    <a:pt x="169302" y="74937"/>
                    <a:pt x="169302" y="74937"/>
                    <a:pt x="169302" y="74937"/>
                  </a:cubicBezTo>
                  <a:lnTo>
                    <a:pt x="169302" y="74937"/>
                  </a:lnTo>
                  <a:lnTo>
                    <a:pt x="79378" y="84929"/>
                  </a:lnTo>
                  <a:lnTo>
                    <a:pt x="79378" y="84929"/>
                  </a:lnTo>
                  <a:close/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5" name="任意多边形: 形状 24">
              <a:extLst>
                <a:ext uri="{FF2B5EF4-FFF2-40B4-BE49-F238E27FC236}">
                  <a16:creationId xmlns:a16="http://schemas.microsoft.com/office/drawing/2014/main" id="{ED7082D4-0D6B-4749-B805-F5CB31B65B9D}"/>
                </a:ext>
              </a:extLst>
            </p:cNvPr>
            <p:cNvSpPr/>
            <p:nvPr userDrawn="1"/>
          </p:nvSpPr>
          <p:spPr>
            <a:xfrm>
              <a:off x="4919412" y="4924756"/>
              <a:ext cx="194670" cy="97335"/>
            </a:xfrm>
            <a:custGeom>
              <a:avLst/>
              <a:gdLst>
                <a:gd name="connsiteX0" fmla="*/ 79378 w 199831"/>
                <a:gd name="connsiteY0" fmla="*/ 84928 h 99915"/>
                <a:gd name="connsiteX1" fmla="*/ 79378 w 199831"/>
                <a:gd name="connsiteY1" fmla="*/ 84928 h 99915"/>
                <a:gd name="connsiteX2" fmla="*/ 79378 w 199831"/>
                <a:gd name="connsiteY2" fmla="*/ 84928 h 99915"/>
                <a:gd name="connsiteX3" fmla="*/ 79378 w 199831"/>
                <a:gd name="connsiteY3" fmla="*/ 84928 h 99915"/>
                <a:gd name="connsiteX4" fmla="*/ 79378 w 199831"/>
                <a:gd name="connsiteY4" fmla="*/ 84928 h 99915"/>
                <a:gd name="connsiteX5" fmla="*/ 169302 w 199831"/>
                <a:gd name="connsiteY5" fmla="*/ 74937 h 99915"/>
                <a:gd name="connsiteX6" fmla="*/ 169302 w 199831"/>
                <a:gd name="connsiteY6" fmla="*/ 74937 h 99915"/>
                <a:gd name="connsiteX7" fmla="*/ 169302 w 199831"/>
                <a:gd name="connsiteY7" fmla="*/ 74937 h 99915"/>
                <a:gd name="connsiteX8" fmla="*/ 169302 w 199831"/>
                <a:gd name="connsiteY8" fmla="*/ 74937 h 99915"/>
                <a:gd name="connsiteX9" fmla="*/ 169302 w 199831"/>
                <a:gd name="connsiteY9" fmla="*/ 74937 h 99915"/>
                <a:gd name="connsiteX10" fmla="*/ 79378 w 199831"/>
                <a:gd name="connsiteY10" fmla="*/ 84928 h 99915"/>
                <a:gd name="connsiteX11" fmla="*/ 79378 w 199831"/>
                <a:gd name="connsiteY11" fmla="*/ 84928 h 999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99831" h="99915">
                  <a:moveTo>
                    <a:pt x="79378" y="84928"/>
                  </a:moveTo>
                  <a:cubicBezTo>
                    <a:pt x="79378" y="84928"/>
                    <a:pt x="69386" y="74937"/>
                    <a:pt x="79378" y="84928"/>
                  </a:cubicBezTo>
                  <a:lnTo>
                    <a:pt x="79378" y="84928"/>
                  </a:lnTo>
                  <a:cubicBezTo>
                    <a:pt x="69386" y="74937"/>
                    <a:pt x="79378" y="74937"/>
                    <a:pt x="79378" y="84928"/>
                  </a:cubicBezTo>
                  <a:lnTo>
                    <a:pt x="79378" y="84928"/>
                  </a:lnTo>
                  <a:lnTo>
                    <a:pt x="169302" y="74937"/>
                  </a:lnTo>
                  <a:cubicBezTo>
                    <a:pt x="169302" y="74937"/>
                    <a:pt x="169302" y="74937"/>
                    <a:pt x="169302" y="74937"/>
                  </a:cubicBezTo>
                  <a:lnTo>
                    <a:pt x="169302" y="74937"/>
                  </a:lnTo>
                  <a:cubicBezTo>
                    <a:pt x="169302" y="74937"/>
                    <a:pt x="169302" y="74937"/>
                    <a:pt x="169302" y="74937"/>
                  </a:cubicBezTo>
                  <a:lnTo>
                    <a:pt x="169302" y="74937"/>
                  </a:lnTo>
                  <a:lnTo>
                    <a:pt x="79378" y="84928"/>
                  </a:lnTo>
                  <a:lnTo>
                    <a:pt x="79378" y="84928"/>
                  </a:lnTo>
                  <a:close/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6" name="任意多边形: 形状 25">
              <a:extLst>
                <a:ext uri="{FF2B5EF4-FFF2-40B4-BE49-F238E27FC236}">
                  <a16:creationId xmlns:a16="http://schemas.microsoft.com/office/drawing/2014/main" id="{DEAD3BA9-ED5E-4BF6-AF98-4EE5212B12BE}"/>
                </a:ext>
              </a:extLst>
            </p:cNvPr>
            <p:cNvSpPr/>
            <p:nvPr userDrawn="1"/>
          </p:nvSpPr>
          <p:spPr>
            <a:xfrm>
              <a:off x="5147609" y="4438081"/>
              <a:ext cx="97335" cy="97335"/>
            </a:xfrm>
            <a:custGeom>
              <a:avLst/>
              <a:gdLst>
                <a:gd name="connsiteX0" fmla="*/ 94920 w 99915"/>
                <a:gd name="connsiteY0" fmla="*/ 104912 h 99915"/>
                <a:gd name="connsiteX1" fmla="*/ 94920 w 99915"/>
                <a:gd name="connsiteY1" fmla="*/ 74937 h 99915"/>
                <a:gd name="connsiteX2" fmla="*/ 84929 w 99915"/>
                <a:gd name="connsiteY2" fmla="*/ 84929 h 99915"/>
                <a:gd name="connsiteX3" fmla="*/ 74937 w 99915"/>
                <a:gd name="connsiteY3" fmla="*/ 84929 h 99915"/>
                <a:gd name="connsiteX4" fmla="*/ 84929 w 99915"/>
                <a:gd name="connsiteY4" fmla="*/ 74937 h 99915"/>
                <a:gd name="connsiteX5" fmla="*/ 94920 w 99915"/>
                <a:gd name="connsiteY5" fmla="*/ 74937 h 99915"/>
                <a:gd name="connsiteX6" fmla="*/ 94920 w 99915"/>
                <a:gd name="connsiteY6" fmla="*/ 104912 h 99915"/>
                <a:gd name="connsiteX7" fmla="*/ 94920 w 99915"/>
                <a:gd name="connsiteY7" fmla="*/ 104912 h 999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9915" h="99915">
                  <a:moveTo>
                    <a:pt x="94920" y="104912"/>
                  </a:moveTo>
                  <a:lnTo>
                    <a:pt x="94920" y="74937"/>
                  </a:lnTo>
                  <a:lnTo>
                    <a:pt x="84929" y="84929"/>
                  </a:lnTo>
                  <a:lnTo>
                    <a:pt x="74937" y="84929"/>
                  </a:lnTo>
                  <a:lnTo>
                    <a:pt x="84929" y="74937"/>
                  </a:lnTo>
                  <a:lnTo>
                    <a:pt x="94920" y="74937"/>
                  </a:lnTo>
                  <a:lnTo>
                    <a:pt x="94920" y="104912"/>
                  </a:lnTo>
                  <a:lnTo>
                    <a:pt x="94920" y="104912"/>
                  </a:lnTo>
                  <a:close/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7" name="任意多边形: 形状 26">
              <a:extLst>
                <a:ext uri="{FF2B5EF4-FFF2-40B4-BE49-F238E27FC236}">
                  <a16:creationId xmlns:a16="http://schemas.microsoft.com/office/drawing/2014/main" id="{BF576DB7-5E0D-4D89-94DF-87AD9E48F5C1}"/>
                </a:ext>
              </a:extLst>
            </p:cNvPr>
            <p:cNvSpPr/>
            <p:nvPr userDrawn="1"/>
          </p:nvSpPr>
          <p:spPr>
            <a:xfrm>
              <a:off x="5157343" y="4691152"/>
              <a:ext cx="97335" cy="97335"/>
            </a:xfrm>
            <a:custGeom>
              <a:avLst/>
              <a:gdLst>
                <a:gd name="connsiteX0" fmla="*/ 74937 w 99915"/>
                <a:gd name="connsiteY0" fmla="*/ 84928 h 99915"/>
                <a:gd name="connsiteX1" fmla="*/ 94920 w 99915"/>
                <a:gd name="connsiteY1" fmla="*/ 74937 h 99915"/>
                <a:gd name="connsiteX2" fmla="*/ 104912 w 99915"/>
                <a:gd name="connsiteY2" fmla="*/ 94920 h 99915"/>
                <a:gd name="connsiteX3" fmla="*/ 94920 w 99915"/>
                <a:gd name="connsiteY3" fmla="*/ 104912 h 99915"/>
                <a:gd name="connsiteX4" fmla="*/ 114903 w 99915"/>
                <a:gd name="connsiteY4" fmla="*/ 104912 h 99915"/>
                <a:gd name="connsiteX5" fmla="*/ 114903 w 99915"/>
                <a:gd name="connsiteY5" fmla="*/ 104912 h 99915"/>
                <a:gd name="connsiteX6" fmla="*/ 84928 w 99915"/>
                <a:gd name="connsiteY6" fmla="*/ 104912 h 99915"/>
                <a:gd name="connsiteX7" fmla="*/ 84928 w 99915"/>
                <a:gd name="connsiteY7" fmla="*/ 104912 h 99915"/>
                <a:gd name="connsiteX8" fmla="*/ 104912 w 99915"/>
                <a:gd name="connsiteY8" fmla="*/ 94920 h 99915"/>
                <a:gd name="connsiteX9" fmla="*/ 104912 w 99915"/>
                <a:gd name="connsiteY9" fmla="*/ 94920 h 99915"/>
                <a:gd name="connsiteX10" fmla="*/ 94920 w 99915"/>
                <a:gd name="connsiteY10" fmla="*/ 84928 h 99915"/>
                <a:gd name="connsiteX11" fmla="*/ 74937 w 99915"/>
                <a:gd name="connsiteY11" fmla="*/ 84928 h 99915"/>
                <a:gd name="connsiteX12" fmla="*/ 74937 w 99915"/>
                <a:gd name="connsiteY12" fmla="*/ 84928 h 999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99915" h="99915">
                  <a:moveTo>
                    <a:pt x="74937" y="84928"/>
                  </a:moveTo>
                  <a:cubicBezTo>
                    <a:pt x="74937" y="74937"/>
                    <a:pt x="84928" y="74937"/>
                    <a:pt x="94920" y="74937"/>
                  </a:cubicBezTo>
                  <a:cubicBezTo>
                    <a:pt x="114903" y="74937"/>
                    <a:pt x="114903" y="94920"/>
                    <a:pt x="104912" y="94920"/>
                  </a:cubicBezTo>
                  <a:cubicBezTo>
                    <a:pt x="94920" y="94920"/>
                    <a:pt x="94920" y="104912"/>
                    <a:pt x="94920" y="104912"/>
                  </a:cubicBezTo>
                  <a:lnTo>
                    <a:pt x="114903" y="104912"/>
                  </a:lnTo>
                  <a:lnTo>
                    <a:pt x="114903" y="104912"/>
                  </a:lnTo>
                  <a:lnTo>
                    <a:pt x="84928" y="104912"/>
                  </a:lnTo>
                  <a:lnTo>
                    <a:pt x="84928" y="104912"/>
                  </a:lnTo>
                  <a:lnTo>
                    <a:pt x="104912" y="94920"/>
                  </a:lnTo>
                  <a:lnTo>
                    <a:pt x="104912" y="94920"/>
                  </a:lnTo>
                  <a:cubicBezTo>
                    <a:pt x="114903" y="94920"/>
                    <a:pt x="114903" y="84928"/>
                    <a:pt x="94920" y="84928"/>
                  </a:cubicBezTo>
                  <a:cubicBezTo>
                    <a:pt x="84928" y="84928"/>
                    <a:pt x="74937" y="84928"/>
                    <a:pt x="74937" y="84928"/>
                  </a:cubicBezTo>
                  <a:lnTo>
                    <a:pt x="74937" y="84928"/>
                  </a:lnTo>
                  <a:close/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8" name="任意多边形: 形状 27">
              <a:extLst>
                <a:ext uri="{FF2B5EF4-FFF2-40B4-BE49-F238E27FC236}">
                  <a16:creationId xmlns:a16="http://schemas.microsoft.com/office/drawing/2014/main" id="{7C65CC83-E289-48C4-87FE-F3A1C1D1BACC}"/>
                </a:ext>
              </a:extLst>
            </p:cNvPr>
            <p:cNvSpPr/>
            <p:nvPr userDrawn="1"/>
          </p:nvSpPr>
          <p:spPr>
            <a:xfrm>
              <a:off x="5157343" y="4953957"/>
              <a:ext cx="97335" cy="97335"/>
            </a:xfrm>
            <a:custGeom>
              <a:avLst/>
              <a:gdLst>
                <a:gd name="connsiteX0" fmla="*/ 84928 w 99915"/>
                <a:gd name="connsiteY0" fmla="*/ 94920 h 99915"/>
                <a:gd name="connsiteX1" fmla="*/ 84928 w 99915"/>
                <a:gd name="connsiteY1" fmla="*/ 94920 h 99915"/>
                <a:gd name="connsiteX2" fmla="*/ 94920 w 99915"/>
                <a:gd name="connsiteY2" fmla="*/ 84929 h 99915"/>
                <a:gd name="connsiteX3" fmla="*/ 84928 w 99915"/>
                <a:gd name="connsiteY3" fmla="*/ 74937 h 99915"/>
                <a:gd name="connsiteX4" fmla="*/ 84928 w 99915"/>
                <a:gd name="connsiteY4" fmla="*/ 94920 h 99915"/>
                <a:gd name="connsiteX5" fmla="*/ 84928 w 99915"/>
                <a:gd name="connsiteY5" fmla="*/ 94920 h 99915"/>
                <a:gd name="connsiteX6" fmla="*/ 84928 w 99915"/>
                <a:gd name="connsiteY6" fmla="*/ 74937 h 99915"/>
                <a:gd name="connsiteX7" fmla="*/ 104912 w 99915"/>
                <a:gd name="connsiteY7" fmla="*/ 84929 h 99915"/>
                <a:gd name="connsiteX8" fmla="*/ 104912 w 99915"/>
                <a:gd name="connsiteY8" fmla="*/ 94920 h 99915"/>
                <a:gd name="connsiteX9" fmla="*/ 114903 w 99915"/>
                <a:gd name="connsiteY9" fmla="*/ 104912 h 99915"/>
                <a:gd name="connsiteX10" fmla="*/ 94920 w 99915"/>
                <a:gd name="connsiteY10" fmla="*/ 114903 h 99915"/>
                <a:gd name="connsiteX11" fmla="*/ 74937 w 99915"/>
                <a:gd name="connsiteY11" fmla="*/ 104912 h 99915"/>
                <a:gd name="connsiteX12" fmla="*/ 84928 w 99915"/>
                <a:gd name="connsiteY12" fmla="*/ 104912 h 99915"/>
                <a:gd name="connsiteX13" fmla="*/ 94920 w 99915"/>
                <a:gd name="connsiteY13" fmla="*/ 114903 h 99915"/>
                <a:gd name="connsiteX14" fmla="*/ 104912 w 99915"/>
                <a:gd name="connsiteY14" fmla="*/ 104912 h 99915"/>
                <a:gd name="connsiteX15" fmla="*/ 84928 w 99915"/>
                <a:gd name="connsiteY15" fmla="*/ 94920 h 99915"/>
                <a:gd name="connsiteX16" fmla="*/ 84928 w 99915"/>
                <a:gd name="connsiteY16" fmla="*/ 94920 h 99915"/>
                <a:gd name="connsiteX17" fmla="*/ 84928 w 99915"/>
                <a:gd name="connsiteY17" fmla="*/ 94920 h 999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99915" h="99915">
                  <a:moveTo>
                    <a:pt x="84928" y="94920"/>
                  </a:moveTo>
                  <a:lnTo>
                    <a:pt x="84928" y="94920"/>
                  </a:lnTo>
                  <a:cubicBezTo>
                    <a:pt x="94920" y="94920"/>
                    <a:pt x="94920" y="94920"/>
                    <a:pt x="94920" y="84929"/>
                  </a:cubicBezTo>
                  <a:cubicBezTo>
                    <a:pt x="94920" y="84929"/>
                    <a:pt x="94920" y="74937"/>
                    <a:pt x="84928" y="74937"/>
                  </a:cubicBezTo>
                  <a:cubicBezTo>
                    <a:pt x="84928" y="84929"/>
                    <a:pt x="74937" y="84929"/>
                    <a:pt x="84928" y="94920"/>
                  </a:cubicBezTo>
                  <a:lnTo>
                    <a:pt x="84928" y="94920"/>
                  </a:lnTo>
                  <a:cubicBezTo>
                    <a:pt x="74937" y="84929"/>
                    <a:pt x="84928" y="74937"/>
                    <a:pt x="84928" y="74937"/>
                  </a:cubicBezTo>
                  <a:cubicBezTo>
                    <a:pt x="94920" y="74937"/>
                    <a:pt x="104912" y="74937"/>
                    <a:pt x="104912" y="84929"/>
                  </a:cubicBezTo>
                  <a:cubicBezTo>
                    <a:pt x="104912" y="84929"/>
                    <a:pt x="104912" y="94920"/>
                    <a:pt x="104912" y="94920"/>
                  </a:cubicBezTo>
                  <a:cubicBezTo>
                    <a:pt x="104912" y="94920"/>
                    <a:pt x="114903" y="94920"/>
                    <a:pt x="114903" y="104912"/>
                  </a:cubicBezTo>
                  <a:cubicBezTo>
                    <a:pt x="114903" y="114903"/>
                    <a:pt x="104912" y="114903"/>
                    <a:pt x="94920" y="114903"/>
                  </a:cubicBezTo>
                  <a:cubicBezTo>
                    <a:pt x="84928" y="114903"/>
                    <a:pt x="84928" y="114903"/>
                    <a:pt x="74937" y="104912"/>
                  </a:cubicBezTo>
                  <a:lnTo>
                    <a:pt x="84928" y="104912"/>
                  </a:lnTo>
                  <a:cubicBezTo>
                    <a:pt x="84928" y="104912"/>
                    <a:pt x="84928" y="114903"/>
                    <a:pt x="94920" y="114903"/>
                  </a:cubicBezTo>
                  <a:cubicBezTo>
                    <a:pt x="104912" y="114903"/>
                    <a:pt x="104912" y="114903"/>
                    <a:pt x="104912" y="104912"/>
                  </a:cubicBezTo>
                  <a:cubicBezTo>
                    <a:pt x="94920" y="104912"/>
                    <a:pt x="94920" y="94920"/>
                    <a:pt x="84928" y="94920"/>
                  </a:cubicBezTo>
                  <a:lnTo>
                    <a:pt x="84928" y="94920"/>
                  </a:lnTo>
                  <a:lnTo>
                    <a:pt x="84928" y="94920"/>
                  </a:lnTo>
                  <a:close/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9" name="任意多边形: 形状 28">
              <a:extLst>
                <a:ext uri="{FF2B5EF4-FFF2-40B4-BE49-F238E27FC236}">
                  <a16:creationId xmlns:a16="http://schemas.microsoft.com/office/drawing/2014/main" id="{35A0636B-7DFF-4092-B1D8-EAC8375F5F6F}"/>
                </a:ext>
              </a:extLst>
            </p:cNvPr>
            <p:cNvSpPr/>
            <p:nvPr userDrawn="1"/>
          </p:nvSpPr>
          <p:spPr>
            <a:xfrm>
              <a:off x="4738801" y="5868907"/>
              <a:ext cx="681346" cy="194670"/>
            </a:xfrm>
            <a:custGeom>
              <a:avLst/>
              <a:gdLst>
                <a:gd name="connsiteX0" fmla="*/ 74937 w 699411"/>
                <a:gd name="connsiteY0" fmla="*/ 114903 h 199831"/>
                <a:gd name="connsiteX1" fmla="*/ 394668 w 699411"/>
                <a:gd name="connsiteY1" fmla="*/ 144878 h 199831"/>
                <a:gd name="connsiteX2" fmla="*/ 714398 w 699411"/>
                <a:gd name="connsiteY2" fmla="*/ 104912 h 199831"/>
                <a:gd name="connsiteX3" fmla="*/ 394668 w 699411"/>
                <a:gd name="connsiteY3" fmla="*/ 74937 h 199831"/>
                <a:gd name="connsiteX4" fmla="*/ 74937 w 699411"/>
                <a:gd name="connsiteY4" fmla="*/ 114903 h 199831"/>
                <a:gd name="connsiteX5" fmla="*/ 224811 w 699411"/>
                <a:gd name="connsiteY5" fmla="*/ 104912 h 199831"/>
                <a:gd name="connsiteX6" fmla="*/ 394668 w 699411"/>
                <a:gd name="connsiteY6" fmla="*/ 84929 h 199831"/>
                <a:gd name="connsiteX7" fmla="*/ 564525 w 699411"/>
                <a:gd name="connsiteY7" fmla="*/ 104912 h 199831"/>
                <a:gd name="connsiteX8" fmla="*/ 394668 w 699411"/>
                <a:gd name="connsiteY8" fmla="*/ 124895 h 199831"/>
                <a:gd name="connsiteX9" fmla="*/ 224811 w 699411"/>
                <a:gd name="connsiteY9" fmla="*/ 104912 h 199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99411" h="199831">
                  <a:moveTo>
                    <a:pt x="74937" y="114903"/>
                  </a:moveTo>
                  <a:cubicBezTo>
                    <a:pt x="74937" y="134886"/>
                    <a:pt x="214819" y="144878"/>
                    <a:pt x="394668" y="144878"/>
                  </a:cubicBezTo>
                  <a:cubicBezTo>
                    <a:pt x="574516" y="144878"/>
                    <a:pt x="714398" y="124895"/>
                    <a:pt x="714398" y="104912"/>
                  </a:cubicBezTo>
                  <a:cubicBezTo>
                    <a:pt x="714398" y="84929"/>
                    <a:pt x="574516" y="74937"/>
                    <a:pt x="394668" y="74937"/>
                  </a:cubicBezTo>
                  <a:cubicBezTo>
                    <a:pt x="214819" y="74937"/>
                    <a:pt x="74937" y="94920"/>
                    <a:pt x="74937" y="114903"/>
                  </a:cubicBezTo>
                  <a:close/>
                  <a:moveTo>
                    <a:pt x="224811" y="104912"/>
                  </a:moveTo>
                  <a:cubicBezTo>
                    <a:pt x="224811" y="94920"/>
                    <a:pt x="294752" y="84929"/>
                    <a:pt x="394668" y="84929"/>
                  </a:cubicBezTo>
                  <a:cubicBezTo>
                    <a:pt x="494583" y="84929"/>
                    <a:pt x="564525" y="94920"/>
                    <a:pt x="564525" y="104912"/>
                  </a:cubicBezTo>
                  <a:cubicBezTo>
                    <a:pt x="564525" y="114903"/>
                    <a:pt x="494583" y="124895"/>
                    <a:pt x="394668" y="124895"/>
                  </a:cubicBezTo>
                  <a:cubicBezTo>
                    <a:pt x="304744" y="124895"/>
                    <a:pt x="224811" y="114903"/>
                    <a:pt x="224811" y="104912"/>
                  </a:cubicBezTo>
                  <a:close/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0" name="任意多边形: 形状 29">
              <a:extLst>
                <a:ext uri="{FF2B5EF4-FFF2-40B4-BE49-F238E27FC236}">
                  <a16:creationId xmlns:a16="http://schemas.microsoft.com/office/drawing/2014/main" id="{40288551-8265-4E9C-9D71-99E419055A94}"/>
                </a:ext>
              </a:extLst>
            </p:cNvPr>
            <p:cNvSpPr/>
            <p:nvPr userDrawn="1"/>
          </p:nvSpPr>
          <p:spPr>
            <a:xfrm>
              <a:off x="4738801" y="5907842"/>
              <a:ext cx="681346" cy="194670"/>
            </a:xfrm>
            <a:custGeom>
              <a:avLst/>
              <a:gdLst>
                <a:gd name="connsiteX0" fmla="*/ 394668 w 699411"/>
                <a:gd name="connsiteY0" fmla="*/ 114903 h 199831"/>
                <a:gd name="connsiteX1" fmla="*/ 74937 w 699411"/>
                <a:gd name="connsiteY1" fmla="*/ 84929 h 199831"/>
                <a:gd name="connsiteX2" fmla="*/ 74937 w 699411"/>
                <a:gd name="connsiteY2" fmla="*/ 104912 h 199831"/>
                <a:gd name="connsiteX3" fmla="*/ 74937 w 699411"/>
                <a:gd name="connsiteY3" fmla="*/ 104912 h 199831"/>
                <a:gd name="connsiteX4" fmla="*/ 74937 w 699411"/>
                <a:gd name="connsiteY4" fmla="*/ 104912 h 199831"/>
                <a:gd name="connsiteX5" fmla="*/ 74937 w 699411"/>
                <a:gd name="connsiteY5" fmla="*/ 104912 h 199831"/>
                <a:gd name="connsiteX6" fmla="*/ 74937 w 699411"/>
                <a:gd name="connsiteY6" fmla="*/ 104912 h 199831"/>
                <a:gd name="connsiteX7" fmla="*/ 394668 w 699411"/>
                <a:gd name="connsiteY7" fmla="*/ 134886 h 199831"/>
                <a:gd name="connsiteX8" fmla="*/ 714398 w 699411"/>
                <a:gd name="connsiteY8" fmla="*/ 94920 h 199831"/>
                <a:gd name="connsiteX9" fmla="*/ 714398 w 699411"/>
                <a:gd name="connsiteY9" fmla="*/ 94920 h 199831"/>
                <a:gd name="connsiteX10" fmla="*/ 714398 w 699411"/>
                <a:gd name="connsiteY10" fmla="*/ 74937 h 199831"/>
                <a:gd name="connsiteX11" fmla="*/ 394668 w 699411"/>
                <a:gd name="connsiteY11" fmla="*/ 114903 h 199831"/>
                <a:gd name="connsiteX12" fmla="*/ 74937 w 699411"/>
                <a:gd name="connsiteY12" fmla="*/ 84929 h 199831"/>
                <a:gd name="connsiteX13" fmla="*/ 74937 w 699411"/>
                <a:gd name="connsiteY13" fmla="*/ 84929 h 199831"/>
                <a:gd name="connsiteX14" fmla="*/ 74937 w 699411"/>
                <a:gd name="connsiteY14" fmla="*/ 84929 h 199831"/>
                <a:gd name="connsiteX15" fmla="*/ 74937 w 699411"/>
                <a:gd name="connsiteY15" fmla="*/ 84929 h 199831"/>
                <a:gd name="connsiteX16" fmla="*/ 74937 w 699411"/>
                <a:gd name="connsiteY16" fmla="*/ 84929 h 199831"/>
                <a:gd name="connsiteX17" fmla="*/ 74937 w 699411"/>
                <a:gd name="connsiteY17" fmla="*/ 84929 h 199831"/>
                <a:gd name="connsiteX18" fmla="*/ 74937 w 699411"/>
                <a:gd name="connsiteY18" fmla="*/ 84929 h 199831"/>
                <a:gd name="connsiteX19" fmla="*/ 74937 w 699411"/>
                <a:gd name="connsiteY19" fmla="*/ 84929 h 199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699411" h="199831">
                  <a:moveTo>
                    <a:pt x="394668" y="114903"/>
                  </a:moveTo>
                  <a:cubicBezTo>
                    <a:pt x="214819" y="114903"/>
                    <a:pt x="74937" y="104912"/>
                    <a:pt x="74937" y="84929"/>
                  </a:cubicBezTo>
                  <a:lnTo>
                    <a:pt x="74937" y="104912"/>
                  </a:lnTo>
                  <a:lnTo>
                    <a:pt x="74937" y="104912"/>
                  </a:lnTo>
                  <a:cubicBezTo>
                    <a:pt x="74937" y="104912"/>
                    <a:pt x="74937" y="104912"/>
                    <a:pt x="74937" y="104912"/>
                  </a:cubicBezTo>
                  <a:lnTo>
                    <a:pt x="74937" y="104912"/>
                  </a:lnTo>
                  <a:lnTo>
                    <a:pt x="74937" y="104912"/>
                  </a:lnTo>
                  <a:cubicBezTo>
                    <a:pt x="74937" y="124895"/>
                    <a:pt x="214819" y="134886"/>
                    <a:pt x="394668" y="134886"/>
                  </a:cubicBezTo>
                  <a:cubicBezTo>
                    <a:pt x="574516" y="134886"/>
                    <a:pt x="714398" y="114903"/>
                    <a:pt x="714398" y="94920"/>
                  </a:cubicBezTo>
                  <a:lnTo>
                    <a:pt x="714398" y="94920"/>
                  </a:lnTo>
                  <a:lnTo>
                    <a:pt x="714398" y="74937"/>
                  </a:lnTo>
                  <a:cubicBezTo>
                    <a:pt x="704407" y="94920"/>
                    <a:pt x="564525" y="114903"/>
                    <a:pt x="394668" y="114903"/>
                  </a:cubicBezTo>
                  <a:close/>
                  <a:moveTo>
                    <a:pt x="74937" y="84929"/>
                  </a:moveTo>
                  <a:lnTo>
                    <a:pt x="74937" y="84929"/>
                  </a:lnTo>
                  <a:cubicBezTo>
                    <a:pt x="74937" y="84929"/>
                    <a:pt x="74937" y="84929"/>
                    <a:pt x="74937" y="84929"/>
                  </a:cubicBezTo>
                  <a:lnTo>
                    <a:pt x="74937" y="84929"/>
                  </a:lnTo>
                  <a:close/>
                  <a:moveTo>
                    <a:pt x="74937" y="84929"/>
                  </a:moveTo>
                  <a:lnTo>
                    <a:pt x="74937" y="84929"/>
                  </a:lnTo>
                  <a:lnTo>
                    <a:pt x="74937" y="84929"/>
                  </a:lnTo>
                  <a:cubicBezTo>
                    <a:pt x="74937" y="84929"/>
                    <a:pt x="74937" y="84929"/>
                    <a:pt x="74937" y="84929"/>
                  </a:cubicBezTo>
                  <a:close/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1" name="任意多边形: 形状 30">
              <a:extLst>
                <a:ext uri="{FF2B5EF4-FFF2-40B4-BE49-F238E27FC236}">
                  <a16:creationId xmlns:a16="http://schemas.microsoft.com/office/drawing/2014/main" id="{053439FE-CB5B-4509-9EE2-56F5052EBAE9}"/>
                </a:ext>
              </a:extLst>
            </p:cNvPr>
            <p:cNvSpPr/>
            <p:nvPr userDrawn="1"/>
          </p:nvSpPr>
          <p:spPr>
            <a:xfrm>
              <a:off x="1797294" y="4029273"/>
              <a:ext cx="292005" cy="681346"/>
            </a:xfrm>
            <a:custGeom>
              <a:avLst/>
              <a:gdLst>
                <a:gd name="connsiteX0" fmla="*/ 216858 w 299747"/>
                <a:gd name="connsiteY0" fmla="*/ 684424 h 699411"/>
                <a:gd name="connsiteX1" fmla="*/ 96959 w 299747"/>
                <a:gd name="connsiteY1" fmla="*/ 704407 h 699411"/>
                <a:gd name="connsiteX2" fmla="*/ 76976 w 299747"/>
                <a:gd name="connsiteY2" fmla="*/ 354701 h 699411"/>
                <a:gd name="connsiteX3" fmla="*/ 136926 w 299747"/>
                <a:gd name="connsiteY3" fmla="*/ 104912 h 699411"/>
                <a:gd name="connsiteX4" fmla="*/ 146917 w 299747"/>
                <a:gd name="connsiteY4" fmla="*/ 74937 h 699411"/>
                <a:gd name="connsiteX5" fmla="*/ 206867 w 299747"/>
                <a:gd name="connsiteY5" fmla="*/ 174853 h 699411"/>
                <a:gd name="connsiteX6" fmla="*/ 236841 w 299747"/>
                <a:gd name="connsiteY6" fmla="*/ 534550 h 699411"/>
                <a:gd name="connsiteX7" fmla="*/ 216858 w 299747"/>
                <a:gd name="connsiteY7" fmla="*/ 684424 h 6994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99747" h="699411">
                  <a:moveTo>
                    <a:pt x="216858" y="684424"/>
                  </a:moveTo>
                  <a:cubicBezTo>
                    <a:pt x="216858" y="694415"/>
                    <a:pt x="96959" y="704407"/>
                    <a:pt x="96959" y="704407"/>
                  </a:cubicBezTo>
                  <a:cubicBezTo>
                    <a:pt x="96959" y="704407"/>
                    <a:pt x="66984" y="494584"/>
                    <a:pt x="76976" y="354701"/>
                  </a:cubicBezTo>
                  <a:cubicBezTo>
                    <a:pt x="86968" y="214819"/>
                    <a:pt x="96959" y="174853"/>
                    <a:pt x="136926" y="104912"/>
                  </a:cubicBezTo>
                  <a:lnTo>
                    <a:pt x="146917" y="74937"/>
                  </a:lnTo>
                  <a:cubicBezTo>
                    <a:pt x="146917" y="74937"/>
                    <a:pt x="176892" y="104912"/>
                    <a:pt x="206867" y="174853"/>
                  </a:cubicBezTo>
                  <a:cubicBezTo>
                    <a:pt x="246833" y="284760"/>
                    <a:pt x="246833" y="434634"/>
                    <a:pt x="236841" y="534550"/>
                  </a:cubicBezTo>
                  <a:cubicBezTo>
                    <a:pt x="226850" y="644457"/>
                    <a:pt x="216858" y="684424"/>
                    <a:pt x="216858" y="684424"/>
                  </a:cubicBezTo>
                  <a:close/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2" name="任意多边形: 形状 31">
              <a:extLst>
                <a:ext uri="{FF2B5EF4-FFF2-40B4-BE49-F238E27FC236}">
                  <a16:creationId xmlns:a16="http://schemas.microsoft.com/office/drawing/2014/main" id="{94F8968D-047D-412A-8D63-659B78FA8C29}"/>
                </a:ext>
              </a:extLst>
            </p:cNvPr>
            <p:cNvSpPr/>
            <p:nvPr userDrawn="1"/>
          </p:nvSpPr>
          <p:spPr>
            <a:xfrm>
              <a:off x="1828482" y="4623017"/>
              <a:ext cx="194670" cy="97335"/>
            </a:xfrm>
            <a:custGeom>
              <a:avLst/>
              <a:gdLst>
                <a:gd name="connsiteX0" fmla="*/ 74937 w 199831"/>
                <a:gd name="connsiteY0" fmla="*/ 94920 h 99915"/>
                <a:gd name="connsiteX1" fmla="*/ 184844 w 199831"/>
                <a:gd name="connsiteY1" fmla="*/ 74937 h 99915"/>
                <a:gd name="connsiteX2" fmla="*/ 174853 w 199831"/>
                <a:gd name="connsiteY2" fmla="*/ 94920 h 99915"/>
                <a:gd name="connsiteX3" fmla="*/ 114903 w 199831"/>
                <a:gd name="connsiteY3" fmla="*/ 114903 h 99915"/>
                <a:gd name="connsiteX4" fmla="*/ 84928 w 199831"/>
                <a:gd name="connsiteY4" fmla="*/ 104912 h 99915"/>
                <a:gd name="connsiteX5" fmla="*/ 74937 w 199831"/>
                <a:gd name="connsiteY5" fmla="*/ 94920 h 999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99831" h="99915">
                  <a:moveTo>
                    <a:pt x="74937" y="94920"/>
                  </a:moveTo>
                  <a:lnTo>
                    <a:pt x="184844" y="74937"/>
                  </a:lnTo>
                  <a:cubicBezTo>
                    <a:pt x="184844" y="74937"/>
                    <a:pt x="184844" y="94920"/>
                    <a:pt x="174853" y="94920"/>
                  </a:cubicBezTo>
                  <a:cubicBezTo>
                    <a:pt x="164861" y="104912"/>
                    <a:pt x="124895" y="114903"/>
                    <a:pt x="114903" y="114903"/>
                  </a:cubicBezTo>
                  <a:cubicBezTo>
                    <a:pt x="94920" y="114903"/>
                    <a:pt x="84928" y="114903"/>
                    <a:pt x="84928" y="104912"/>
                  </a:cubicBezTo>
                  <a:cubicBezTo>
                    <a:pt x="74937" y="104912"/>
                    <a:pt x="74937" y="94920"/>
                    <a:pt x="74937" y="94920"/>
                  </a:cubicBezTo>
                  <a:close/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3" name="任意多边形: 形状 32">
              <a:extLst>
                <a:ext uri="{FF2B5EF4-FFF2-40B4-BE49-F238E27FC236}">
                  <a16:creationId xmlns:a16="http://schemas.microsoft.com/office/drawing/2014/main" id="{415B3F20-81BA-44BB-802B-56238520937C}"/>
                </a:ext>
              </a:extLst>
            </p:cNvPr>
            <p:cNvSpPr/>
            <p:nvPr userDrawn="1"/>
          </p:nvSpPr>
          <p:spPr>
            <a:xfrm>
              <a:off x="1828482" y="4603551"/>
              <a:ext cx="194670" cy="389341"/>
            </a:xfrm>
            <a:custGeom>
              <a:avLst/>
              <a:gdLst>
                <a:gd name="connsiteX0" fmla="*/ 74937 w 199831"/>
                <a:gd name="connsiteY0" fmla="*/ 314735 h 399663"/>
                <a:gd name="connsiteX1" fmla="*/ 84928 w 199831"/>
                <a:gd name="connsiteY1" fmla="*/ 244794 h 399663"/>
                <a:gd name="connsiteX2" fmla="*/ 74937 w 199831"/>
                <a:gd name="connsiteY2" fmla="*/ 124895 h 399663"/>
                <a:gd name="connsiteX3" fmla="*/ 124895 w 199831"/>
                <a:gd name="connsiteY3" fmla="*/ 134886 h 399663"/>
                <a:gd name="connsiteX4" fmla="*/ 194836 w 199831"/>
                <a:gd name="connsiteY4" fmla="*/ 74937 h 399663"/>
                <a:gd name="connsiteX5" fmla="*/ 174853 w 199831"/>
                <a:gd name="connsiteY5" fmla="*/ 294752 h 399663"/>
                <a:gd name="connsiteX6" fmla="*/ 184844 w 199831"/>
                <a:gd name="connsiteY6" fmla="*/ 324727 h 399663"/>
                <a:gd name="connsiteX7" fmla="*/ 74937 w 199831"/>
                <a:gd name="connsiteY7" fmla="*/ 314735 h 3996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99831" h="399663">
                  <a:moveTo>
                    <a:pt x="74937" y="314735"/>
                  </a:moveTo>
                  <a:cubicBezTo>
                    <a:pt x="84928" y="304744"/>
                    <a:pt x="84928" y="284760"/>
                    <a:pt x="84928" y="244794"/>
                  </a:cubicBezTo>
                  <a:cubicBezTo>
                    <a:pt x="84928" y="204828"/>
                    <a:pt x="74937" y="124895"/>
                    <a:pt x="74937" y="124895"/>
                  </a:cubicBezTo>
                  <a:cubicBezTo>
                    <a:pt x="74937" y="124895"/>
                    <a:pt x="94920" y="134886"/>
                    <a:pt x="124895" y="134886"/>
                  </a:cubicBezTo>
                  <a:cubicBezTo>
                    <a:pt x="154870" y="134886"/>
                    <a:pt x="174853" y="124895"/>
                    <a:pt x="194836" y="74937"/>
                  </a:cubicBezTo>
                  <a:cubicBezTo>
                    <a:pt x="184844" y="114903"/>
                    <a:pt x="174853" y="284760"/>
                    <a:pt x="174853" y="294752"/>
                  </a:cubicBezTo>
                  <a:cubicBezTo>
                    <a:pt x="174853" y="304744"/>
                    <a:pt x="184844" y="324727"/>
                    <a:pt x="184844" y="324727"/>
                  </a:cubicBezTo>
                  <a:lnTo>
                    <a:pt x="74937" y="314735"/>
                  </a:lnTo>
                  <a:close/>
                </a:path>
              </a:pathLst>
            </a:custGeom>
            <a:solidFill>
              <a:schemeClr val="tx2">
                <a:lumMod val="20000"/>
                <a:lumOff val="8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4" name="任意多边形: 形状 33">
              <a:extLst>
                <a:ext uri="{FF2B5EF4-FFF2-40B4-BE49-F238E27FC236}">
                  <a16:creationId xmlns:a16="http://schemas.microsoft.com/office/drawing/2014/main" id="{C6BD346F-CFB8-4268-9383-D075A42B7B94}"/>
                </a:ext>
              </a:extLst>
            </p:cNvPr>
            <p:cNvSpPr/>
            <p:nvPr userDrawn="1"/>
          </p:nvSpPr>
          <p:spPr>
            <a:xfrm>
              <a:off x="1867416" y="4009806"/>
              <a:ext cx="194670" cy="973352"/>
            </a:xfrm>
            <a:custGeom>
              <a:avLst/>
              <a:gdLst>
                <a:gd name="connsiteX0" fmla="*/ 74937 w 199831"/>
                <a:gd name="connsiteY0" fmla="*/ 104912 h 999158"/>
                <a:gd name="connsiteX1" fmla="*/ 94920 w 199831"/>
                <a:gd name="connsiteY1" fmla="*/ 74937 h 999158"/>
                <a:gd name="connsiteX2" fmla="*/ 174853 w 199831"/>
                <a:gd name="connsiteY2" fmla="*/ 374685 h 999158"/>
                <a:gd name="connsiteX3" fmla="*/ 154870 w 199831"/>
                <a:gd name="connsiteY3" fmla="*/ 694415 h 999158"/>
                <a:gd name="connsiteX4" fmla="*/ 144878 w 199831"/>
                <a:gd name="connsiteY4" fmla="*/ 884256 h 999158"/>
                <a:gd name="connsiteX5" fmla="*/ 154870 w 199831"/>
                <a:gd name="connsiteY5" fmla="*/ 924222 h 999158"/>
                <a:gd name="connsiteX6" fmla="*/ 134886 w 199831"/>
                <a:gd name="connsiteY6" fmla="*/ 924222 h 999158"/>
                <a:gd name="connsiteX7" fmla="*/ 144878 w 199831"/>
                <a:gd name="connsiteY7" fmla="*/ 734382 h 999158"/>
                <a:gd name="connsiteX8" fmla="*/ 164861 w 199831"/>
                <a:gd name="connsiteY8" fmla="*/ 344710 h 999158"/>
                <a:gd name="connsiteX9" fmla="*/ 114903 w 199831"/>
                <a:gd name="connsiteY9" fmla="*/ 144878 h 999158"/>
                <a:gd name="connsiteX10" fmla="*/ 74937 w 199831"/>
                <a:gd name="connsiteY10" fmla="*/ 104912 h 9991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99831" h="999158">
                  <a:moveTo>
                    <a:pt x="74937" y="104912"/>
                  </a:moveTo>
                  <a:lnTo>
                    <a:pt x="94920" y="74937"/>
                  </a:lnTo>
                  <a:cubicBezTo>
                    <a:pt x="94920" y="74937"/>
                    <a:pt x="174853" y="194836"/>
                    <a:pt x="174853" y="374685"/>
                  </a:cubicBezTo>
                  <a:cubicBezTo>
                    <a:pt x="174853" y="554533"/>
                    <a:pt x="154870" y="674432"/>
                    <a:pt x="154870" y="694415"/>
                  </a:cubicBezTo>
                  <a:cubicBezTo>
                    <a:pt x="154870" y="714399"/>
                    <a:pt x="144878" y="874264"/>
                    <a:pt x="144878" y="884256"/>
                  </a:cubicBezTo>
                  <a:cubicBezTo>
                    <a:pt x="144878" y="894247"/>
                    <a:pt x="144878" y="914230"/>
                    <a:pt x="154870" y="924222"/>
                  </a:cubicBezTo>
                  <a:cubicBezTo>
                    <a:pt x="144878" y="934213"/>
                    <a:pt x="134886" y="924222"/>
                    <a:pt x="134886" y="924222"/>
                  </a:cubicBezTo>
                  <a:cubicBezTo>
                    <a:pt x="134886" y="924222"/>
                    <a:pt x="134886" y="814314"/>
                    <a:pt x="144878" y="734382"/>
                  </a:cubicBezTo>
                  <a:cubicBezTo>
                    <a:pt x="154870" y="654449"/>
                    <a:pt x="164861" y="404659"/>
                    <a:pt x="164861" y="344710"/>
                  </a:cubicBezTo>
                  <a:cubicBezTo>
                    <a:pt x="154870" y="254786"/>
                    <a:pt x="124895" y="174853"/>
                    <a:pt x="114903" y="144878"/>
                  </a:cubicBezTo>
                  <a:cubicBezTo>
                    <a:pt x="94920" y="114903"/>
                    <a:pt x="74937" y="104912"/>
                    <a:pt x="74937" y="104912"/>
                  </a:cubicBezTo>
                  <a:close/>
                </a:path>
              </a:pathLst>
            </a:custGeom>
            <a:solidFill>
              <a:schemeClr val="tx2">
                <a:lumMod val="20000"/>
                <a:lumOff val="8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5" name="任意多边形: 形状 34">
              <a:extLst>
                <a:ext uri="{FF2B5EF4-FFF2-40B4-BE49-F238E27FC236}">
                  <a16:creationId xmlns:a16="http://schemas.microsoft.com/office/drawing/2014/main" id="{C1D62AE0-3E71-499B-AAD5-A6E9E981C8FB}"/>
                </a:ext>
              </a:extLst>
            </p:cNvPr>
            <p:cNvSpPr/>
            <p:nvPr userDrawn="1"/>
          </p:nvSpPr>
          <p:spPr>
            <a:xfrm>
              <a:off x="1775488" y="4817688"/>
              <a:ext cx="292005" cy="1654698"/>
            </a:xfrm>
            <a:custGeom>
              <a:avLst/>
              <a:gdLst>
                <a:gd name="connsiteX0" fmla="*/ 109352 w 299747"/>
                <a:gd name="connsiteY0" fmla="*/ 104912 h 1698569"/>
                <a:gd name="connsiteX1" fmla="*/ 129336 w 299747"/>
                <a:gd name="connsiteY1" fmla="*/ 94920 h 1698569"/>
                <a:gd name="connsiteX2" fmla="*/ 149319 w 299747"/>
                <a:gd name="connsiteY2" fmla="*/ 74937 h 1698569"/>
                <a:gd name="connsiteX3" fmla="*/ 189285 w 299747"/>
                <a:gd name="connsiteY3" fmla="*/ 74937 h 1698569"/>
                <a:gd name="connsiteX4" fmla="*/ 259226 w 299747"/>
                <a:gd name="connsiteY4" fmla="*/ 104912 h 1698569"/>
                <a:gd name="connsiteX5" fmla="*/ 279209 w 299747"/>
                <a:gd name="connsiteY5" fmla="*/ 114903 h 1698569"/>
                <a:gd name="connsiteX6" fmla="*/ 289201 w 299747"/>
                <a:gd name="connsiteY6" fmla="*/ 494584 h 1698569"/>
                <a:gd name="connsiteX7" fmla="*/ 259226 w 299747"/>
                <a:gd name="connsiteY7" fmla="*/ 1233961 h 1698569"/>
                <a:gd name="connsiteX8" fmla="*/ 279209 w 299747"/>
                <a:gd name="connsiteY8" fmla="*/ 1603650 h 1698569"/>
                <a:gd name="connsiteX9" fmla="*/ 259226 w 299747"/>
                <a:gd name="connsiteY9" fmla="*/ 1683583 h 1698569"/>
                <a:gd name="connsiteX10" fmla="*/ 79378 w 299747"/>
                <a:gd name="connsiteY10" fmla="*/ 1673591 h 1698569"/>
                <a:gd name="connsiteX11" fmla="*/ 79378 w 299747"/>
                <a:gd name="connsiteY11" fmla="*/ 1553692 h 1698569"/>
                <a:gd name="connsiteX12" fmla="*/ 89369 w 299747"/>
                <a:gd name="connsiteY12" fmla="*/ 764356 h 1698569"/>
                <a:gd name="connsiteX13" fmla="*/ 79378 w 299747"/>
                <a:gd name="connsiteY13" fmla="*/ 474600 h 1698569"/>
                <a:gd name="connsiteX14" fmla="*/ 109352 w 299747"/>
                <a:gd name="connsiteY14" fmla="*/ 104912 h 16985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99747" h="1698569">
                  <a:moveTo>
                    <a:pt x="109352" y="104912"/>
                  </a:moveTo>
                  <a:cubicBezTo>
                    <a:pt x="109352" y="104912"/>
                    <a:pt x="119344" y="104912"/>
                    <a:pt x="129336" y="94920"/>
                  </a:cubicBezTo>
                  <a:cubicBezTo>
                    <a:pt x="139327" y="94920"/>
                    <a:pt x="149319" y="84929"/>
                    <a:pt x="149319" y="74937"/>
                  </a:cubicBezTo>
                  <a:cubicBezTo>
                    <a:pt x="149319" y="74937"/>
                    <a:pt x="189285" y="74937"/>
                    <a:pt x="189285" y="74937"/>
                  </a:cubicBezTo>
                  <a:cubicBezTo>
                    <a:pt x="189285" y="74937"/>
                    <a:pt x="229251" y="94920"/>
                    <a:pt x="259226" y="104912"/>
                  </a:cubicBezTo>
                  <a:cubicBezTo>
                    <a:pt x="269218" y="104912"/>
                    <a:pt x="279209" y="104912"/>
                    <a:pt x="279209" y="114903"/>
                  </a:cubicBezTo>
                  <a:cubicBezTo>
                    <a:pt x="279209" y="114903"/>
                    <a:pt x="299193" y="324727"/>
                    <a:pt x="289201" y="494584"/>
                  </a:cubicBezTo>
                  <a:cubicBezTo>
                    <a:pt x="279209" y="654449"/>
                    <a:pt x="259226" y="1114062"/>
                    <a:pt x="259226" y="1233961"/>
                  </a:cubicBezTo>
                  <a:cubicBezTo>
                    <a:pt x="259226" y="1353860"/>
                    <a:pt x="269218" y="1553692"/>
                    <a:pt x="279209" y="1603650"/>
                  </a:cubicBezTo>
                  <a:cubicBezTo>
                    <a:pt x="279209" y="1663599"/>
                    <a:pt x="279209" y="1663599"/>
                    <a:pt x="259226" y="1683583"/>
                  </a:cubicBezTo>
                  <a:cubicBezTo>
                    <a:pt x="239243" y="1693574"/>
                    <a:pt x="99361" y="1693574"/>
                    <a:pt x="79378" y="1673591"/>
                  </a:cubicBezTo>
                  <a:cubicBezTo>
                    <a:pt x="69386" y="1663599"/>
                    <a:pt x="79378" y="1603650"/>
                    <a:pt x="79378" y="1553692"/>
                  </a:cubicBezTo>
                  <a:cubicBezTo>
                    <a:pt x="79378" y="1503734"/>
                    <a:pt x="109352" y="1263936"/>
                    <a:pt x="89369" y="764356"/>
                  </a:cubicBezTo>
                  <a:cubicBezTo>
                    <a:pt x="89369" y="764356"/>
                    <a:pt x="79378" y="684424"/>
                    <a:pt x="79378" y="474600"/>
                  </a:cubicBezTo>
                  <a:cubicBezTo>
                    <a:pt x="89369" y="274769"/>
                    <a:pt x="109352" y="104912"/>
                    <a:pt x="109352" y="104912"/>
                  </a:cubicBezTo>
                  <a:close/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6" name="任意多边形: 形状 35">
              <a:extLst>
                <a:ext uri="{FF2B5EF4-FFF2-40B4-BE49-F238E27FC236}">
                  <a16:creationId xmlns:a16="http://schemas.microsoft.com/office/drawing/2014/main" id="{53198720-9862-4227-B98E-0F8751B6E006}"/>
                </a:ext>
              </a:extLst>
            </p:cNvPr>
            <p:cNvSpPr/>
            <p:nvPr userDrawn="1"/>
          </p:nvSpPr>
          <p:spPr>
            <a:xfrm>
              <a:off x="1779815" y="6306916"/>
              <a:ext cx="292005" cy="194670"/>
            </a:xfrm>
            <a:custGeom>
              <a:avLst/>
              <a:gdLst>
                <a:gd name="connsiteX0" fmla="*/ 274769 w 299747"/>
                <a:gd name="connsiteY0" fmla="*/ 74937 h 199831"/>
                <a:gd name="connsiteX1" fmla="*/ 254785 w 299747"/>
                <a:gd name="connsiteY1" fmla="*/ 124895 h 199831"/>
                <a:gd name="connsiteX2" fmla="*/ 74937 w 299747"/>
                <a:gd name="connsiteY2" fmla="*/ 124895 h 199831"/>
                <a:gd name="connsiteX3" fmla="*/ 74937 w 299747"/>
                <a:gd name="connsiteY3" fmla="*/ 134886 h 199831"/>
                <a:gd name="connsiteX4" fmla="*/ 254785 w 299747"/>
                <a:gd name="connsiteY4" fmla="*/ 144878 h 199831"/>
                <a:gd name="connsiteX5" fmla="*/ 274769 w 299747"/>
                <a:gd name="connsiteY5" fmla="*/ 74937 h 199831"/>
                <a:gd name="connsiteX6" fmla="*/ 274769 w 299747"/>
                <a:gd name="connsiteY6" fmla="*/ 74937 h 199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99747" h="199831">
                  <a:moveTo>
                    <a:pt x="274769" y="74937"/>
                  </a:moveTo>
                  <a:cubicBezTo>
                    <a:pt x="274769" y="114903"/>
                    <a:pt x="264777" y="124895"/>
                    <a:pt x="254785" y="124895"/>
                  </a:cubicBezTo>
                  <a:cubicBezTo>
                    <a:pt x="234802" y="134886"/>
                    <a:pt x="114903" y="144878"/>
                    <a:pt x="74937" y="124895"/>
                  </a:cubicBezTo>
                  <a:cubicBezTo>
                    <a:pt x="74937" y="134886"/>
                    <a:pt x="74937" y="134886"/>
                    <a:pt x="74937" y="134886"/>
                  </a:cubicBezTo>
                  <a:cubicBezTo>
                    <a:pt x="94920" y="164861"/>
                    <a:pt x="244794" y="154870"/>
                    <a:pt x="254785" y="144878"/>
                  </a:cubicBezTo>
                  <a:cubicBezTo>
                    <a:pt x="284760" y="134886"/>
                    <a:pt x="284760" y="134886"/>
                    <a:pt x="274769" y="74937"/>
                  </a:cubicBezTo>
                  <a:lnTo>
                    <a:pt x="274769" y="74937"/>
                  </a:lnTo>
                  <a:close/>
                </a:path>
              </a:pathLst>
            </a:custGeom>
            <a:solidFill>
              <a:schemeClr val="tx2">
                <a:lumMod val="20000"/>
                <a:lumOff val="8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7" name="任意多边形: 形状 36">
              <a:extLst>
                <a:ext uri="{FF2B5EF4-FFF2-40B4-BE49-F238E27FC236}">
                  <a16:creationId xmlns:a16="http://schemas.microsoft.com/office/drawing/2014/main" id="{76E52AD0-037C-40A8-B1F9-B549B48DCE72}"/>
                </a:ext>
              </a:extLst>
            </p:cNvPr>
            <p:cNvSpPr/>
            <p:nvPr userDrawn="1"/>
          </p:nvSpPr>
          <p:spPr>
            <a:xfrm>
              <a:off x="1807029" y="4029273"/>
              <a:ext cx="194670" cy="681346"/>
            </a:xfrm>
            <a:custGeom>
              <a:avLst/>
              <a:gdLst>
                <a:gd name="connsiteX0" fmla="*/ 126934 w 199831"/>
                <a:gd name="connsiteY0" fmla="*/ 104912 h 699411"/>
                <a:gd name="connsiteX1" fmla="*/ 76976 w 199831"/>
                <a:gd name="connsiteY1" fmla="*/ 354701 h 699411"/>
                <a:gd name="connsiteX2" fmla="*/ 96959 w 199831"/>
                <a:gd name="connsiteY2" fmla="*/ 704407 h 699411"/>
                <a:gd name="connsiteX3" fmla="*/ 146917 w 199831"/>
                <a:gd name="connsiteY3" fmla="*/ 714399 h 699411"/>
                <a:gd name="connsiteX4" fmla="*/ 136926 w 199831"/>
                <a:gd name="connsiteY4" fmla="*/ 74937 h 699411"/>
                <a:gd name="connsiteX5" fmla="*/ 126934 w 199831"/>
                <a:gd name="connsiteY5" fmla="*/ 104912 h 6994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99831" h="699411">
                  <a:moveTo>
                    <a:pt x="126934" y="104912"/>
                  </a:moveTo>
                  <a:cubicBezTo>
                    <a:pt x="86968" y="174853"/>
                    <a:pt x="76976" y="214819"/>
                    <a:pt x="76976" y="354701"/>
                  </a:cubicBezTo>
                  <a:cubicBezTo>
                    <a:pt x="66984" y="494584"/>
                    <a:pt x="96959" y="704407"/>
                    <a:pt x="96959" y="704407"/>
                  </a:cubicBezTo>
                  <a:cubicBezTo>
                    <a:pt x="96959" y="704407"/>
                    <a:pt x="116942" y="724390"/>
                    <a:pt x="146917" y="714399"/>
                  </a:cubicBezTo>
                  <a:lnTo>
                    <a:pt x="136926" y="74937"/>
                  </a:lnTo>
                  <a:lnTo>
                    <a:pt x="126934" y="104912"/>
                  </a:lnTo>
                  <a:close/>
                </a:path>
              </a:pathLst>
            </a:custGeom>
            <a:solidFill>
              <a:schemeClr val="tx2">
                <a:lumMod val="20000"/>
                <a:lumOff val="8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8" name="任意多边形: 形状 37">
              <a:extLst>
                <a:ext uri="{FF2B5EF4-FFF2-40B4-BE49-F238E27FC236}">
                  <a16:creationId xmlns:a16="http://schemas.microsoft.com/office/drawing/2014/main" id="{3A61EEFA-4E85-4DD3-9677-9DD78E1BE93B}"/>
                </a:ext>
              </a:extLst>
            </p:cNvPr>
            <p:cNvSpPr/>
            <p:nvPr userDrawn="1"/>
          </p:nvSpPr>
          <p:spPr>
            <a:xfrm>
              <a:off x="1775488" y="4827421"/>
              <a:ext cx="194670" cy="1654698"/>
            </a:xfrm>
            <a:custGeom>
              <a:avLst/>
              <a:gdLst>
                <a:gd name="connsiteX0" fmla="*/ 119344 w 199831"/>
                <a:gd name="connsiteY0" fmla="*/ 84928 h 1698569"/>
                <a:gd name="connsiteX1" fmla="*/ 99361 w 199831"/>
                <a:gd name="connsiteY1" fmla="*/ 94920 h 1698569"/>
                <a:gd name="connsiteX2" fmla="*/ 79378 w 199831"/>
                <a:gd name="connsiteY2" fmla="*/ 454617 h 1698569"/>
                <a:gd name="connsiteX3" fmla="*/ 89369 w 199831"/>
                <a:gd name="connsiteY3" fmla="*/ 744373 h 1698569"/>
                <a:gd name="connsiteX4" fmla="*/ 79378 w 199831"/>
                <a:gd name="connsiteY4" fmla="*/ 1533709 h 1698569"/>
                <a:gd name="connsiteX5" fmla="*/ 79378 w 199831"/>
                <a:gd name="connsiteY5" fmla="*/ 1653608 h 1698569"/>
                <a:gd name="connsiteX6" fmla="*/ 179293 w 199831"/>
                <a:gd name="connsiteY6" fmla="*/ 1673591 h 1698569"/>
                <a:gd name="connsiteX7" fmla="*/ 179293 w 199831"/>
                <a:gd name="connsiteY7" fmla="*/ 74937 h 1698569"/>
                <a:gd name="connsiteX8" fmla="*/ 139327 w 199831"/>
                <a:gd name="connsiteY8" fmla="*/ 74937 h 1698569"/>
                <a:gd name="connsiteX9" fmla="*/ 119344 w 199831"/>
                <a:gd name="connsiteY9" fmla="*/ 84928 h 16985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99831" h="1698569">
                  <a:moveTo>
                    <a:pt x="119344" y="84928"/>
                  </a:moveTo>
                  <a:cubicBezTo>
                    <a:pt x="109352" y="84928"/>
                    <a:pt x="99361" y="84928"/>
                    <a:pt x="99361" y="94920"/>
                  </a:cubicBezTo>
                  <a:cubicBezTo>
                    <a:pt x="99361" y="94920"/>
                    <a:pt x="79378" y="264777"/>
                    <a:pt x="79378" y="454617"/>
                  </a:cubicBezTo>
                  <a:cubicBezTo>
                    <a:pt x="79378" y="664441"/>
                    <a:pt x="89369" y="744373"/>
                    <a:pt x="89369" y="744373"/>
                  </a:cubicBezTo>
                  <a:cubicBezTo>
                    <a:pt x="109352" y="1243953"/>
                    <a:pt x="79378" y="1483751"/>
                    <a:pt x="79378" y="1533709"/>
                  </a:cubicBezTo>
                  <a:cubicBezTo>
                    <a:pt x="79378" y="1583667"/>
                    <a:pt x="69386" y="1643616"/>
                    <a:pt x="79378" y="1653608"/>
                  </a:cubicBezTo>
                  <a:cubicBezTo>
                    <a:pt x="89369" y="1663599"/>
                    <a:pt x="139327" y="1673591"/>
                    <a:pt x="179293" y="1673591"/>
                  </a:cubicBezTo>
                  <a:lnTo>
                    <a:pt x="179293" y="74937"/>
                  </a:lnTo>
                  <a:cubicBezTo>
                    <a:pt x="169302" y="74937"/>
                    <a:pt x="139327" y="74937"/>
                    <a:pt x="139327" y="74937"/>
                  </a:cubicBezTo>
                  <a:cubicBezTo>
                    <a:pt x="139327" y="74937"/>
                    <a:pt x="139327" y="84928"/>
                    <a:pt x="119344" y="84928"/>
                  </a:cubicBezTo>
                  <a:close/>
                </a:path>
              </a:pathLst>
            </a:custGeom>
            <a:solidFill>
              <a:schemeClr val="tx2">
                <a:lumMod val="20000"/>
                <a:lumOff val="8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9" name="任意多边形: 形状 38">
              <a:extLst>
                <a:ext uri="{FF2B5EF4-FFF2-40B4-BE49-F238E27FC236}">
                  <a16:creationId xmlns:a16="http://schemas.microsoft.com/office/drawing/2014/main" id="{473EE630-76DB-480B-9AB9-FFF973B8F56A}"/>
                </a:ext>
              </a:extLst>
            </p:cNvPr>
            <p:cNvSpPr/>
            <p:nvPr userDrawn="1"/>
          </p:nvSpPr>
          <p:spPr>
            <a:xfrm>
              <a:off x="3434511" y="4048740"/>
              <a:ext cx="584011" cy="681346"/>
            </a:xfrm>
            <a:custGeom>
              <a:avLst/>
              <a:gdLst>
                <a:gd name="connsiteX0" fmla="*/ 554533 w 599495"/>
                <a:gd name="connsiteY0" fmla="*/ 354701 h 699411"/>
                <a:gd name="connsiteX1" fmla="*/ 314735 w 599495"/>
                <a:gd name="connsiteY1" fmla="*/ 74937 h 699411"/>
                <a:gd name="connsiteX2" fmla="*/ 74937 w 599495"/>
                <a:gd name="connsiteY2" fmla="*/ 354701 h 699411"/>
                <a:gd name="connsiteX3" fmla="*/ 314735 w 599495"/>
                <a:gd name="connsiteY3" fmla="*/ 634466 h 699411"/>
                <a:gd name="connsiteX4" fmla="*/ 554533 w 599495"/>
                <a:gd name="connsiteY4" fmla="*/ 354701 h 699411"/>
                <a:gd name="connsiteX5" fmla="*/ 494584 w 599495"/>
                <a:gd name="connsiteY5" fmla="*/ 354701 h 699411"/>
                <a:gd name="connsiteX6" fmla="*/ 314735 w 599495"/>
                <a:gd name="connsiteY6" fmla="*/ 564525 h 699411"/>
                <a:gd name="connsiteX7" fmla="*/ 134886 w 599495"/>
                <a:gd name="connsiteY7" fmla="*/ 354701 h 699411"/>
                <a:gd name="connsiteX8" fmla="*/ 314735 w 599495"/>
                <a:gd name="connsiteY8" fmla="*/ 144878 h 699411"/>
                <a:gd name="connsiteX9" fmla="*/ 494584 w 599495"/>
                <a:gd name="connsiteY9" fmla="*/ 354701 h 6994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99495" h="699411">
                  <a:moveTo>
                    <a:pt x="554533" y="354701"/>
                  </a:moveTo>
                  <a:cubicBezTo>
                    <a:pt x="554533" y="194836"/>
                    <a:pt x="444626" y="74937"/>
                    <a:pt x="314735" y="74937"/>
                  </a:cubicBezTo>
                  <a:cubicBezTo>
                    <a:pt x="184844" y="74937"/>
                    <a:pt x="74937" y="204828"/>
                    <a:pt x="74937" y="354701"/>
                  </a:cubicBezTo>
                  <a:cubicBezTo>
                    <a:pt x="74937" y="514567"/>
                    <a:pt x="184844" y="634466"/>
                    <a:pt x="314735" y="634466"/>
                  </a:cubicBezTo>
                  <a:cubicBezTo>
                    <a:pt x="454617" y="634466"/>
                    <a:pt x="554533" y="514567"/>
                    <a:pt x="554533" y="354701"/>
                  </a:cubicBezTo>
                  <a:close/>
                  <a:moveTo>
                    <a:pt x="494584" y="354701"/>
                  </a:moveTo>
                  <a:cubicBezTo>
                    <a:pt x="494584" y="474600"/>
                    <a:pt x="414651" y="564525"/>
                    <a:pt x="314735" y="564525"/>
                  </a:cubicBezTo>
                  <a:cubicBezTo>
                    <a:pt x="214819" y="564525"/>
                    <a:pt x="134886" y="474600"/>
                    <a:pt x="134886" y="354701"/>
                  </a:cubicBezTo>
                  <a:cubicBezTo>
                    <a:pt x="134886" y="234802"/>
                    <a:pt x="214819" y="144878"/>
                    <a:pt x="314735" y="144878"/>
                  </a:cubicBezTo>
                  <a:cubicBezTo>
                    <a:pt x="414651" y="144878"/>
                    <a:pt x="494584" y="234802"/>
                    <a:pt x="494584" y="354701"/>
                  </a:cubicBezTo>
                  <a:close/>
                </a:path>
              </a:pathLst>
            </a:custGeom>
            <a:solidFill>
              <a:schemeClr val="tx2">
                <a:lumMod val="20000"/>
                <a:lumOff val="8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0" name="任意多边形: 形状 39">
              <a:extLst>
                <a:ext uri="{FF2B5EF4-FFF2-40B4-BE49-F238E27FC236}">
                  <a16:creationId xmlns:a16="http://schemas.microsoft.com/office/drawing/2014/main" id="{9B2E96EA-1B99-4BC0-A709-3BB98C3FF2C5}"/>
                </a:ext>
              </a:extLst>
            </p:cNvPr>
            <p:cNvSpPr/>
            <p:nvPr userDrawn="1"/>
          </p:nvSpPr>
          <p:spPr>
            <a:xfrm>
              <a:off x="3658382" y="4360213"/>
              <a:ext cx="389340" cy="2141372"/>
            </a:xfrm>
            <a:custGeom>
              <a:avLst/>
              <a:gdLst>
                <a:gd name="connsiteX0" fmla="*/ 324727 w 399663"/>
                <a:gd name="connsiteY0" fmla="*/ 74937 h 2198149"/>
                <a:gd name="connsiteX1" fmla="*/ 374685 w 399663"/>
                <a:gd name="connsiteY1" fmla="*/ 1024138 h 2198149"/>
                <a:gd name="connsiteX2" fmla="*/ 404659 w 399663"/>
                <a:gd name="connsiteY2" fmla="*/ 1463768 h 2198149"/>
                <a:gd name="connsiteX3" fmla="*/ 394668 w 399663"/>
                <a:gd name="connsiteY3" fmla="*/ 2163179 h 2198149"/>
                <a:gd name="connsiteX4" fmla="*/ 364693 w 399663"/>
                <a:gd name="connsiteY4" fmla="*/ 2123213 h 2198149"/>
                <a:gd name="connsiteX5" fmla="*/ 334718 w 399663"/>
                <a:gd name="connsiteY5" fmla="*/ 1503734 h 2198149"/>
                <a:gd name="connsiteX6" fmla="*/ 274769 w 399663"/>
                <a:gd name="connsiteY6" fmla="*/ 1094079 h 2198149"/>
                <a:gd name="connsiteX7" fmla="*/ 184844 w 399663"/>
                <a:gd name="connsiteY7" fmla="*/ 434634 h 2198149"/>
                <a:gd name="connsiteX8" fmla="*/ 74937 w 399663"/>
                <a:gd name="connsiteY8" fmla="*/ 274769 h 2198149"/>
                <a:gd name="connsiteX9" fmla="*/ 224811 w 399663"/>
                <a:gd name="connsiteY9" fmla="*/ 194836 h 2198149"/>
                <a:gd name="connsiteX10" fmla="*/ 324727 w 399663"/>
                <a:gd name="connsiteY10" fmla="*/ 74937 h 2198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99663" h="2198149">
                  <a:moveTo>
                    <a:pt x="324727" y="74937"/>
                  </a:moveTo>
                  <a:lnTo>
                    <a:pt x="374685" y="1024138"/>
                  </a:lnTo>
                  <a:cubicBezTo>
                    <a:pt x="374685" y="1024138"/>
                    <a:pt x="404659" y="1383835"/>
                    <a:pt x="404659" y="1463768"/>
                  </a:cubicBezTo>
                  <a:cubicBezTo>
                    <a:pt x="394668" y="1703566"/>
                    <a:pt x="404659" y="2123213"/>
                    <a:pt x="394668" y="2163179"/>
                  </a:cubicBezTo>
                  <a:cubicBezTo>
                    <a:pt x="384676" y="2203145"/>
                    <a:pt x="364693" y="2193154"/>
                    <a:pt x="364693" y="2123213"/>
                  </a:cubicBezTo>
                  <a:cubicBezTo>
                    <a:pt x="364693" y="2013305"/>
                    <a:pt x="334718" y="1503734"/>
                    <a:pt x="334718" y="1503734"/>
                  </a:cubicBezTo>
                  <a:lnTo>
                    <a:pt x="274769" y="1094079"/>
                  </a:lnTo>
                  <a:lnTo>
                    <a:pt x="184844" y="434634"/>
                  </a:lnTo>
                  <a:lnTo>
                    <a:pt x="74937" y="274769"/>
                  </a:lnTo>
                  <a:lnTo>
                    <a:pt x="224811" y="194836"/>
                  </a:lnTo>
                  <a:lnTo>
                    <a:pt x="324727" y="74937"/>
                  </a:lnTo>
                  <a:close/>
                </a:path>
              </a:pathLst>
            </a:custGeom>
            <a:solidFill>
              <a:schemeClr val="tx2">
                <a:lumMod val="20000"/>
                <a:lumOff val="8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1" name="任意多边形: 形状 40">
              <a:extLst>
                <a:ext uri="{FF2B5EF4-FFF2-40B4-BE49-F238E27FC236}">
                  <a16:creationId xmlns:a16="http://schemas.microsoft.com/office/drawing/2014/main" id="{2DFFEFE3-6A4D-49EF-B3D7-5FFDA34B00D4}"/>
                </a:ext>
              </a:extLst>
            </p:cNvPr>
            <p:cNvSpPr/>
            <p:nvPr userDrawn="1"/>
          </p:nvSpPr>
          <p:spPr>
            <a:xfrm>
              <a:off x="4008788" y="4068207"/>
              <a:ext cx="584011" cy="681346"/>
            </a:xfrm>
            <a:custGeom>
              <a:avLst/>
              <a:gdLst>
                <a:gd name="connsiteX0" fmla="*/ 554533 w 599495"/>
                <a:gd name="connsiteY0" fmla="*/ 354701 h 699411"/>
                <a:gd name="connsiteX1" fmla="*/ 314735 w 599495"/>
                <a:gd name="connsiteY1" fmla="*/ 74937 h 699411"/>
                <a:gd name="connsiteX2" fmla="*/ 74937 w 599495"/>
                <a:gd name="connsiteY2" fmla="*/ 354701 h 699411"/>
                <a:gd name="connsiteX3" fmla="*/ 314735 w 599495"/>
                <a:gd name="connsiteY3" fmla="*/ 634466 h 699411"/>
                <a:gd name="connsiteX4" fmla="*/ 554533 w 599495"/>
                <a:gd name="connsiteY4" fmla="*/ 354701 h 699411"/>
                <a:gd name="connsiteX5" fmla="*/ 494584 w 599495"/>
                <a:gd name="connsiteY5" fmla="*/ 354701 h 699411"/>
                <a:gd name="connsiteX6" fmla="*/ 314735 w 599495"/>
                <a:gd name="connsiteY6" fmla="*/ 564525 h 699411"/>
                <a:gd name="connsiteX7" fmla="*/ 134886 w 599495"/>
                <a:gd name="connsiteY7" fmla="*/ 354701 h 699411"/>
                <a:gd name="connsiteX8" fmla="*/ 314735 w 599495"/>
                <a:gd name="connsiteY8" fmla="*/ 144878 h 699411"/>
                <a:gd name="connsiteX9" fmla="*/ 494584 w 599495"/>
                <a:gd name="connsiteY9" fmla="*/ 354701 h 6994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99495" h="699411">
                  <a:moveTo>
                    <a:pt x="554533" y="354701"/>
                  </a:moveTo>
                  <a:cubicBezTo>
                    <a:pt x="554533" y="194836"/>
                    <a:pt x="444626" y="74937"/>
                    <a:pt x="314735" y="74937"/>
                  </a:cubicBezTo>
                  <a:cubicBezTo>
                    <a:pt x="184844" y="74937"/>
                    <a:pt x="74937" y="204828"/>
                    <a:pt x="74937" y="354701"/>
                  </a:cubicBezTo>
                  <a:cubicBezTo>
                    <a:pt x="74937" y="514567"/>
                    <a:pt x="184844" y="634466"/>
                    <a:pt x="314735" y="634466"/>
                  </a:cubicBezTo>
                  <a:cubicBezTo>
                    <a:pt x="444626" y="634466"/>
                    <a:pt x="554533" y="514567"/>
                    <a:pt x="554533" y="354701"/>
                  </a:cubicBezTo>
                  <a:close/>
                  <a:moveTo>
                    <a:pt x="494584" y="354701"/>
                  </a:moveTo>
                  <a:cubicBezTo>
                    <a:pt x="494584" y="474600"/>
                    <a:pt x="414651" y="564525"/>
                    <a:pt x="314735" y="564525"/>
                  </a:cubicBezTo>
                  <a:cubicBezTo>
                    <a:pt x="214819" y="564525"/>
                    <a:pt x="134886" y="474600"/>
                    <a:pt x="134886" y="354701"/>
                  </a:cubicBezTo>
                  <a:cubicBezTo>
                    <a:pt x="134886" y="234802"/>
                    <a:pt x="214819" y="144878"/>
                    <a:pt x="314735" y="144878"/>
                  </a:cubicBezTo>
                  <a:cubicBezTo>
                    <a:pt x="414651" y="144878"/>
                    <a:pt x="494584" y="234802"/>
                    <a:pt x="494584" y="354701"/>
                  </a:cubicBezTo>
                  <a:close/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2" name="任意多边形: 形状 41">
              <a:extLst>
                <a:ext uri="{FF2B5EF4-FFF2-40B4-BE49-F238E27FC236}">
                  <a16:creationId xmlns:a16="http://schemas.microsoft.com/office/drawing/2014/main" id="{71EDD191-C871-44C2-8F44-1EBF61FDBE90}"/>
                </a:ext>
              </a:extLst>
            </p:cNvPr>
            <p:cNvSpPr/>
            <p:nvPr userDrawn="1"/>
          </p:nvSpPr>
          <p:spPr>
            <a:xfrm>
              <a:off x="3823852" y="4331012"/>
              <a:ext cx="486676" cy="2141372"/>
            </a:xfrm>
            <a:custGeom>
              <a:avLst/>
              <a:gdLst>
                <a:gd name="connsiteX0" fmla="*/ 264777 w 499579"/>
                <a:gd name="connsiteY0" fmla="*/ 74937 h 2198149"/>
                <a:gd name="connsiteX1" fmla="*/ 174853 w 499579"/>
                <a:gd name="connsiteY1" fmla="*/ 864272 h 2198149"/>
                <a:gd name="connsiteX2" fmla="*/ 74937 w 499579"/>
                <a:gd name="connsiteY2" fmla="*/ 924222 h 2198149"/>
                <a:gd name="connsiteX3" fmla="*/ 134886 w 499579"/>
                <a:gd name="connsiteY3" fmla="*/ 1583667 h 2198149"/>
                <a:gd name="connsiteX4" fmla="*/ 164861 w 499579"/>
                <a:gd name="connsiteY4" fmla="*/ 2153187 h 2198149"/>
                <a:gd name="connsiteX5" fmla="*/ 204827 w 499579"/>
                <a:gd name="connsiteY5" fmla="*/ 2063263 h 2198149"/>
                <a:gd name="connsiteX6" fmla="*/ 244794 w 499579"/>
                <a:gd name="connsiteY6" fmla="*/ 1563684 h 2198149"/>
                <a:gd name="connsiteX7" fmla="*/ 354701 w 499579"/>
                <a:gd name="connsiteY7" fmla="*/ 384676 h 2198149"/>
                <a:gd name="connsiteX8" fmla="*/ 504575 w 499579"/>
                <a:gd name="connsiteY8" fmla="*/ 344710 h 2198149"/>
                <a:gd name="connsiteX9" fmla="*/ 344710 w 499579"/>
                <a:gd name="connsiteY9" fmla="*/ 214819 h 2198149"/>
                <a:gd name="connsiteX10" fmla="*/ 264777 w 499579"/>
                <a:gd name="connsiteY10" fmla="*/ 74937 h 2198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99579" h="2198149">
                  <a:moveTo>
                    <a:pt x="264777" y="74937"/>
                  </a:moveTo>
                  <a:lnTo>
                    <a:pt x="174853" y="864272"/>
                  </a:lnTo>
                  <a:lnTo>
                    <a:pt x="74937" y="924222"/>
                  </a:lnTo>
                  <a:lnTo>
                    <a:pt x="134886" y="1583667"/>
                  </a:lnTo>
                  <a:cubicBezTo>
                    <a:pt x="134886" y="1583667"/>
                    <a:pt x="164861" y="2113221"/>
                    <a:pt x="164861" y="2153187"/>
                  </a:cubicBezTo>
                  <a:cubicBezTo>
                    <a:pt x="164861" y="2233120"/>
                    <a:pt x="194836" y="2233120"/>
                    <a:pt x="204827" y="2063263"/>
                  </a:cubicBezTo>
                  <a:cubicBezTo>
                    <a:pt x="214819" y="1993322"/>
                    <a:pt x="244794" y="1563684"/>
                    <a:pt x="244794" y="1563684"/>
                  </a:cubicBezTo>
                  <a:lnTo>
                    <a:pt x="354701" y="384676"/>
                  </a:lnTo>
                  <a:lnTo>
                    <a:pt x="504575" y="344710"/>
                  </a:lnTo>
                  <a:cubicBezTo>
                    <a:pt x="504575" y="344710"/>
                    <a:pt x="384676" y="284760"/>
                    <a:pt x="344710" y="214819"/>
                  </a:cubicBezTo>
                  <a:cubicBezTo>
                    <a:pt x="294752" y="164861"/>
                    <a:pt x="264777" y="74937"/>
                    <a:pt x="264777" y="74937"/>
                  </a:cubicBezTo>
                  <a:close/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3" name="任意多边形: 形状 42">
              <a:extLst>
                <a:ext uri="{FF2B5EF4-FFF2-40B4-BE49-F238E27FC236}">
                  <a16:creationId xmlns:a16="http://schemas.microsoft.com/office/drawing/2014/main" id="{D04A214E-DF6D-4122-A813-9401A6868767}"/>
                </a:ext>
              </a:extLst>
            </p:cNvPr>
            <p:cNvSpPr/>
            <p:nvPr userDrawn="1"/>
          </p:nvSpPr>
          <p:spPr>
            <a:xfrm>
              <a:off x="3882253" y="5197295"/>
              <a:ext cx="194670" cy="194670"/>
            </a:xfrm>
            <a:custGeom>
              <a:avLst/>
              <a:gdLst>
                <a:gd name="connsiteX0" fmla="*/ 174853 w 199831"/>
                <a:gd name="connsiteY0" fmla="*/ 124895 h 199831"/>
                <a:gd name="connsiteX1" fmla="*/ 124895 w 199831"/>
                <a:gd name="connsiteY1" fmla="*/ 74937 h 199831"/>
                <a:gd name="connsiteX2" fmla="*/ 74937 w 199831"/>
                <a:gd name="connsiteY2" fmla="*/ 124895 h 199831"/>
                <a:gd name="connsiteX3" fmla="*/ 124895 w 199831"/>
                <a:gd name="connsiteY3" fmla="*/ 174853 h 199831"/>
                <a:gd name="connsiteX4" fmla="*/ 174853 w 199831"/>
                <a:gd name="connsiteY4" fmla="*/ 124895 h 199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9831" h="199831">
                  <a:moveTo>
                    <a:pt x="174853" y="124895"/>
                  </a:moveTo>
                  <a:cubicBezTo>
                    <a:pt x="174853" y="94920"/>
                    <a:pt x="154870" y="74937"/>
                    <a:pt x="124895" y="74937"/>
                  </a:cubicBezTo>
                  <a:cubicBezTo>
                    <a:pt x="94920" y="74937"/>
                    <a:pt x="74937" y="94920"/>
                    <a:pt x="74937" y="124895"/>
                  </a:cubicBezTo>
                  <a:cubicBezTo>
                    <a:pt x="74937" y="154870"/>
                    <a:pt x="94920" y="174853"/>
                    <a:pt x="124895" y="174853"/>
                  </a:cubicBezTo>
                  <a:cubicBezTo>
                    <a:pt x="154870" y="184844"/>
                    <a:pt x="174853" y="154870"/>
                    <a:pt x="174853" y="124895"/>
                  </a:cubicBezTo>
                  <a:close/>
                </a:path>
              </a:pathLst>
            </a:custGeom>
            <a:solidFill>
              <a:schemeClr val="tx2">
                <a:lumMod val="20000"/>
                <a:lumOff val="8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4" name="任意多边形: 形状 43">
              <a:extLst>
                <a:ext uri="{FF2B5EF4-FFF2-40B4-BE49-F238E27FC236}">
                  <a16:creationId xmlns:a16="http://schemas.microsoft.com/office/drawing/2014/main" id="{4C04FBC3-C2A4-4DB9-A2D8-0CA26C04FA52}"/>
                </a:ext>
              </a:extLst>
            </p:cNvPr>
            <p:cNvSpPr/>
            <p:nvPr userDrawn="1"/>
          </p:nvSpPr>
          <p:spPr>
            <a:xfrm>
              <a:off x="2616897" y="6306916"/>
              <a:ext cx="486676" cy="194670"/>
            </a:xfrm>
            <a:custGeom>
              <a:avLst/>
              <a:gdLst>
                <a:gd name="connsiteX0" fmla="*/ 434634 w 499579"/>
                <a:gd name="connsiteY0" fmla="*/ 114903 h 199831"/>
                <a:gd name="connsiteX1" fmla="*/ 254785 w 499579"/>
                <a:gd name="connsiteY1" fmla="*/ 154870 h 199831"/>
                <a:gd name="connsiteX2" fmla="*/ 74937 w 499579"/>
                <a:gd name="connsiteY2" fmla="*/ 114903 h 199831"/>
                <a:gd name="connsiteX3" fmla="*/ 254785 w 499579"/>
                <a:gd name="connsiteY3" fmla="*/ 74937 h 199831"/>
                <a:gd name="connsiteX4" fmla="*/ 434634 w 499579"/>
                <a:gd name="connsiteY4" fmla="*/ 114903 h 199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9579" h="199831">
                  <a:moveTo>
                    <a:pt x="434634" y="114903"/>
                  </a:moveTo>
                  <a:cubicBezTo>
                    <a:pt x="434634" y="134886"/>
                    <a:pt x="354701" y="154870"/>
                    <a:pt x="254785" y="154870"/>
                  </a:cubicBezTo>
                  <a:cubicBezTo>
                    <a:pt x="154870" y="154870"/>
                    <a:pt x="74937" y="144878"/>
                    <a:pt x="74937" y="114903"/>
                  </a:cubicBezTo>
                  <a:cubicBezTo>
                    <a:pt x="74937" y="94920"/>
                    <a:pt x="154870" y="74937"/>
                    <a:pt x="254785" y="74937"/>
                  </a:cubicBezTo>
                  <a:cubicBezTo>
                    <a:pt x="354701" y="74937"/>
                    <a:pt x="434634" y="94920"/>
                    <a:pt x="434634" y="114903"/>
                  </a:cubicBezTo>
                  <a:close/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5" name="任意多边形: 形状 44">
              <a:extLst>
                <a:ext uri="{FF2B5EF4-FFF2-40B4-BE49-F238E27FC236}">
                  <a16:creationId xmlns:a16="http://schemas.microsoft.com/office/drawing/2014/main" id="{62908A5F-713C-4524-BF43-7FE9A11DB810}"/>
                </a:ext>
              </a:extLst>
            </p:cNvPr>
            <p:cNvSpPr/>
            <p:nvPr userDrawn="1"/>
          </p:nvSpPr>
          <p:spPr>
            <a:xfrm>
              <a:off x="2597429" y="6345849"/>
              <a:ext cx="486676" cy="194670"/>
            </a:xfrm>
            <a:custGeom>
              <a:avLst/>
              <a:gdLst>
                <a:gd name="connsiteX0" fmla="*/ 454617 w 499579"/>
                <a:gd name="connsiteY0" fmla="*/ 74937 h 199831"/>
                <a:gd name="connsiteX1" fmla="*/ 264777 w 499579"/>
                <a:gd name="connsiteY1" fmla="*/ 114903 h 199831"/>
                <a:gd name="connsiteX2" fmla="*/ 74937 w 499579"/>
                <a:gd name="connsiteY2" fmla="*/ 74937 h 199831"/>
                <a:gd name="connsiteX3" fmla="*/ 74937 w 499579"/>
                <a:gd name="connsiteY3" fmla="*/ 104912 h 199831"/>
                <a:gd name="connsiteX4" fmla="*/ 74937 w 499579"/>
                <a:gd name="connsiteY4" fmla="*/ 104912 h 199831"/>
                <a:gd name="connsiteX5" fmla="*/ 254785 w 499579"/>
                <a:gd name="connsiteY5" fmla="*/ 144878 h 199831"/>
                <a:gd name="connsiteX6" fmla="*/ 434634 w 499579"/>
                <a:gd name="connsiteY6" fmla="*/ 104912 h 199831"/>
                <a:gd name="connsiteX7" fmla="*/ 434634 w 499579"/>
                <a:gd name="connsiteY7" fmla="*/ 104912 h 199831"/>
                <a:gd name="connsiteX8" fmla="*/ 434634 w 499579"/>
                <a:gd name="connsiteY8" fmla="*/ 104912 h 199831"/>
                <a:gd name="connsiteX9" fmla="*/ 434634 w 499579"/>
                <a:gd name="connsiteY9" fmla="*/ 104912 h 199831"/>
                <a:gd name="connsiteX10" fmla="*/ 434634 w 499579"/>
                <a:gd name="connsiteY10" fmla="*/ 104912 h 199831"/>
                <a:gd name="connsiteX11" fmla="*/ 454617 w 499579"/>
                <a:gd name="connsiteY11" fmla="*/ 74937 h 199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99579" h="199831">
                  <a:moveTo>
                    <a:pt x="454617" y="74937"/>
                  </a:moveTo>
                  <a:cubicBezTo>
                    <a:pt x="444626" y="94920"/>
                    <a:pt x="364693" y="114903"/>
                    <a:pt x="264777" y="114903"/>
                  </a:cubicBezTo>
                  <a:cubicBezTo>
                    <a:pt x="164861" y="114903"/>
                    <a:pt x="74937" y="104912"/>
                    <a:pt x="74937" y="74937"/>
                  </a:cubicBezTo>
                  <a:cubicBezTo>
                    <a:pt x="74937" y="74937"/>
                    <a:pt x="74937" y="104912"/>
                    <a:pt x="74937" y="104912"/>
                  </a:cubicBezTo>
                  <a:lnTo>
                    <a:pt x="74937" y="104912"/>
                  </a:lnTo>
                  <a:cubicBezTo>
                    <a:pt x="74937" y="134887"/>
                    <a:pt x="154870" y="144878"/>
                    <a:pt x="254785" y="144878"/>
                  </a:cubicBezTo>
                  <a:cubicBezTo>
                    <a:pt x="354701" y="144878"/>
                    <a:pt x="434634" y="124895"/>
                    <a:pt x="434634" y="104912"/>
                  </a:cubicBezTo>
                  <a:lnTo>
                    <a:pt x="434634" y="104912"/>
                  </a:lnTo>
                  <a:lnTo>
                    <a:pt x="434634" y="104912"/>
                  </a:lnTo>
                  <a:cubicBezTo>
                    <a:pt x="434634" y="104912"/>
                    <a:pt x="434634" y="104912"/>
                    <a:pt x="434634" y="104912"/>
                  </a:cubicBezTo>
                  <a:cubicBezTo>
                    <a:pt x="434634" y="104912"/>
                    <a:pt x="434634" y="104912"/>
                    <a:pt x="434634" y="104912"/>
                  </a:cubicBezTo>
                  <a:cubicBezTo>
                    <a:pt x="454617" y="104912"/>
                    <a:pt x="464609" y="74937"/>
                    <a:pt x="454617" y="74937"/>
                  </a:cubicBezTo>
                  <a:close/>
                </a:path>
              </a:pathLst>
            </a:custGeom>
            <a:solidFill>
              <a:schemeClr val="tx2">
                <a:lumMod val="20000"/>
                <a:lumOff val="8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6" name="任意多边形: 形状 45">
              <a:extLst>
                <a:ext uri="{FF2B5EF4-FFF2-40B4-BE49-F238E27FC236}">
                  <a16:creationId xmlns:a16="http://schemas.microsoft.com/office/drawing/2014/main" id="{DB88065F-20CD-4586-BA8B-8EA0F9815C30}"/>
                </a:ext>
              </a:extLst>
            </p:cNvPr>
            <p:cNvSpPr/>
            <p:nvPr userDrawn="1"/>
          </p:nvSpPr>
          <p:spPr>
            <a:xfrm>
              <a:off x="2694764" y="5333564"/>
              <a:ext cx="194670" cy="1168022"/>
            </a:xfrm>
            <a:custGeom>
              <a:avLst/>
              <a:gdLst>
                <a:gd name="connsiteX0" fmla="*/ 184844 w 199831"/>
                <a:gd name="connsiteY0" fmla="*/ 1124054 h 1198990"/>
                <a:gd name="connsiteX1" fmla="*/ 114903 w 199831"/>
                <a:gd name="connsiteY1" fmla="*/ 1124054 h 1198990"/>
                <a:gd name="connsiteX2" fmla="*/ 114903 w 199831"/>
                <a:gd name="connsiteY2" fmla="*/ 924222 h 1198990"/>
                <a:gd name="connsiteX3" fmla="*/ 74937 w 199831"/>
                <a:gd name="connsiteY3" fmla="*/ 784340 h 1198990"/>
                <a:gd name="connsiteX4" fmla="*/ 74937 w 199831"/>
                <a:gd name="connsiteY4" fmla="*/ 74937 h 1198990"/>
                <a:gd name="connsiteX5" fmla="*/ 174853 w 199831"/>
                <a:gd name="connsiteY5" fmla="*/ 74937 h 1198990"/>
                <a:gd name="connsiteX6" fmla="*/ 184844 w 199831"/>
                <a:gd name="connsiteY6" fmla="*/ 1124054 h 11989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99831" h="1198990">
                  <a:moveTo>
                    <a:pt x="184844" y="1124054"/>
                  </a:moveTo>
                  <a:lnTo>
                    <a:pt x="114903" y="1124054"/>
                  </a:lnTo>
                  <a:lnTo>
                    <a:pt x="114903" y="924222"/>
                  </a:lnTo>
                  <a:cubicBezTo>
                    <a:pt x="114903" y="924222"/>
                    <a:pt x="84929" y="844289"/>
                    <a:pt x="74937" y="784340"/>
                  </a:cubicBezTo>
                  <a:cubicBezTo>
                    <a:pt x="74937" y="724390"/>
                    <a:pt x="74937" y="724390"/>
                    <a:pt x="74937" y="74937"/>
                  </a:cubicBezTo>
                  <a:cubicBezTo>
                    <a:pt x="74937" y="74937"/>
                    <a:pt x="124895" y="74937"/>
                    <a:pt x="174853" y="74937"/>
                  </a:cubicBezTo>
                  <a:cubicBezTo>
                    <a:pt x="174853" y="694415"/>
                    <a:pt x="184844" y="1124054"/>
                    <a:pt x="184844" y="1124054"/>
                  </a:cubicBezTo>
                  <a:close/>
                </a:path>
              </a:pathLst>
            </a:custGeom>
            <a:solidFill>
              <a:schemeClr val="tx2">
                <a:lumMod val="20000"/>
                <a:lumOff val="8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7" name="任意多边形: 形状 46">
              <a:extLst>
                <a:ext uri="{FF2B5EF4-FFF2-40B4-BE49-F238E27FC236}">
                  <a16:creationId xmlns:a16="http://schemas.microsoft.com/office/drawing/2014/main" id="{BD40DCCE-FA0F-4282-A6EC-CB8988584527}"/>
                </a:ext>
              </a:extLst>
            </p:cNvPr>
            <p:cNvSpPr/>
            <p:nvPr userDrawn="1"/>
          </p:nvSpPr>
          <p:spPr>
            <a:xfrm>
              <a:off x="2782367" y="5333564"/>
              <a:ext cx="194670" cy="1168022"/>
            </a:xfrm>
            <a:custGeom>
              <a:avLst/>
              <a:gdLst>
                <a:gd name="connsiteX0" fmla="*/ 74937 w 199831"/>
                <a:gd name="connsiteY0" fmla="*/ 74937 h 1198990"/>
                <a:gd name="connsiteX1" fmla="*/ 174853 w 199831"/>
                <a:gd name="connsiteY1" fmla="*/ 74937 h 1198990"/>
                <a:gd name="connsiteX2" fmla="*/ 184844 w 199831"/>
                <a:gd name="connsiteY2" fmla="*/ 804323 h 1198990"/>
                <a:gd name="connsiteX3" fmla="*/ 164861 w 199831"/>
                <a:gd name="connsiteY3" fmla="*/ 914230 h 1198990"/>
                <a:gd name="connsiteX4" fmla="*/ 164861 w 199831"/>
                <a:gd name="connsiteY4" fmla="*/ 1124054 h 1198990"/>
                <a:gd name="connsiteX5" fmla="*/ 94920 w 199831"/>
                <a:gd name="connsiteY5" fmla="*/ 1134045 h 1198990"/>
                <a:gd name="connsiteX6" fmla="*/ 74937 w 199831"/>
                <a:gd name="connsiteY6" fmla="*/ 74937 h 11989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99831" h="1198990">
                  <a:moveTo>
                    <a:pt x="74937" y="74937"/>
                  </a:moveTo>
                  <a:lnTo>
                    <a:pt x="174853" y="74937"/>
                  </a:lnTo>
                  <a:cubicBezTo>
                    <a:pt x="174853" y="74937"/>
                    <a:pt x="184844" y="764356"/>
                    <a:pt x="184844" y="804323"/>
                  </a:cubicBezTo>
                  <a:cubicBezTo>
                    <a:pt x="184844" y="844289"/>
                    <a:pt x="164861" y="894247"/>
                    <a:pt x="164861" y="914230"/>
                  </a:cubicBezTo>
                  <a:cubicBezTo>
                    <a:pt x="164861" y="944205"/>
                    <a:pt x="164861" y="1124054"/>
                    <a:pt x="164861" y="1124054"/>
                  </a:cubicBezTo>
                  <a:lnTo>
                    <a:pt x="94920" y="1134045"/>
                  </a:lnTo>
                  <a:lnTo>
                    <a:pt x="74937" y="74937"/>
                  </a:lnTo>
                  <a:close/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8" name="任意多边形: 形状 47">
              <a:extLst>
                <a:ext uri="{FF2B5EF4-FFF2-40B4-BE49-F238E27FC236}">
                  <a16:creationId xmlns:a16="http://schemas.microsoft.com/office/drawing/2014/main" id="{D80053A9-7218-47D4-88C3-5C1DEC7FF7DE}"/>
                </a:ext>
              </a:extLst>
            </p:cNvPr>
            <p:cNvSpPr/>
            <p:nvPr userDrawn="1"/>
          </p:nvSpPr>
          <p:spPr>
            <a:xfrm>
              <a:off x="2665564" y="5314097"/>
              <a:ext cx="389340" cy="194670"/>
            </a:xfrm>
            <a:custGeom>
              <a:avLst/>
              <a:gdLst>
                <a:gd name="connsiteX0" fmla="*/ 324727 w 399663"/>
                <a:gd name="connsiteY0" fmla="*/ 74937 h 199831"/>
                <a:gd name="connsiteX1" fmla="*/ 74937 w 399663"/>
                <a:gd name="connsiteY1" fmla="*/ 74937 h 199831"/>
                <a:gd name="connsiteX2" fmla="*/ 74937 w 399663"/>
                <a:gd name="connsiteY2" fmla="*/ 84928 h 199831"/>
                <a:gd name="connsiteX3" fmla="*/ 74937 w 399663"/>
                <a:gd name="connsiteY3" fmla="*/ 94920 h 199831"/>
                <a:gd name="connsiteX4" fmla="*/ 84928 w 399663"/>
                <a:gd name="connsiteY4" fmla="*/ 94920 h 199831"/>
                <a:gd name="connsiteX5" fmla="*/ 84928 w 399663"/>
                <a:gd name="connsiteY5" fmla="*/ 114903 h 199831"/>
                <a:gd name="connsiteX6" fmla="*/ 74937 w 399663"/>
                <a:gd name="connsiteY6" fmla="*/ 114903 h 199831"/>
                <a:gd name="connsiteX7" fmla="*/ 74937 w 399663"/>
                <a:gd name="connsiteY7" fmla="*/ 114903 h 199831"/>
                <a:gd name="connsiteX8" fmla="*/ 74937 w 399663"/>
                <a:gd name="connsiteY8" fmla="*/ 124895 h 199831"/>
                <a:gd name="connsiteX9" fmla="*/ 84928 w 399663"/>
                <a:gd name="connsiteY9" fmla="*/ 124895 h 199831"/>
                <a:gd name="connsiteX10" fmla="*/ 84928 w 399663"/>
                <a:gd name="connsiteY10" fmla="*/ 144878 h 199831"/>
                <a:gd name="connsiteX11" fmla="*/ 74937 w 399663"/>
                <a:gd name="connsiteY11" fmla="*/ 144878 h 199831"/>
                <a:gd name="connsiteX12" fmla="*/ 74937 w 399663"/>
                <a:gd name="connsiteY12" fmla="*/ 144878 h 199831"/>
                <a:gd name="connsiteX13" fmla="*/ 74937 w 399663"/>
                <a:gd name="connsiteY13" fmla="*/ 144878 h 199831"/>
                <a:gd name="connsiteX14" fmla="*/ 324727 w 399663"/>
                <a:gd name="connsiteY14" fmla="*/ 144878 h 199831"/>
                <a:gd name="connsiteX15" fmla="*/ 324727 w 399663"/>
                <a:gd name="connsiteY15" fmla="*/ 144878 h 199831"/>
                <a:gd name="connsiteX16" fmla="*/ 324727 w 399663"/>
                <a:gd name="connsiteY16" fmla="*/ 144878 h 199831"/>
                <a:gd name="connsiteX17" fmla="*/ 314735 w 399663"/>
                <a:gd name="connsiteY17" fmla="*/ 144878 h 199831"/>
                <a:gd name="connsiteX18" fmla="*/ 314735 w 399663"/>
                <a:gd name="connsiteY18" fmla="*/ 124895 h 199831"/>
                <a:gd name="connsiteX19" fmla="*/ 324727 w 399663"/>
                <a:gd name="connsiteY19" fmla="*/ 124895 h 199831"/>
                <a:gd name="connsiteX20" fmla="*/ 324727 w 399663"/>
                <a:gd name="connsiteY20" fmla="*/ 124895 h 199831"/>
                <a:gd name="connsiteX21" fmla="*/ 324727 w 399663"/>
                <a:gd name="connsiteY21" fmla="*/ 124895 h 199831"/>
                <a:gd name="connsiteX22" fmla="*/ 314735 w 399663"/>
                <a:gd name="connsiteY22" fmla="*/ 124895 h 199831"/>
                <a:gd name="connsiteX23" fmla="*/ 314735 w 399663"/>
                <a:gd name="connsiteY23" fmla="*/ 104912 h 199831"/>
                <a:gd name="connsiteX24" fmla="*/ 324727 w 399663"/>
                <a:gd name="connsiteY24" fmla="*/ 104912 h 199831"/>
                <a:gd name="connsiteX25" fmla="*/ 324727 w 399663"/>
                <a:gd name="connsiteY25" fmla="*/ 74937 h 199831"/>
                <a:gd name="connsiteX26" fmla="*/ 324727 w 399663"/>
                <a:gd name="connsiteY26" fmla="*/ 74937 h 199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399663" h="199831">
                  <a:moveTo>
                    <a:pt x="324727" y="74937"/>
                  </a:moveTo>
                  <a:lnTo>
                    <a:pt x="74937" y="74937"/>
                  </a:lnTo>
                  <a:cubicBezTo>
                    <a:pt x="74937" y="74937"/>
                    <a:pt x="74937" y="74937"/>
                    <a:pt x="74937" y="84928"/>
                  </a:cubicBezTo>
                  <a:cubicBezTo>
                    <a:pt x="74937" y="84928"/>
                    <a:pt x="74937" y="94920"/>
                    <a:pt x="74937" y="94920"/>
                  </a:cubicBezTo>
                  <a:lnTo>
                    <a:pt x="84928" y="94920"/>
                  </a:lnTo>
                  <a:lnTo>
                    <a:pt x="84928" y="114903"/>
                  </a:lnTo>
                  <a:lnTo>
                    <a:pt x="74937" y="114903"/>
                  </a:lnTo>
                  <a:cubicBezTo>
                    <a:pt x="74937" y="114903"/>
                    <a:pt x="74937" y="114903"/>
                    <a:pt x="74937" y="114903"/>
                  </a:cubicBezTo>
                  <a:cubicBezTo>
                    <a:pt x="74937" y="114903"/>
                    <a:pt x="74937" y="124895"/>
                    <a:pt x="74937" y="124895"/>
                  </a:cubicBezTo>
                  <a:lnTo>
                    <a:pt x="84928" y="124895"/>
                  </a:lnTo>
                  <a:lnTo>
                    <a:pt x="84928" y="144878"/>
                  </a:lnTo>
                  <a:lnTo>
                    <a:pt x="74937" y="144878"/>
                  </a:lnTo>
                  <a:cubicBezTo>
                    <a:pt x="74937" y="144878"/>
                    <a:pt x="74937" y="144878"/>
                    <a:pt x="74937" y="144878"/>
                  </a:cubicBezTo>
                  <a:cubicBezTo>
                    <a:pt x="74937" y="144878"/>
                    <a:pt x="74937" y="144878"/>
                    <a:pt x="74937" y="144878"/>
                  </a:cubicBezTo>
                  <a:lnTo>
                    <a:pt x="324727" y="144878"/>
                  </a:lnTo>
                  <a:cubicBezTo>
                    <a:pt x="324727" y="144878"/>
                    <a:pt x="324727" y="144878"/>
                    <a:pt x="324727" y="144878"/>
                  </a:cubicBezTo>
                  <a:cubicBezTo>
                    <a:pt x="324727" y="144878"/>
                    <a:pt x="324727" y="144878"/>
                    <a:pt x="324727" y="144878"/>
                  </a:cubicBezTo>
                  <a:lnTo>
                    <a:pt x="314735" y="144878"/>
                  </a:lnTo>
                  <a:lnTo>
                    <a:pt x="314735" y="124895"/>
                  </a:lnTo>
                  <a:lnTo>
                    <a:pt x="324727" y="124895"/>
                  </a:lnTo>
                  <a:cubicBezTo>
                    <a:pt x="324727" y="124895"/>
                    <a:pt x="324727" y="124895"/>
                    <a:pt x="324727" y="124895"/>
                  </a:cubicBezTo>
                  <a:cubicBezTo>
                    <a:pt x="324727" y="124895"/>
                    <a:pt x="324727" y="124895"/>
                    <a:pt x="324727" y="124895"/>
                  </a:cubicBezTo>
                  <a:lnTo>
                    <a:pt x="314735" y="124895"/>
                  </a:lnTo>
                  <a:lnTo>
                    <a:pt x="314735" y="104912"/>
                  </a:lnTo>
                  <a:lnTo>
                    <a:pt x="324727" y="104912"/>
                  </a:lnTo>
                  <a:cubicBezTo>
                    <a:pt x="324727" y="84928"/>
                    <a:pt x="334718" y="84928"/>
                    <a:pt x="324727" y="74937"/>
                  </a:cubicBezTo>
                  <a:cubicBezTo>
                    <a:pt x="334718" y="74937"/>
                    <a:pt x="324727" y="74937"/>
                    <a:pt x="324727" y="74937"/>
                  </a:cubicBezTo>
                  <a:close/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9" name="任意多边形: 形状 48">
              <a:extLst>
                <a:ext uri="{FF2B5EF4-FFF2-40B4-BE49-F238E27FC236}">
                  <a16:creationId xmlns:a16="http://schemas.microsoft.com/office/drawing/2014/main" id="{4397AF13-1F9C-4BC6-B4B8-EF8BE923A663}"/>
                </a:ext>
              </a:extLst>
            </p:cNvPr>
            <p:cNvSpPr/>
            <p:nvPr userDrawn="1"/>
          </p:nvSpPr>
          <p:spPr>
            <a:xfrm>
              <a:off x="2636364" y="4778753"/>
              <a:ext cx="389340" cy="1265356"/>
            </a:xfrm>
            <a:custGeom>
              <a:avLst/>
              <a:gdLst>
                <a:gd name="connsiteX0" fmla="*/ 74937 w 399663"/>
                <a:gd name="connsiteY0" fmla="*/ 1303902 h 1298906"/>
                <a:gd name="connsiteX1" fmla="*/ 74937 w 399663"/>
                <a:gd name="connsiteY1" fmla="*/ 84929 h 1298906"/>
                <a:gd name="connsiteX2" fmla="*/ 84928 w 399663"/>
                <a:gd name="connsiteY2" fmla="*/ 74937 h 1298906"/>
                <a:gd name="connsiteX3" fmla="*/ 84928 w 399663"/>
                <a:gd name="connsiteY3" fmla="*/ 74937 h 1298906"/>
                <a:gd name="connsiteX4" fmla="*/ 384676 w 399663"/>
                <a:gd name="connsiteY4" fmla="*/ 74937 h 1298906"/>
                <a:gd name="connsiteX5" fmla="*/ 394668 w 399663"/>
                <a:gd name="connsiteY5" fmla="*/ 74937 h 1298906"/>
                <a:gd name="connsiteX6" fmla="*/ 394668 w 399663"/>
                <a:gd name="connsiteY6" fmla="*/ 74937 h 1298906"/>
                <a:gd name="connsiteX7" fmla="*/ 394668 w 399663"/>
                <a:gd name="connsiteY7" fmla="*/ 84929 h 1298906"/>
                <a:gd name="connsiteX8" fmla="*/ 394668 w 399663"/>
                <a:gd name="connsiteY8" fmla="*/ 84929 h 1298906"/>
                <a:gd name="connsiteX9" fmla="*/ 394668 w 399663"/>
                <a:gd name="connsiteY9" fmla="*/ 1293911 h 1298906"/>
                <a:gd name="connsiteX10" fmla="*/ 394668 w 399663"/>
                <a:gd name="connsiteY10" fmla="*/ 1303902 h 1298906"/>
                <a:gd name="connsiteX11" fmla="*/ 394668 w 399663"/>
                <a:gd name="connsiteY11" fmla="*/ 1303902 h 1298906"/>
                <a:gd name="connsiteX12" fmla="*/ 334718 w 399663"/>
                <a:gd name="connsiteY12" fmla="*/ 1313894 h 1298906"/>
                <a:gd name="connsiteX13" fmla="*/ 334718 w 399663"/>
                <a:gd name="connsiteY13" fmla="*/ 1313894 h 1298906"/>
                <a:gd name="connsiteX14" fmla="*/ 234802 w 399663"/>
                <a:gd name="connsiteY14" fmla="*/ 1313894 h 1298906"/>
                <a:gd name="connsiteX15" fmla="*/ 234802 w 399663"/>
                <a:gd name="connsiteY15" fmla="*/ 1313894 h 1298906"/>
                <a:gd name="connsiteX16" fmla="*/ 134886 w 399663"/>
                <a:gd name="connsiteY16" fmla="*/ 1313894 h 1298906"/>
                <a:gd name="connsiteX17" fmla="*/ 134886 w 399663"/>
                <a:gd name="connsiteY17" fmla="*/ 1313894 h 1298906"/>
                <a:gd name="connsiteX18" fmla="*/ 74937 w 399663"/>
                <a:gd name="connsiteY18" fmla="*/ 1303902 h 1298906"/>
                <a:gd name="connsiteX19" fmla="*/ 74937 w 399663"/>
                <a:gd name="connsiteY19" fmla="*/ 1303902 h 1298906"/>
                <a:gd name="connsiteX20" fmla="*/ 74937 w 399663"/>
                <a:gd name="connsiteY20" fmla="*/ 1303902 h 1298906"/>
                <a:gd name="connsiteX21" fmla="*/ 74937 w 399663"/>
                <a:gd name="connsiteY21" fmla="*/ 1303902 h 1298906"/>
                <a:gd name="connsiteX22" fmla="*/ 74937 w 399663"/>
                <a:gd name="connsiteY22" fmla="*/ 1303902 h 1298906"/>
                <a:gd name="connsiteX23" fmla="*/ 74937 w 399663"/>
                <a:gd name="connsiteY23" fmla="*/ 1303902 h 1298906"/>
                <a:gd name="connsiteX24" fmla="*/ 94920 w 399663"/>
                <a:gd name="connsiteY24" fmla="*/ 1293911 h 1298906"/>
                <a:gd name="connsiteX25" fmla="*/ 134886 w 399663"/>
                <a:gd name="connsiteY25" fmla="*/ 1303902 h 1298906"/>
                <a:gd name="connsiteX26" fmla="*/ 134886 w 399663"/>
                <a:gd name="connsiteY26" fmla="*/ 1303902 h 1298906"/>
                <a:gd name="connsiteX27" fmla="*/ 234802 w 399663"/>
                <a:gd name="connsiteY27" fmla="*/ 1303902 h 1298906"/>
                <a:gd name="connsiteX28" fmla="*/ 234802 w 399663"/>
                <a:gd name="connsiteY28" fmla="*/ 1303902 h 1298906"/>
                <a:gd name="connsiteX29" fmla="*/ 324727 w 399663"/>
                <a:gd name="connsiteY29" fmla="*/ 1303902 h 1298906"/>
                <a:gd name="connsiteX30" fmla="*/ 324727 w 399663"/>
                <a:gd name="connsiteY30" fmla="*/ 1303902 h 1298906"/>
                <a:gd name="connsiteX31" fmla="*/ 364693 w 399663"/>
                <a:gd name="connsiteY31" fmla="*/ 1293911 h 1298906"/>
                <a:gd name="connsiteX32" fmla="*/ 364693 w 399663"/>
                <a:gd name="connsiteY32" fmla="*/ 1293911 h 1298906"/>
                <a:gd name="connsiteX33" fmla="*/ 374685 w 399663"/>
                <a:gd name="connsiteY33" fmla="*/ 1293911 h 1298906"/>
                <a:gd name="connsiteX34" fmla="*/ 374685 w 399663"/>
                <a:gd name="connsiteY34" fmla="*/ 1293911 h 1298906"/>
                <a:gd name="connsiteX35" fmla="*/ 374685 w 399663"/>
                <a:gd name="connsiteY35" fmla="*/ 94920 h 1298906"/>
                <a:gd name="connsiteX36" fmla="*/ 94920 w 399663"/>
                <a:gd name="connsiteY36" fmla="*/ 94920 h 1298906"/>
                <a:gd name="connsiteX37" fmla="*/ 94920 w 399663"/>
                <a:gd name="connsiteY37" fmla="*/ 1293911 h 1298906"/>
                <a:gd name="connsiteX38" fmla="*/ 94920 w 399663"/>
                <a:gd name="connsiteY38" fmla="*/ 1293911 h 12989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399663" h="1298906">
                  <a:moveTo>
                    <a:pt x="74937" y="1303902"/>
                  </a:moveTo>
                  <a:lnTo>
                    <a:pt x="74937" y="84929"/>
                  </a:lnTo>
                  <a:cubicBezTo>
                    <a:pt x="74937" y="84929"/>
                    <a:pt x="74937" y="74937"/>
                    <a:pt x="84928" y="74937"/>
                  </a:cubicBezTo>
                  <a:lnTo>
                    <a:pt x="84928" y="74937"/>
                  </a:lnTo>
                  <a:lnTo>
                    <a:pt x="384676" y="74937"/>
                  </a:lnTo>
                  <a:cubicBezTo>
                    <a:pt x="384676" y="74937"/>
                    <a:pt x="384676" y="74937"/>
                    <a:pt x="394668" y="74937"/>
                  </a:cubicBezTo>
                  <a:lnTo>
                    <a:pt x="394668" y="74937"/>
                  </a:lnTo>
                  <a:cubicBezTo>
                    <a:pt x="394668" y="74937"/>
                    <a:pt x="394668" y="74937"/>
                    <a:pt x="394668" y="84929"/>
                  </a:cubicBezTo>
                  <a:lnTo>
                    <a:pt x="394668" y="84929"/>
                  </a:lnTo>
                  <a:lnTo>
                    <a:pt x="394668" y="1293911"/>
                  </a:lnTo>
                  <a:cubicBezTo>
                    <a:pt x="394668" y="1293911"/>
                    <a:pt x="394668" y="1303902"/>
                    <a:pt x="394668" y="1303902"/>
                  </a:cubicBezTo>
                  <a:lnTo>
                    <a:pt x="394668" y="1303902"/>
                  </a:lnTo>
                  <a:cubicBezTo>
                    <a:pt x="394668" y="1303902"/>
                    <a:pt x="374685" y="1313894"/>
                    <a:pt x="334718" y="1313894"/>
                  </a:cubicBezTo>
                  <a:lnTo>
                    <a:pt x="334718" y="1313894"/>
                  </a:lnTo>
                  <a:cubicBezTo>
                    <a:pt x="314735" y="1313894"/>
                    <a:pt x="274769" y="1313894"/>
                    <a:pt x="234802" y="1313894"/>
                  </a:cubicBezTo>
                  <a:lnTo>
                    <a:pt x="234802" y="1313894"/>
                  </a:lnTo>
                  <a:cubicBezTo>
                    <a:pt x="194836" y="1313894"/>
                    <a:pt x="154870" y="1313894"/>
                    <a:pt x="134886" y="1313894"/>
                  </a:cubicBezTo>
                  <a:lnTo>
                    <a:pt x="134886" y="1313894"/>
                  </a:lnTo>
                  <a:cubicBezTo>
                    <a:pt x="94920" y="1313894"/>
                    <a:pt x="84928" y="1313894"/>
                    <a:pt x="74937" y="1303902"/>
                  </a:cubicBezTo>
                  <a:lnTo>
                    <a:pt x="74937" y="1303902"/>
                  </a:lnTo>
                  <a:cubicBezTo>
                    <a:pt x="74937" y="1313894"/>
                    <a:pt x="74937" y="1313894"/>
                    <a:pt x="74937" y="1303902"/>
                  </a:cubicBezTo>
                  <a:lnTo>
                    <a:pt x="74937" y="1303902"/>
                  </a:lnTo>
                  <a:cubicBezTo>
                    <a:pt x="74937" y="1303902"/>
                    <a:pt x="74937" y="1303902"/>
                    <a:pt x="74937" y="1303902"/>
                  </a:cubicBezTo>
                  <a:lnTo>
                    <a:pt x="74937" y="1303902"/>
                  </a:lnTo>
                  <a:close/>
                  <a:moveTo>
                    <a:pt x="94920" y="1293911"/>
                  </a:moveTo>
                  <a:cubicBezTo>
                    <a:pt x="104912" y="1293911"/>
                    <a:pt x="114903" y="1293911"/>
                    <a:pt x="134886" y="1303902"/>
                  </a:cubicBezTo>
                  <a:lnTo>
                    <a:pt x="134886" y="1303902"/>
                  </a:lnTo>
                  <a:cubicBezTo>
                    <a:pt x="154870" y="1303902"/>
                    <a:pt x="194836" y="1313894"/>
                    <a:pt x="234802" y="1303902"/>
                  </a:cubicBezTo>
                  <a:lnTo>
                    <a:pt x="234802" y="1303902"/>
                  </a:lnTo>
                  <a:cubicBezTo>
                    <a:pt x="274769" y="1303902"/>
                    <a:pt x="304743" y="1303902"/>
                    <a:pt x="324727" y="1303902"/>
                  </a:cubicBezTo>
                  <a:lnTo>
                    <a:pt x="324727" y="1303902"/>
                  </a:lnTo>
                  <a:cubicBezTo>
                    <a:pt x="344710" y="1303902"/>
                    <a:pt x="354701" y="1303902"/>
                    <a:pt x="364693" y="1293911"/>
                  </a:cubicBezTo>
                  <a:lnTo>
                    <a:pt x="364693" y="1293911"/>
                  </a:lnTo>
                  <a:cubicBezTo>
                    <a:pt x="364693" y="1293911"/>
                    <a:pt x="364693" y="1293911"/>
                    <a:pt x="374685" y="1293911"/>
                  </a:cubicBezTo>
                  <a:lnTo>
                    <a:pt x="374685" y="1293911"/>
                  </a:lnTo>
                  <a:lnTo>
                    <a:pt x="374685" y="94920"/>
                  </a:lnTo>
                  <a:lnTo>
                    <a:pt x="94920" y="94920"/>
                  </a:lnTo>
                  <a:lnTo>
                    <a:pt x="94920" y="1293911"/>
                  </a:lnTo>
                  <a:lnTo>
                    <a:pt x="94920" y="1293911"/>
                  </a:lnTo>
                  <a:close/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0" name="任意多边形: 形状 49">
              <a:extLst>
                <a:ext uri="{FF2B5EF4-FFF2-40B4-BE49-F238E27FC236}">
                  <a16:creationId xmlns:a16="http://schemas.microsoft.com/office/drawing/2014/main" id="{72C25678-184B-4644-A06A-EC6E30B41E77}"/>
                </a:ext>
              </a:extLst>
            </p:cNvPr>
            <p:cNvSpPr/>
            <p:nvPr userDrawn="1"/>
          </p:nvSpPr>
          <p:spPr>
            <a:xfrm>
              <a:off x="2626629" y="4652218"/>
              <a:ext cx="389340" cy="778681"/>
            </a:xfrm>
            <a:custGeom>
              <a:avLst/>
              <a:gdLst>
                <a:gd name="connsiteX0" fmla="*/ 84929 w 399663"/>
                <a:gd name="connsiteY0" fmla="*/ 214819 h 799327"/>
                <a:gd name="connsiteX1" fmla="*/ 84929 w 399663"/>
                <a:gd name="connsiteY1" fmla="*/ 214819 h 799327"/>
                <a:gd name="connsiteX2" fmla="*/ 84929 w 399663"/>
                <a:gd name="connsiteY2" fmla="*/ 214819 h 799327"/>
                <a:gd name="connsiteX3" fmla="*/ 84929 w 399663"/>
                <a:gd name="connsiteY3" fmla="*/ 204828 h 799327"/>
                <a:gd name="connsiteX4" fmla="*/ 84929 w 399663"/>
                <a:gd name="connsiteY4" fmla="*/ 204828 h 799327"/>
                <a:gd name="connsiteX5" fmla="*/ 104912 w 399663"/>
                <a:gd name="connsiteY5" fmla="*/ 194836 h 799327"/>
                <a:gd name="connsiteX6" fmla="*/ 104912 w 399663"/>
                <a:gd name="connsiteY6" fmla="*/ 194836 h 799327"/>
                <a:gd name="connsiteX7" fmla="*/ 174853 w 399663"/>
                <a:gd name="connsiteY7" fmla="*/ 174853 h 799327"/>
                <a:gd name="connsiteX8" fmla="*/ 174853 w 399663"/>
                <a:gd name="connsiteY8" fmla="*/ 174853 h 799327"/>
                <a:gd name="connsiteX9" fmla="*/ 184844 w 399663"/>
                <a:gd name="connsiteY9" fmla="*/ 174853 h 799327"/>
                <a:gd name="connsiteX10" fmla="*/ 184844 w 399663"/>
                <a:gd name="connsiteY10" fmla="*/ 174853 h 799327"/>
                <a:gd name="connsiteX11" fmla="*/ 184844 w 399663"/>
                <a:gd name="connsiteY11" fmla="*/ 84929 h 799327"/>
                <a:gd name="connsiteX12" fmla="*/ 184844 w 399663"/>
                <a:gd name="connsiteY12" fmla="*/ 84929 h 799327"/>
                <a:gd name="connsiteX13" fmla="*/ 184844 w 399663"/>
                <a:gd name="connsiteY13" fmla="*/ 74937 h 799327"/>
                <a:gd name="connsiteX14" fmla="*/ 284760 w 399663"/>
                <a:gd name="connsiteY14" fmla="*/ 74937 h 799327"/>
                <a:gd name="connsiteX15" fmla="*/ 284760 w 399663"/>
                <a:gd name="connsiteY15" fmla="*/ 84929 h 799327"/>
                <a:gd name="connsiteX16" fmla="*/ 284760 w 399663"/>
                <a:gd name="connsiteY16" fmla="*/ 164861 h 799327"/>
                <a:gd name="connsiteX17" fmla="*/ 284760 w 399663"/>
                <a:gd name="connsiteY17" fmla="*/ 164861 h 799327"/>
                <a:gd name="connsiteX18" fmla="*/ 284760 w 399663"/>
                <a:gd name="connsiteY18" fmla="*/ 164861 h 799327"/>
                <a:gd name="connsiteX19" fmla="*/ 284760 w 399663"/>
                <a:gd name="connsiteY19" fmla="*/ 164861 h 799327"/>
                <a:gd name="connsiteX20" fmla="*/ 294752 w 399663"/>
                <a:gd name="connsiteY20" fmla="*/ 164861 h 799327"/>
                <a:gd name="connsiteX21" fmla="*/ 294752 w 399663"/>
                <a:gd name="connsiteY21" fmla="*/ 164861 h 799327"/>
                <a:gd name="connsiteX22" fmla="*/ 324727 w 399663"/>
                <a:gd name="connsiteY22" fmla="*/ 174853 h 799327"/>
                <a:gd name="connsiteX23" fmla="*/ 324727 w 399663"/>
                <a:gd name="connsiteY23" fmla="*/ 174853 h 799327"/>
                <a:gd name="connsiteX24" fmla="*/ 384676 w 399663"/>
                <a:gd name="connsiteY24" fmla="*/ 194836 h 799327"/>
                <a:gd name="connsiteX25" fmla="*/ 384676 w 399663"/>
                <a:gd name="connsiteY25" fmla="*/ 194836 h 799327"/>
                <a:gd name="connsiteX26" fmla="*/ 384676 w 399663"/>
                <a:gd name="connsiteY26" fmla="*/ 204828 h 799327"/>
                <a:gd name="connsiteX27" fmla="*/ 384676 w 399663"/>
                <a:gd name="connsiteY27" fmla="*/ 204828 h 799327"/>
                <a:gd name="connsiteX28" fmla="*/ 384676 w 399663"/>
                <a:gd name="connsiteY28" fmla="*/ 204828 h 799327"/>
                <a:gd name="connsiteX29" fmla="*/ 384676 w 399663"/>
                <a:gd name="connsiteY29" fmla="*/ 744373 h 799327"/>
                <a:gd name="connsiteX30" fmla="*/ 374685 w 399663"/>
                <a:gd name="connsiteY30" fmla="*/ 744373 h 799327"/>
                <a:gd name="connsiteX31" fmla="*/ 384676 w 399663"/>
                <a:gd name="connsiteY31" fmla="*/ 744373 h 799327"/>
                <a:gd name="connsiteX32" fmla="*/ 384676 w 399663"/>
                <a:gd name="connsiteY32" fmla="*/ 754365 h 799327"/>
                <a:gd name="connsiteX33" fmla="*/ 74937 w 399663"/>
                <a:gd name="connsiteY33" fmla="*/ 754365 h 799327"/>
                <a:gd name="connsiteX34" fmla="*/ 84929 w 399663"/>
                <a:gd name="connsiteY34" fmla="*/ 214819 h 799327"/>
                <a:gd name="connsiteX35" fmla="*/ 84929 w 399663"/>
                <a:gd name="connsiteY35" fmla="*/ 214819 h 799327"/>
                <a:gd name="connsiteX36" fmla="*/ 104912 w 399663"/>
                <a:gd name="connsiteY36" fmla="*/ 744373 h 799327"/>
                <a:gd name="connsiteX37" fmla="*/ 384676 w 399663"/>
                <a:gd name="connsiteY37" fmla="*/ 744373 h 799327"/>
                <a:gd name="connsiteX38" fmla="*/ 384676 w 399663"/>
                <a:gd name="connsiteY38" fmla="*/ 214819 h 799327"/>
                <a:gd name="connsiteX39" fmla="*/ 384676 w 399663"/>
                <a:gd name="connsiteY39" fmla="*/ 214819 h 799327"/>
                <a:gd name="connsiteX40" fmla="*/ 334718 w 399663"/>
                <a:gd name="connsiteY40" fmla="*/ 204828 h 799327"/>
                <a:gd name="connsiteX41" fmla="*/ 334718 w 399663"/>
                <a:gd name="connsiteY41" fmla="*/ 204828 h 799327"/>
                <a:gd name="connsiteX42" fmla="*/ 284760 w 399663"/>
                <a:gd name="connsiteY42" fmla="*/ 184844 h 799327"/>
                <a:gd name="connsiteX43" fmla="*/ 284760 w 399663"/>
                <a:gd name="connsiteY43" fmla="*/ 184844 h 799327"/>
                <a:gd name="connsiteX44" fmla="*/ 284760 w 399663"/>
                <a:gd name="connsiteY44" fmla="*/ 184844 h 799327"/>
                <a:gd name="connsiteX45" fmla="*/ 284760 w 399663"/>
                <a:gd name="connsiteY45" fmla="*/ 184844 h 799327"/>
                <a:gd name="connsiteX46" fmla="*/ 284760 w 399663"/>
                <a:gd name="connsiteY46" fmla="*/ 174853 h 799327"/>
                <a:gd name="connsiteX47" fmla="*/ 284760 w 399663"/>
                <a:gd name="connsiteY47" fmla="*/ 174853 h 799327"/>
                <a:gd name="connsiteX48" fmla="*/ 284760 w 399663"/>
                <a:gd name="connsiteY48" fmla="*/ 94920 h 799327"/>
                <a:gd name="connsiteX49" fmla="*/ 284760 w 399663"/>
                <a:gd name="connsiteY49" fmla="*/ 94920 h 799327"/>
                <a:gd name="connsiteX50" fmla="*/ 214819 w 399663"/>
                <a:gd name="connsiteY50" fmla="*/ 94920 h 799327"/>
                <a:gd name="connsiteX51" fmla="*/ 214819 w 399663"/>
                <a:gd name="connsiteY51" fmla="*/ 174853 h 799327"/>
                <a:gd name="connsiteX52" fmla="*/ 214819 w 399663"/>
                <a:gd name="connsiteY52" fmla="*/ 174853 h 799327"/>
                <a:gd name="connsiteX53" fmla="*/ 214819 w 399663"/>
                <a:gd name="connsiteY53" fmla="*/ 184844 h 799327"/>
                <a:gd name="connsiteX54" fmla="*/ 214819 w 399663"/>
                <a:gd name="connsiteY54" fmla="*/ 184844 h 799327"/>
                <a:gd name="connsiteX55" fmla="*/ 174853 w 399663"/>
                <a:gd name="connsiteY55" fmla="*/ 194836 h 799327"/>
                <a:gd name="connsiteX56" fmla="*/ 174853 w 399663"/>
                <a:gd name="connsiteY56" fmla="*/ 194836 h 799327"/>
                <a:gd name="connsiteX57" fmla="*/ 124895 w 399663"/>
                <a:gd name="connsiteY57" fmla="*/ 204828 h 799327"/>
                <a:gd name="connsiteX58" fmla="*/ 124895 w 399663"/>
                <a:gd name="connsiteY58" fmla="*/ 204828 h 799327"/>
                <a:gd name="connsiteX59" fmla="*/ 114903 w 399663"/>
                <a:gd name="connsiteY59" fmla="*/ 204828 h 799327"/>
                <a:gd name="connsiteX60" fmla="*/ 114903 w 399663"/>
                <a:gd name="connsiteY60" fmla="*/ 204828 h 799327"/>
                <a:gd name="connsiteX61" fmla="*/ 104912 w 399663"/>
                <a:gd name="connsiteY61" fmla="*/ 744373 h 799327"/>
                <a:gd name="connsiteX62" fmla="*/ 104912 w 399663"/>
                <a:gd name="connsiteY62" fmla="*/ 744373 h 799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</a:cxnLst>
              <a:rect l="l" t="t" r="r" b="b"/>
              <a:pathLst>
                <a:path w="399663" h="799327">
                  <a:moveTo>
                    <a:pt x="84929" y="214819"/>
                  </a:moveTo>
                  <a:lnTo>
                    <a:pt x="84929" y="214819"/>
                  </a:lnTo>
                  <a:lnTo>
                    <a:pt x="84929" y="214819"/>
                  </a:lnTo>
                  <a:cubicBezTo>
                    <a:pt x="84929" y="204828"/>
                    <a:pt x="84929" y="204828"/>
                    <a:pt x="84929" y="204828"/>
                  </a:cubicBezTo>
                  <a:lnTo>
                    <a:pt x="84929" y="204828"/>
                  </a:lnTo>
                  <a:cubicBezTo>
                    <a:pt x="84929" y="204828"/>
                    <a:pt x="94920" y="194836"/>
                    <a:pt x="104912" y="194836"/>
                  </a:cubicBezTo>
                  <a:lnTo>
                    <a:pt x="104912" y="194836"/>
                  </a:lnTo>
                  <a:cubicBezTo>
                    <a:pt x="124895" y="184844"/>
                    <a:pt x="164861" y="184844"/>
                    <a:pt x="174853" y="174853"/>
                  </a:cubicBezTo>
                  <a:lnTo>
                    <a:pt x="174853" y="174853"/>
                  </a:lnTo>
                  <a:cubicBezTo>
                    <a:pt x="174853" y="174853"/>
                    <a:pt x="184844" y="174853"/>
                    <a:pt x="184844" y="174853"/>
                  </a:cubicBezTo>
                  <a:lnTo>
                    <a:pt x="184844" y="174853"/>
                  </a:lnTo>
                  <a:cubicBezTo>
                    <a:pt x="184844" y="154870"/>
                    <a:pt x="184844" y="84929"/>
                    <a:pt x="184844" y="84929"/>
                  </a:cubicBezTo>
                  <a:lnTo>
                    <a:pt x="184844" y="84929"/>
                  </a:lnTo>
                  <a:lnTo>
                    <a:pt x="184844" y="74937"/>
                  </a:lnTo>
                  <a:lnTo>
                    <a:pt x="284760" y="74937"/>
                  </a:lnTo>
                  <a:lnTo>
                    <a:pt x="284760" y="84929"/>
                  </a:lnTo>
                  <a:cubicBezTo>
                    <a:pt x="284760" y="84929"/>
                    <a:pt x="284760" y="154870"/>
                    <a:pt x="284760" y="164861"/>
                  </a:cubicBezTo>
                  <a:lnTo>
                    <a:pt x="284760" y="164861"/>
                  </a:lnTo>
                  <a:cubicBezTo>
                    <a:pt x="284760" y="164861"/>
                    <a:pt x="284760" y="164861"/>
                    <a:pt x="284760" y="164861"/>
                  </a:cubicBezTo>
                  <a:lnTo>
                    <a:pt x="284760" y="164861"/>
                  </a:lnTo>
                  <a:cubicBezTo>
                    <a:pt x="284760" y="164861"/>
                    <a:pt x="294752" y="164861"/>
                    <a:pt x="294752" y="164861"/>
                  </a:cubicBezTo>
                  <a:lnTo>
                    <a:pt x="294752" y="164861"/>
                  </a:lnTo>
                  <a:cubicBezTo>
                    <a:pt x="304743" y="164861"/>
                    <a:pt x="314735" y="164861"/>
                    <a:pt x="324727" y="174853"/>
                  </a:cubicBezTo>
                  <a:lnTo>
                    <a:pt x="324727" y="174853"/>
                  </a:lnTo>
                  <a:cubicBezTo>
                    <a:pt x="344710" y="184844"/>
                    <a:pt x="374685" y="184844"/>
                    <a:pt x="384676" y="194836"/>
                  </a:cubicBezTo>
                  <a:lnTo>
                    <a:pt x="384676" y="194836"/>
                  </a:lnTo>
                  <a:cubicBezTo>
                    <a:pt x="384676" y="194836"/>
                    <a:pt x="384676" y="194836"/>
                    <a:pt x="384676" y="204828"/>
                  </a:cubicBezTo>
                  <a:lnTo>
                    <a:pt x="384676" y="204828"/>
                  </a:lnTo>
                  <a:lnTo>
                    <a:pt x="384676" y="204828"/>
                  </a:lnTo>
                  <a:lnTo>
                    <a:pt x="384676" y="744373"/>
                  </a:lnTo>
                  <a:lnTo>
                    <a:pt x="374685" y="744373"/>
                  </a:lnTo>
                  <a:lnTo>
                    <a:pt x="384676" y="744373"/>
                  </a:lnTo>
                  <a:lnTo>
                    <a:pt x="384676" y="754365"/>
                  </a:lnTo>
                  <a:lnTo>
                    <a:pt x="74937" y="754365"/>
                  </a:lnTo>
                  <a:lnTo>
                    <a:pt x="84929" y="214819"/>
                  </a:lnTo>
                  <a:lnTo>
                    <a:pt x="84929" y="214819"/>
                  </a:lnTo>
                  <a:close/>
                  <a:moveTo>
                    <a:pt x="104912" y="744373"/>
                  </a:moveTo>
                  <a:lnTo>
                    <a:pt x="384676" y="744373"/>
                  </a:lnTo>
                  <a:lnTo>
                    <a:pt x="384676" y="214819"/>
                  </a:lnTo>
                  <a:lnTo>
                    <a:pt x="384676" y="214819"/>
                  </a:lnTo>
                  <a:cubicBezTo>
                    <a:pt x="384676" y="214819"/>
                    <a:pt x="354701" y="204828"/>
                    <a:pt x="334718" y="204828"/>
                  </a:cubicBezTo>
                  <a:lnTo>
                    <a:pt x="334718" y="204828"/>
                  </a:lnTo>
                  <a:cubicBezTo>
                    <a:pt x="314735" y="194836"/>
                    <a:pt x="294752" y="194836"/>
                    <a:pt x="284760" y="184844"/>
                  </a:cubicBezTo>
                  <a:lnTo>
                    <a:pt x="284760" y="184844"/>
                  </a:lnTo>
                  <a:cubicBezTo>
                    <a:pt x="284760" y="184844"/>
                    <a:pt x="284760" y="184844"/>
                    <a:pt x="284760" y="184844"/>
                  </a:cubicBezTo>
                  <a:lnTo>
                    <a:pt x="284760" y="184844"/>
                  </a:lnTo>
                  <a:cubicBezTo>
                    <a:pt x="284760" y="184844"/>
                    <a:pt x="284760" y="184844"/>
                    <a:pt x="284760" y="174853"/>
                  </a:cubicBezTo>
                  <a:lnTo>
                    <a:pt x="284760" y="174853"/>
                  </a:lnTo>
                  <a:cubicBezTo>
                    <a:pt x="284760" y="164861"/>
                    <a:pt x="284760" y="114903"/>
                    <a:pt x="284760" y="94920"/>
                  </a:cubicBezTo>
                  <a:lnTo>
                    <a:pt x="284760" y="94920"/>
                  </a:lnTo>
                  <a:lnTo>
                    <a:pt x="214819" y="94920"/>
                  </a:lnTo>
                  <a:cubicBezTo>
                    <a:pt x="214819" y="114903"/>
                    <a:pt x="214819" y="174853"/>
                    <a:pt x="214819" y="174853"/>
                  </a:cubicBezTo>
                  <a:lnTo>
                    <a:pt x="214819" y="174853"/>
                  </a:lnTo>
                  <a:cubicBezTo>
                    <a:pt x="214819" y="174853"/>
                    <a:pt x="214819" y="184844"/>
                    <a:pt x="214819" y="184844"/>
                  </a:cubicBezTo>
                  <a:lnTo>
                    <a:pt x="214819" y="184844"/>
                  </a:lnTo>
                  <a:cubicBezTo>
                    <a:pt x="204828" y="194836"/>
                    <a:pt x="194836" y="194836"/>
                    <a:pt x="174853" y="194836"/>
                  </a:cubicBezTo>
                  <a:lnTo>
                    <a:pt x="174853" y="194836"/>
                  </a:lnTo>
                  <a:cubicBezTo>
                    <a:pt x="154870" y="194836"/>
                    <a:pt x="134886" y="204828"/>
                    <a:pt x="124895" y="204828"/>
                  </a:cubicBezTo>
                  <a:lnTo>
                    <a:pt x="124895" y="204828"/>
                  </a:lnTo>
                  <a:cubicBezTo>
                    <a:pt x="114903" y="204828"/>
                    <a:pt x="114903" y="204828"/>
                    <a:pt x="114903" y="204828"/>
                  </a:cubicBezTo>
                  <a:lnTo>
                    <a:pt x="114903" y="204828"/>
                  </a:lnTo>
                  <a:lnTo>
                    <a:pt x="104912" y="744373"/>
                  </a:lnTo>
                  <a:lnTo>
                    <a:pt x="104912" y="744373"/>
                  </a:lnTo>
                  <a:close/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1" name="任意多边形: 形状 50">
              <a:extLst>
                <a:ext uri="{FF2B5EF4-FFF2-40B4-BE49-F238E27FC236}">
                  <a16:creationId xmlns:a16="http://schemas.microsoft.com/office/drawing/2014/main" id="{91614157-18C9-4782-962B-707401333381}"/>
                </a:ext>
              </a:extLst>
            </p:cNvPr>
            <p:cNvSpPr/>
            <p:nvPr userDrawn="1"/>
          </p:nvSpPr>
          <p:spPr>
            <a:xfrm>
              <a:off x="2782367" y="3931938"/>
              <a:ext cx="97335" cy="584011"/>
            </a:xfrm>
            <a:custGeom>
              <a:avLst/>
              <a:gdLst>
                <a:gd name="connsiteX0" fmla="*/ 94920 w 99915"/>
                <a:gd name="connsiteY0" fmla="*/ 604491 h 599495"/>
                <a:gd name="connsiteX1" fmla="*/ 74937 w 99915"/>
                <a:gd name="connsiteY1" fmla="*/ 604491 h 599495"/>
                <a:gd name="connsiteX2" fmla="*/ 74937 w 99915"/>
                <a:gd name="connsiteY2" fmla="*/ 74937 h 599495"/>
                <a:gd name="connsiteX3" fmla="*/ 94920 w 99915"/>
                <a:gd name="connsiteY3" fmla="*/ 124895 h 599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9915" h="599495">
                  <a:moveTo>
                    <a:pt x="94920" y="604491"/>
                  </a:moveTo>
                  <a:lnTo>
                    <a:pt x="74937" y="604491"/>
                  </a:lnTo>
                  <a:lnTo>
                    <a:pt x="74937" y="74937"/>
                  </a:lnTo>
                  <a:lnTo>
                    <a:pt x="94920" y="124895"/>
                  </a:lnTo>
                  <a:close/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2" name="任意多边形: 形状 51">
              <a:extLst>
                <a:ext uri="{FF2B5EF4-FFF2-40B4-BE49-F238E27FC236}">
                  <a16:creationId xmlns:a16="http://schemas.microsoft.com/office/drawing/2014/main" id="{D9EBAC5A-0196-4F50-BB5F-F0F2FF6D7C88}"/>
                </a:ext>
              </a:extLst>
            </p:cNvPr>
            <p:cNvSpPr/>
            <p:nvPr userDrawn="1"/>
          </p:nvSpPr>
          <p:spPr>
            <a:xfrm>
              <a:off x="2723964" y="4447813"/>
              <a:ext cx="194670" cy="389341"/>
            </a:xfrm>
            <a:custGeom>
              <a:avLst/>
              <a:gdLst>
                <a:gd name="connsiteX0" fmla="*/ 164861 w 199831"/>
                <a:gd name="connsiteY0" fmla="*/ 94920 h 399663"/>
                <a:gd name="connsiteX1" fmla="*/ 164861 w 199831"/>
                <a:gd name="connsiteY1" fmla="*/ 74937 h 399663"/>
                <a:gd name="connsiteX2" fmla="*/ 164861 w 199831"/>
                <a:gd name="connsiteY2" fmla="*/ 74937 h 399663"/>
                <a:gd name="connsiteX3" fmla="*/ 154870 w 199831"/>
                <a:gd name="connsiteY3" fmla="*/ 84928 h 399663"/>
                <a:gd name="connsiteX4" fmla="*/ 154870 w 199831"/>
                <a:gd name="connsiteY4" fmla="*/ 174853 h 399663"/>
                <a:gd name="connsiteX5" fmla="*/ 144878 w 199831"/>
                <a:gd name="connsiteY5" fmla="*/ 184844 h 399663"/>
                <a:gd name="connsiteX6" fmla="*/ 134886 w 199831"/>
                <a:gd name="connsiteY6" fmla="*/ 174853 h 399663"/>
                <a:gd name="connsiteX7" fmla="*/ 134886 w 199831"/>
                <a:gd name="connsiteY7" fmla="*/ 84928 h 399663"/>
                <a:gd name="connsiteX8" fmla="*/ 124895 w 199831"/>
                <a:gd name="connsiteY8" fmla="*/ 74937 h 399663"/>
                <a:gd name="connsiteX9" fmla="*/ 124895 w 199831"/>
                <a:gd name="connsiteY9" fmla="*/ 74937 h 399663"/>
                <a:gd name="connsiteX10" fmla="*/ 124895 w 199831"/>
                <a:gd name="connsiteY10" fmla="*/ 94920 h 399663"/>
                <a:gd name="connsiteX11" fmla="*/ 114903 w 199831"/>
                <a:gd name="connsiteY11" fmla="*/ 94920 h 399663"/>
                <a:gd name="connsiteX12" fmla="*/ 114903 w 199831"/>
                <a:gd name="connsiteY12" fmla="*/ 174853 h 399663"/>
                <a:gd name="connsiteX13" fmla="*/ 94920 w 199831"/>
                <a:gd name="connsiteY13" fmla="*/ 204828 h 399663"/>
                <a:gd name="connsiteX14" fmla="*/ 74937 w 199831"/>
                <a:gd name="connsiteY14" fmla="*/ 324727 h 399663"/>
                <a:gd name="connsiteX15" fmla="*/ 134886 w 199831"/>
                <a:gd name="connsiteY15" fmla="*/ 324727 h 399663"/>
                <a:gd name="connsiteX16" fmla="*/ 194836 w 199831"/>
                <a:gd name="connsiteY16" fmla="*/ 324727 h 399663"/>
                <a:gd name="connsiteX17" fmla="*/ 184844 w 199831"/>
                <a:gd name="connsiteY17" fmla="*/ 204828 h 399663"/>
                <a:gd name="connsiteX18" fmla="*/ 164861 w 199831"/>
                <a:gd name="connsiteY18" fmla="*/ 174853 h 399663"/>
                <a:gd name="connsiteX19" fmla="*/ 164861 w 199831"/>
                <a:gd name="connsiteY19" fmla="*/ 94920 h 399663"/>
                <a:gd name="connsiteX20" fmla="*/ 164861 w 199831"/>
                <a:gd name="connsiteY20" fmla="*/ 94920 h 3996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99831" h="399663">
                  <a:moveTo>
                    <a:pt x="164861" y="94920"/>
                  </a:moveTo>
                  <a:cubicBezTo>
                    <a:pt x="164861" y="94920"/>
                    <a:pt x="164861" y="84928"/>
                    <a:pt x="164861" y="74937"/>
                  </a:cubicBezTo>
                  <a:cubicBezTo>
                    <a:pt x="164861" y="74937"/>
                    <a:pt x="164861" y="74937"/>
                    <a:pt x="164861" y="74937"/>
                  </a:cubicBezTo>
                  <a:lnTo>
                    <a:pt x="154870" y="84928"/>
                  </a:lnTo>
                  <a:lnTo>
                    <a:pt x="154870" y="174853"/>
                  </a:lnTo>
                  <a:cubicBezTo>
                    <a:pt x="154870" y="174853"/>
                    <a:pt x="154870" y="184844"/>
                    <a:pt x="144878" y="184844"/>
                  </a:cubicBezTo>
                  <a:cubicBezTo>
                    <a:pt x="134886" y="184844"/>
                    <a:pt x="134886" y="184844"/>
                    <a:pt x="134886" y="174853"/>
                  </a:cubicBezTo>
                  <a:lnTo>
                    <a:pt x="134886" y="84928"/>
                  </a:lnTo>
                  <a:lnTo>
                    <a:pt x="124895" y="74937"/>
                  </a:lnTo>
                  <a:cubicBezTo>
                    <a:pt x="124895" y="74937"/>
                    <a:pt x="124895" y="74937"/>
                    <a:pt x="124895" y="74937"/>
                  </a:cubicBezTo>
                  <a:cubicBezTo>
                    <a:pt x="124895" y="74937"/>
                    <a:pt x="124895" y="94920"/>
                    <a:pt x="124895" y="94920"/>
                  </a:cubicBezTo>
                  <a:cubicBezTo>
                    <a:pt x="124895" y="94920"/>
                    <a:pt x="114903" y="94920"/>
                    <a:pt x="114903" y="94920"/>
                  </a:cubicBezTo>
                  <a:cubicBezTo>
                    <a:pt x="114903" y="94920"/>
                    <a:pt x="114903" y="164861"/>
                    <a:pt x="114903" y="174853"/>
                  </a:cubicBezTo>
                  <a:cubicBezTo>
                    <a:pt x="114903" y="184844"/>
                    <a:pt x="104912" y="194836"/>
                    <a:pt x="94920" y="204828"/>
                  </a:cubicBezTo>
                  <a:cubicBezTo>
                    <a:pt x="94920" y="214819"/>
                    <a:pt x="74937" y="324727"/>
                    <a:pt x="74937" y="324727"/>
                  </a:cubicBezTo>
                  <a:cubicBezTo>
                    <a:pt x="74937" y="324727"/>
                    <a:pt x="84929" y="324727"/>
                    <a:pt x="134886" y="324727"/>
                  </a:cubicBezTo>
                  <a:cubicBezTo>
                    <a:pt x="184844" y="324727"/>
                    <a:pt x="194836" y="324727"/>
                    <a:pt x="194836" y="324727"/>
                  </a:cubicBezTo>
                  <a:cubicBezTo>
                    <a:pt x="194836" y="324727"/>
                    <a:pt x="184844" y="214819"/>
                    <a:pt x="184844" y="204828"/>
                  </a:cubicBezTo>
                  <a:cubicBezTo>
                    <a:pt x="174853" y="194836"/>
                    <a:pt x="164861" y="184844"/>
                    <a:pt x="164861" y="174853"/>
                  </a:cubicBezTo>
                  <a:cubicBezTo>
                    <a:pt x="174853" y="164861"/>
                    <a:pt x="174853" y="94920"/>
                    <a:pt x="164861" y="94920"/>
                  </a:cubicBezTo>
                  <a:cubicBezTo>
                    <a:pt x="174853" y="94920"/>
                    <a:pt x="164861" y="94920"/>
                    <a:pt x="164861" y="94920"/>
                  </a:cubicBezTo>
                  <a:close/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3" name="任意多边形: 形状 52">
              <a:extLst>
                <a:ext uri="{FF2B5EF4-FFF2-40B4-BE49-F238E27FC236}">
                  <a16:creationId xmlns:a16="http://schemas.microsoft.com/office/drawing/2014/main" id="{F17B52AB-BE16-4181-B931-F7732ED9F23E}"/>
                </a:ext>
              </a:extLst>
            </p:cNvPr>
            <p:cNvSpPr/>
            <p:nvPr userDrawn="1"/>
          </p:nvSpPr>
          <p:spPr>
            <a:xfrm>
              <a:off x="2772633" y="4447813"/>
              <a:ext cx="97335" cy="97335"/>
            </a:xfrm>
            <a:custGeom>
              <a:avLst/>
              <a:gdLst>
                <a:gd name="connsiteX0" fmla="*/ 74937 w 99915"/>
                <a:gd name="connsiteY0" fmla="*/ 84928 h 99915"/>
                <a:gd name="connsiteX1" fmla="*/ 94920 w 99915"/>
                <a:gd name="connsiteY1" fmla="*/ 74937 h 99915"/>
                <a:gd name="connsiteX2" fmla="*/ 114903 w 99915"/>
                <a:gd name="connsiteY2" fmla="*/ 84928 h 99915"/>
                <a:gd name="connsiteX3" fmla="*/ 94920 w 99915"/>
                <a:gd name="connsiteY3" fmla="*/ 84928 h 99915"/>
                <a:gd name="connsiteX4" fmla="*/ 74937 w 99915"/>
                <a:gd name="connsiteY4" fmla="*/ 84928 h 999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9915" h="99915">
                  <a:moveTo>
                    <a:pt x="74937" y="84928"/>
                  </a:moveTo>
                  <a:cubicBezTo>
                    <a:pt x="74937" y="74937"/>
                    <a:pt x="84929" y="74937"/>
                    <a:pt x="94920" y="74937"/>
                  </a:cubicBezTo>
                  <a:cubicBezTo>
                    <a:pt x="104912" y="74937"/>
                    <a:pt x="114903" y="84928"/>
                    <a:pt x="114903" y="84928"/>
                  </a:cubicBezTo>
                  <a:cubicBezTo>
                    <a:pt x="114903" y="84928"/>
                    <a:pt x="104912" y="84928"/>
                    <a:pt x="94920" y="84928"/>
                  </a:cubicBezTo>
                  <a:cubicBezTo>
                    <a:pt x="84929" y="84928"/>
                    <a:pt x="74937" y="84928"/>
                    <a:pt x="74937" y="84928"/>
                  </a:cubicBezTo>
                  <a:close/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4" name="任意多边形: 形状 53">
              <a:extLst>
                <a:ext uri="{FF2B5EF4-FFF2-40B4-BE49-F238E27FC236}">
                  <a16:creationId xmlns:a16="http://schemas.microsoft.com/office/drawing/2014/main" id="{396E9E24-099A-4A8B-8EC2-6FD9B5637C1E}"/>
                </a:ext>
              </a:extLst>
            </p:cNvPr>
            <p:cNvSpPr/>
            <p:nvPr userDrawn="1"/>
          </p:nvSpPr>
          <p:spPr>
            <a:xfrm>
              <a:off x="2714231" y="4696559"/>
              <a:ext cx="292005" cy="97335"/>
            </a:xfrm>
            <a:custGeom>
              <a:avLst/>
              <a:gdLst>
                <a:gd name="connsiteX0" fmla="*/ 224811 w 299747"/>
                <a:gd name="connsiteY0" fmla="*/ 79378 h 99915"/>
                <a:gd name="connsiteX1" fmla="*/ 224811 w 299747"/>
                <a:gd name="connsiteY1" fmla="*/ 79378 h 99915"/>
                <a:gd name="connsiteX2" fmla="*/ 84928 w 299747"/>
                <a:gd name="connsiteY2" fmla="*/ 89369 h 99915"/>
                <a:gd name="connsiteX3" fmla="*/ 74937 w 299747"/>
                <a:gd name="connsiteY3" fmla="*/ 79378 h 99915"/>
                <a:gd name="connsiteX4" fmla="*/ 74937 w 299747"/>
                <a:gd name="connsiteY4" fmla="*/ 79378 h 99915"/>
                <a:gd name="connsiteX5" fmla="*/ 84928 w 299747"/>
                <a:gd name="connsiteY5" fmla="*/ 79378 h 99915"/>
                <a:gd name="connsiteX6" fmla="*/ 224811 w 299747"/>
                <a:gd name="connsiteY6" fmla="*/ 79378 h 99915"/>
                <a:gd name="connsiteX7" fmla="*/ 224811 w 299747"/>
                <a:gd name="connsiteY7" fmla="*/ 79378 h 99915"/>
                <a:gd name="connsiteX8" fmla="*/ 224811 w 299747"/>
                <a:gd name="connsiteY8" fmla="*/ 79378 h 999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99747" h="99915">
                  <a:moveTo>
                    <a:pt x="224811" y="79378"/>
                  </a:moveTo>
                  <a:cubicBezTo>
                    <a:pt x="224811" y="79378"/>
                    <a:pt x="224811" y="79378"/>
                    <a:pt x="224811" y="79378"/>
                  </a:cubicBezTo>
                  <a:lnTo>
                    <a:pt x="84928" y="89369"/>
                  </a:lnTo>
                  <a:cubicBezTo>
                    <a:pt x="84928" y="89369"/>
                    <a:pt x="74937" y="89369"/>
                    <a:pt x="74937" y="79378"/>
                  </a:cubicBezTo>
                  <a:lnTo>
                    <a:pt x="74937" y="79378"/>
                  </a:lnTo>
                  <a:cubicBezTo>
                    <a:pt x="74937" y="79378"/>
                    <a:pt x="74937" y="79378"/>
                    <a:pt x="84928" y="79378"/>
                  </a:cubicBezTo>
                  <a:lnTo>
                    <a:pt x="224811" y="79378"/>
                  </a:lnTo>
                  <a:cubicBezTo>
                    <a:pt x="224811" y="69386"/>
                    <a:pt x="224811" y="79378"/>
                    <a:pt x="224811" y="79378"/>
                  </a:cubicBezTo>
                  <a:lnTo>
                    <a:pt x="224811" y="79378"/>
                  </a:lnTo>
                  <a:close/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5" name="任意多边形: 形状 54">
              <a:extLst>
                <a:ext uri="{FF2B5EF4-FFF2-40B4-BE49-F238E27FC236}">
                  <a16:creationId xmlns:a16="http://schemas.microsoft.com/office/drawing/2014/main" id="{405D4131-1104-41DA-932B-7A6553E5FE22}"/>
                </a:ext>
              </a:extLst>
            </p:cNvPr>
            <p:cNvSpPr/>
            <p:nvPr userDrawn="1"/>
          </p:nvSpPr>
          <p:spPr>
            <a:xfrm>
              <a:off x="2687464" y="4849321"/>
              <a:ext cx="292005" cy="97335"/>
            </a:xfrm>
            <a:custGeom>
              <a:avLst/>
              <a:gdLst>
                <a:gd name="connsiteX0" fmla="*/ 82431 w 299747"/>
                <a:gd name="connsiteY0" fmla="*/ 82431 h 99915"/>
                <a:gd name="connsiteX1" fmla="*/ 82431 w 299747"/>
                <a:gd name="connsiteY1" fmla="*/ 82431 h 99915"/>
                <a:gd name="connsiteX2" fmla="*/ 82431 w 299747"/>
                <a:gd name="connsiteY2" fmla="*/ 82431 h 99915"/>
                <a:gd name="connsiteX3" fmla="*/ 82431 w 299747"/>
                <a:gd name="connsiteY3" fmla="*/ 82431 h 99915"/>
                <a:gd name="connsiteX4" fmla="*/ 82431 w 299747"/>
                <a:gd name="connsiteY4" fmla="*/ 82431 h 99915"/>
                <a:gd name="connsiteX5" fmla="*/ 242296 w 299747"/>
                <a:gd name="connsiteY5" fmla="*/ 82431 h 99915"/>
                <a:gd name="connsiteX6" fmla="*/ 242296 w 299747"/>
                <a:gd name="connsiteY6" fmla="*/ 82431 h 99915"/>
                <a:gd name="connsiteX7" fmla="*/ 242296 w 299747"/>
                <a:gd name="connsiteY7" fmla="*/ 82431 h 99915"/>
                <a:gd name="connsiteX8" fmla="*/ 242296 w 299747"/>
                <a:gd name="connsiteY8" fmla="*/ 82431 h 99915"/>
                <a:gd name="connsiteX9" fmla="*/ 242296 w 299747"/>
                <a:gd name="connsiteY9" fmla="*/ 82431 h 99915"/>
                <a:gd name="connsiteX10" fmla="*/ 82431 w 299747"/>
                <a:gd name="connsiteY10" fmla="*/ 82431 h 99915"/>
                <a:gd name="connsiteX11" fmla="*/ 82431 w 299747"/>
                <a:gd name="connsiteY11" fmla="*/ 82431 h 999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99747" h="99915">
                  <a:moveTo>
                    <a:pt x="82431" y="82431"/>
                  </a:moveTo>
                  <a:cubicBezTo>
                    <a:pt x="72439" y="82431"/>
                    <a:pt x="72439" y="82431"/>
                    <a:pt x="82431" y="82431"/>
                  </a:cubicBezTo>
                  <a:lnTo>
                    <a:pt x="82431" y="82431"/>
                  </a:lnTo>
                  <a:cubicBezTo>
                    <a:pt x="72439" y="72439"/>
                    <a:pt x="72439" y="72439"/>
                    <a:pt x="82431" y="82431"/>
                  </a:cubicBezTo>
                  <a:lnTo>
                    <a:pt x="82431" y="82431"/>
                  </a:lnTo>
                  <a:lnTo>
                    <a:pt x="242296" y="82431"/>
                  </a:lnTo>
                  <a:cubicBezTo>
                    <a:pt x="242296" y="82431"/>
                    <a:pt x="242296" y="82431"/>
                    <a:pt x="242296" y="82431"/>
                  </a:cubicBezTo>
                  <a:lnTo>
                    <a:pt x="242296" y="82431"/>
                  </a:lnTo>
                  <a:cubicBezTo>
                    <a:pt x="242296" y="82431"/>
                    <a:pt x="242296" y="82431"/>
                    <a:pt x="242296" y="82431"/>
                  </a:cubicBezTo>
                  <a:lnTo>
                    <a:pt x="242296" y="82431"/>
                  </a:lnTo>
                  <a:lnTo>
                    <a:pt x="82431" y="82431"/>
                  </a:lnTo>
                  <a:lnTo>
                    <a:pt x="82431" y="82431"/>
                  </a:lnTo>
                  <a:close/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6" name="任意多边形: 形状 55">
              <a:extLst>
                <a:ext uri="{FF2B5EF4-FFF2-40B4-BE49-F238E27FC236}">
                  <a16:creationId xmlns:a16="http://schemas.microsoft.com/office/drawing/2014/main" id="{96DAE3BE-943D-408A-B788-43C1E1A787BF}"/>
                </a:ext>
              </a:extLst>
            </p:cNvPr>
            <p:cNvSpPr/>
            <p:nvPr userDrawn="1"/>
          </p:nvSpPr>
          <p:spPr>
            <a:xfrm>
              <a:off x="2687464" y="5053726"/>
              <a:ext cx="292005" cy="97335"/>
            </a:xfrm>
            <a:custGeom>
              <a:avLst/>
              <a:gdLst>
                <a:gd name="connsiteX0" fmla="*/ 82431 w 299747"/>
                <a:gd name="connsiteY0" fmla="*/ 82431 h 99915"/>
                <a:gd name="connsiteX1" fmla="*/ 82431 w 299747"/>
                <a:gd name="connsiteY1" fmla="*/ 82431 h 99915"/>
                <a:gd name="connsiteX2" fmla="*/ 82431 w 299747"/>
                <a:gd name="connsiteY2" fmla="*/ 82431 h 99915"/>
                <a:gd name="connsiteX3" fmla="*/ 82431 w 299747"/>
                <a:gd name="connsiteY3" fmla="*/ 82431 h 99915"/>
                <a:gd name="connsiteX4" fmla="*/ 82431 w 299747"/>
                <a:gd name="connsiteY4" fmla="*/ 82431 h 99915"/>
                <a:gd name="connsiteX5" fmla="*/ 242296 w 299747"/>
                <a:gd name="connsiteY5" fmla="*/ 82431 h 99915"/>
                <a:gd name="connsiteX6" fmla="*/ 242296 w 299747"/>
                <a:gd name="connsiteY6" fmla="*/ 82431 h 99915"/>
                <a:gd name="connsiteX7" fmla="*/ 242296 w 299747"/>
                <a:gd name="connsiteY7" fmla="*/ 82431 h 99915"/>
                <a:gd name="connsiteX8" fmla="*/ 242296 w 299747"/>
                <a:gd name="connsiteY8" fmla="*/ 82431 h 99915"/>
                <a:gd name="connsiteX9" fmla="*/ 242296 w 299747"/>
                <a:gd name="connsiteY9" fmla="*/ 82431 h 99915"/>
                <a:gd name="connsiteX10" fmla="*/ 82431 w 299747"/>
                <a:gd name="connsiteY10" fmla="*/ 82431 h 99915"/>
                <a:gd name="connsiteX11" fmla="*/ 82431 w 299747"/>
                <a:gd name="connsiteY11" fmla="*/ 82431 h 999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99747" h="99915">
                  <a:moveTo>
                    <a:pt x="82431" y="82431"/>
                  </a:moveTo>
                  <a:cubicBezTo>
                    <a:pt x="72439" y="82431"/>
                    <a:pt x="72439" y="72439"/>
                    <a:pt x="82431" y="82431"/>
                  </a:cubicBezTo>
                  <a:lnTo>
                    <a:pt x="82431" y="82431"/>
                  </a:lnTo>
                  <a:cubicBezTo>
                    <a:pt x="72439" y="72439"/>
                    <a:pt x="72439" y="72439"/>
                    <a:pt x="82431" y="82431"/>
                  </a:cubicBezTo>
                  <a:lnTo>
                    <a:pt x="82431" y="82431"/>
                  </a:lnTo>
                  <a:lnTo>
                    <a:pt x="242296" y="82431"/>
                  </a:lnTo>
                  <a:cubicBezTo>
                    <a:pt x="242296" y="82431"/>
                    <a:pt x="242296" y="82431"/>
                    <a:pt x="242296" y="82431"/>
                  </a:cubicBezTo>
                  <a:lnTo>
                    <a:pt x="242296" y="82431"/>
                  </a:lnTo>
                  <a:cubicBezTo>
                    <a:pt x="242296" y="82431"/>
                    <a:pt x="242296" y="82431"/>
                    <a:pt x="242296" y="82431"/>
                  </a:cubicBezTo>
                  <a:lnTo>
                    <a:pt x="242296" y="82431"/>
                  </a:lnTo>
                  <a:lnTo>
                    <a:pt x="82431" y="82431"/>
                  </a:lnTo>
                  <a:lnTo>
                    <a:pt x="82431" y="82431"/>
                  </a:lnTo>
                  <a:close/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7" name="任意多边形: 形状 56">
              <a:extLst>
                <a:ext uri="{FF2B5EF4-FFF2-40B4-BE49-F238E27FC236}">
                  <a16:creationId xmlns:a16="http://schemas.microsoft.com/office/drawing/2014/main" id="{9EDEDC4E-AE01-40C9-B7D8-038A08232141}"/>
                </a:ext>
              </a:extLst>
            </p:cNvPr>
            <p:cNvSpPr/>
            <p:nvPr userDrawn="1"/>
          </p:nvSpPr>
          <p:spPr>
            <a:xfrm>
              <a:off x="2690439" y="5265430"/>
              <a:ext cx="292005" cy="97335"/>
            </a:xfrm>
            <a:custGeom>
              <a:avLst/>
              <a:gdLst>
                <a:gd name="connsiteX0" fmla="*/ 79378 w 299747"/>
                <a:gd name="connsiteY0" fmla="*/ 74937 h 99915"/>
                <a:gd name="connsiteX1" fmla="*/ 79378 w 299747"/>
                <a:gd name="connsiteY1" fmla="*/ 74937 h 99915"/>
                <a:gd name="connsiteX2" fmla="*/ 79378 w 299747"/>
                <a:gd name="connsiteY2" fmla="*/ 74937 h 99915"/>
                <a:gd name="connsiteX3" fmla="*/ 79378 w 299747"/>
                <a:gd name="connsiteY3" fmla="*/ 74937 h 99915"/>
                <a:gd name="connsiteX4" fmla="*/ 79378 w 299747"/>
                <a:gd name="connsiteY4" fmla="*/ 74937 h 99915"/>
                <a:gd name="connsiteX5" fmla="*/ 239243 w 299747"/>
                <a:gd name="connsiteY5" fmla="*/ 74937 h 99915"/>
                <a:gd name="connsiteX6" fmla="*/ 239243 w 299747"/>
                <a:gd name="connsiteY6" fmla="*/ 74937 h 99915"/>
                <a:gd name="connsiteX7" fmla="*/ 239243 w 299747"/>
                <a:gd name="connsiteY7" fmla="*/ 74937 h 99915"/>
                <a:gd name="connsiteX8" fmla="*/ 239243 w 299747"/>
                <a:gd name="connsiteY8" fmla="*/ 74937 h 99915"/>
                <a:gd name="connsiteX9" fmla="*/ 239243 w 299747"/>
                <a:gd name="connsiteY9" fmla="*/ 74937 h 99915"/>
                <a:gd name="connsiteX10" fmla="*/ 79378 w 299747"/>
                <a:gd name="connsiteY10" fmla="*/ 74937 h 99915"/>
                <a:gd name="connsiteX11" fmla="*/ 79378 w 299747"/>
                <a:gd name="connsiteY11" fmla="*/ 74937 h 999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99747" h="99915">
                  <a:moveTo>
                    <a:pt x="79378" y="74937"/>
                  </a:moveTo>
                  <a:cubicBezTo>
                    <a:pt x="79378" y="74937"/>
                    <a:pt x="69386" y="74937"/>
                    <a:pt x="79378" y="74937"/>
                  </a:cubicBezTo>
                  <a:lnTo>
                    <a:pt x="79378" y="74937"/>
                  </a:lnTo>
                  <a:cubicBezTo>
                    <a:pt x="69386" y="74937"/>
                    <a:pt x="79378" y="74937"/>
                    <a:pt x="79378" y="74937"/>
                  </a:cubicBezTo>
                  <a:lnTo>
                    <a:pt x="79378" y="74937"/>
                  </a:lnTo>
                  <a:lnTo>
                    <a:pt x="239243" y="74937"/>
                  </a:lnTo>
                  <a:cubicBezTo>
                    <a:pt x="239243" y="74937"/>
                    <a:pt x="239243" y="74937"/>
                    <a:pt x="239243" y="74937"/>
                  </a:cubicBezTo>
                  <a:lnTo>
                    <a:pt x="239243" y="74937"/>
                  </a:lnTo>
                  <a:cubicBezTo>
                    <a:pt x="239243" y="74937"/>
                    <a:pt x="239243" y="74937"/>
                    <a:pt x="239243" y="74937"/>
                  </a:cubicBezTo>
                  <a:lnTo>
                    <a:pt x="239243" y="74937"/>
                  </a:lnTo>
                  <a:lnTo>
                    <a:pt x="79378" y="74937"/>
                  </a:lnTo>
                  <a:lnTo>
                    <a:pt x="79378" y="74937"/>
                  </a:lnTo>
                  <a:close/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8" name="任意多边形: 形状 57">
              <a:extLst>
                <a:ext uri="{FF2B5EF4-FFF2-40B4-BE49-F238E27FC236}">
                  <a16:creationId xmlns:a16="http://schemas.microsoft.com/office/drawing/2014/main" id="{5C477E40-66D1-43F1-ADC0-5FDB42003C60}"/>
                </a:ext>
              </a:extLst>
            </p:cNvPr>
            <p:cNvSpPr/>
            <p:nvPr userDrawn="1"/>
          </p:nvSpPr>
          <p:spPr>
            <a:xfrm>
              <a:off x="2687464" y="4888256"/>
              <a:ext cx="194670" cy="97335"/>
            </a:xfrm>
            <a:custGeom>
              <a:avLst/>
              <a:gdLst>
                <a:gd name="connsiteX0" fmla="*/ 82431 w 199831"/>
                <a:gd name="connsiteY0" fmla="*/ 82431 h 99915"/>
                <a:gd name="connsiteX1" fmla="*/ 82431 w 199831"/>
                <a:gd name="connsiteY1" fmla="*/ 82431 h 99915"/>
                <a:gd name="connsiteX2" fmla="*/ 82431 w 199831"/>
                <a:gd name="connsiteY2" fmla="*/ 82431 h 99915"/>
                <a:gd name="connsiteX3" fmla="*/ 82431 w 199831"/>
                <a:gd name="connsiteY3" fmla="*/ 82431 h 99915"/>
                <a:gd name="connsiteX4" fmla="*/ 82431 w 199831"/>
                <a:gd name="connsiteY4" fmla="*/ 82431 h 99915"/>
                <a:gd name="connsiteX5" fmla="*/ 152372 w 199831"/>
                <a:gd name="connsiteY5" fmla="*/ 82431 h 99915"/>
                <a:gd name="connsiteX6" fmla="*/ 152372 w 199831"/>
                <a:gd name="connsiteY6" fmla="*/ 82431 h 99915"/>
                <a:gd name="connsiteX7" fmla="*/ 152372 w 199831"/>
                <a:gd name="connsiteY7" fmla="*/ 82431 h 99915"/>
                <a:gd name="connsiteX8" fmla="*/ 152372 w 199831"/>
                <a:gd name="connsiteY8" fmla="*/ 82431 h 99915"/>
                <a:gd name="connsiteX9" fmla="*/ 152372 w 199831"/>
                <a:gd name="connsiteY9" fmla="*/ 82431 h 99915"/>
                <a:gd name="connsiteX10" fmla="*/ 82431 w 199831"/>
                <a:gd name="connsiteY10" fmla="*/ 82431 h 99915"/>
                <a:gd name="connsiteX11" fmla="*/ 82431 w 199831"/>
                <a:gd name="connsiteY11" fmla="*/ 82431 h 999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99831" h="99915">
                  <a:moveTo>
                    <a:pt x="82431" y="82431"/>
                  </a:moveTo>
                  <a:cubicBezTo>
                    <a:pt x="72439" y="82431"/>
                    <a:pt x="72439" y="72439"/>
                    <a:pt x="82431" y="82431"/>
                  </a:cubicBezTo>
                  <a:lnTo>
                    <a:pt x="82431" y="82431"/>
                  </a:lnTo>
                  <a:cubicBezTo>
                    <a:pt x="72439" y="72439"/>
                    <a:pt x="72439" y="72439"/>
                    <a:pt x="82431" y="82431"/>
                  </a:cubicBezTo>
                  <a:lnTo>
                    <a:pt x="82431" y="82431"/>
                  </a:lnTo>
                  <a:lnTo>
                    <a:pt x="152372" y="82431"/>
                  </a:lnTo>
                  <a:cubicBezTo>
                    <a:pt x="152372" y="82431"/>
                    <a:pt x="152372" y="82431"/>
                    <a:pt x="152372" y="82431"/>
                  </a:cubicBezTo>
                  <a:lnTo>
                    <a:pt x="152372" y="82431"/>
                  </a:lnTo>
                  <a:cubicBezTo>
                    <a:pt x="152372" y="82431"/>
                    <a:pt x="152372" y="82431"/>
                    <a:pt x="152372" y="82431"/>
                  </a:cubicBezTo>
                  <a:lnTo>
                    <a:pt x="152372" y="82431"/>
                  </a:lnTo>
                  <a:lnTo>
                    <a:pt x="82431" y="82431"/>
                  </a:lnTo>
                  <a:lnTo>
                    <a:pt x="82431" y="82431"/>
                  </a:lnTo>
                  <a:close/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9" name="任意多边形: 形状 58">
              <a:extLst>
                <a:ext uri="{FF2B5EF4-FFF2-40B4-BE49-F238E27FC236}">
                  <a16:creationId xmlns:a16="http://schemas.microsoft.com/office/drawing/2014/main" id="{367536B1-AEE8-49AD-937B-40735FCBD57D}"/>
                </a:ext>
              </a:extLst>
            </p:cNvPr>
            <p:cNvSpPr/>
            <p:nvPr userDrawn="1"/>
          </p:nvSpPr>
          <p:spPr>
            <a:xfrm>
              <a:off x="2687464" y="4930164"/>
              <a:ext cx="194670" cy="97335"/>
            </a:xfrm>
            <a:custGeom>
              <a:avLst/>
              <a:gdLst>
                <a:gd name="connsiteX0" fmla="*/ 82431 w 199831"/>
                <a:gd name="connsiteY0" fmla="*/ 79378 h 99915"/>
                <a:gd name="connsiteX1" fmla="*/ 82431 w 199831"/>
                <a:gd name="connsiteY1" fmla="*/ 79378 h 99915"/>
                <a:gd name="connsiteX2" fmla="*/ 82431 w 199831"/>
                <a:gd name="connsiteY2" fmla="*/ 79378 h 99915"/>
                <a:gd name="connsiteX3" fmla="*/ 82431 w 199831"/>
                <a:gd name="connsiteY3" fmla="*/ 79378 h 99915"/>
                <a:gd name="connsiteX4" fmla="*/ 82431 w 199831"/>
                <a:gd name="connsiteY4" fmla="*/ 79378 h 99915"/>
                <a:gd name="connsiteX5" fmla="*/ 152372 w 199831"/>
                <a:gd name="connsiteY5" fmla="*/ 79378 h 99915"/>
                <a:gd name="connsiteX6" fmla="*/ 152372 w 199831"/>
                <a:gd name="connsiteY6" fmla="*/ 79378 h 99915"/>
                <a:gd name="connsiteX7" fmla="*/ 152372 w 199831"/>
                <a:gd name="connsiteY7" fmla="*/ 79378 h 99915"/>
                <a:gd name="connsiteX8" fmla="*/ 152372 w 199831"/>
                <a:gd name="connsiteY8" fmla="*/ 79378 h 99915"/>
                <a:gd name="connsiteX9" fmla="*/ 152372 w 199831"/>
                <a:gd name="connsiteY9" fmla="*/ 79378 h 99915"/>
                <a:gd name="connsiteX10" fmla="*/ 82431 w 199831"/>
                <a:gd name="connsiteY10" fmla="*/ 79378 h 99915"/>
                <a:gd name="connsiteX11" fmla="*/ 82431 w 199831"/>
                <a:gd name="connsiteY11" fmla="*/ 79378 h 999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99831" h="99915">
                  <a:moveTo>
                    <a:pt x="82431" y="79378"/>
                  </a:moveTo>
                  <a:cubicBezTo>
                    <a:pt x="72439" y="79378"/>
                    <a:pt x="72439" y="79378"/>
                    <a:pt x="82431" y="79378"/>
                  </a:cubicBezTo>
                  <a:lnTo>
                    <a:pt x="82431" y="79378"/>
                  </a:lnTo>
                  <a:cubicBezTo>
                    <a:pt x="72439" y="79378"/>
                    <a:pt x="72439" y="69386"/>
                    <a:pt x="82431" y="79378"/>
                  </a:cubicBezTo>
                  <a:lnTo>
                    <a:pt x="82431" y="79378"/>
                  </a:lnTo>
                  <a:lnTo>
                    <a:pt x="152372" y="79378"/>
                  </a:lnTo>
                  <a:cubicBezTo>
                    <a:pt x="152372" y="79378"/>
                    <a:pt x="152372" y="79378"/>
                    <a:pt x="152372" y="79378"/>
                  </a:cubicBezTo>
                  <a:lnTo>
                    <a:pt x="152372" y="79378"/>
                  </a:lnTo>
                  <a:cubicBezTo>
                    <a:pt x="152372" y="79378"/>
                    <a:pt x="152372" y="79378"/>
                    <a:pt x="152372" y="79378"/>
                  </a:cubicBezTo>
                  <a:lnTo>
                    <a:pt x="152372" y="79378"/>
                  </a:lnTo>
                  <a:lnTo>
                    <a:pt x="82431" y="79378"/>
                  </a:lnTo>
                  <a:lnTo>
                    <a:pt x="82431" y="79378"/>
                  </a:lnTo>
                  <a:close/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0" name="任意多边形: 形状 59">
              <a:extLst>
                <a:ext uri="{FF2B5EF4-FFF2-40B4-BE49-F238E27FC236}">
                  <a16:creationId xmlns:a16="http://schemas.microsoft.com/office/drawing/2014/main" id="{4AFE033F-954E-4766-932E-D861AF90D6CA}"/>
                </a:ext>
              </a:extLst>
            </p:cNvPr>
            <p:cNvSpPr/>
            <p:nvPr userDrawn="1"/>
          </p:nvSpPr>
          <p:spPr>
            <a:xfrm>
              <a:off x="2687464" y="4973424"/>
              <a:ext cx="194670" cy="97335"/>
            </a:xfrm>
            <a:custGeom>
              <a:avLst/>
              <a:gdLst>
                <a:gd name="connsiteX0" fmla="*/ 82431 w 199831"/>
                <a:gd name="connsiteY0" fmla="*/ 74937 h 99915"/>
                <a:gd name="connsiteX1" fmla="*/ 82431 w 199831"/>
                <a:gd name="connsiteY1" fmla="*/ 74937 h 99915"/>
                <a:gd name="connsiteX2" fmla="*/ 82431 w 199831"/>
                <a:gd name="connsiteY2" fmla="*/ 74937 h 99915"/>
                <a:gd name="connsiteX3" fmla="*/ 82431 w 199831"/>
                <a:gd name="connsiteY3" fmla="*/ 74937 h 99915"/>
                <a:gd name="connsiteX4" fmla="*/ 82431 w 199831"/>
                <a:gd name="connsiteY4" fmla="*/ 74937 h 99915"/>
                <a:gd name="connsiteX5" fmla="*/ 152372 w 199831"/>
                <a:gd name="connsiteY5" fmla="*/ 74937 h 99915"/>
                <a:gd name="connsiteX6" fmla="*/ 152372 w 199831"/>
                <a:gd name="connsiteY6" fmla="*/ 74937 h 99915"/>
                <a:gd name="connsiteX7" fmla="*/ 152372 w 199831"/>
                <a:gd name="connsiteY7" fmla="*/ 74937 h 99915"/>
                <a:gd name="connsiteX8" fmla="*/ 152372 w 199831"/>
                <a:gd name="connsiteY8" fmla="*/ 74937 h 99915"/>
                <a:gd name="connsiteX9" fmla="*/ 152372 w 199831"/>
                <a:gd name="connsiteY9" fmla="*/ 74937 h 99915"/>
                <a:gd name="connsiteX10" fmla="*/ 82431 w 199831"/>
                <a:gd name="connsiteY10" fmla="*/ 74937 h 99915"/>
                <a:gd name="connsiteX11" fmla="*/ 82431 w 199831"/>
                <a:gd name="connsiteY11" fmla="*/ 74937 h 999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99831" h="99915">
                  <a:moveTo>
                    <a:pt x="82431" y="74937"/>
                  </a:moveTo>
                  <a:cubicBezTo>
                    <a:pt x="72439" y="74937"/>
                    <a:pt x="72439" y="74937"/>
                    <a:pt x="82431" y="74937"/>
                  </a:cubicBezTo>
                  <a:lnTo>
                    <a:pt x="82431" y="74937"/>
                  </a:lnTo>
                  <a:cubicBezTo>
                    <a:pt x="72439" y="74937"/>
                    <a:pt x="72439" y="74937"/>
                    <a:pt x="82431" y="74937"/>
                  </a:cubicBezTo>
                  <a:lnTo>
                    <a:pt x="82431" y="74937"/>
                  </a:lnTo>
                  <a:lnTo>
                    <a:pt x="152372" y="74937"/>
                  </a:lnTo>
                  <a:cubicBezTo>
                    <a:pt x="152372" y="74937"/>
                    <a:pt x="152372" y="74937"/>
                    <a:pt x="152372" y="74937"/>
                  </a:cubicBezTo>
                  <a:lnTo>
                    <a:pt x="152372" y="74937"/>
                  </a:lnTo>
                  <a:cubicBezTo>
                    <a:pt x="152372" y="74937"/>
                    <a:pt x="152372" y="74937"/>
                    <a:pt x="152372" y="74937"/>
                  </a:cubicBezTo>
                  <a:lnTo>
                    <a:pt x="152372" y="74937"/>
                  </a:lnTo>
                  <a:lnTo>
                    <a:pt x="82431" y="74937"/>
                  </a:lnTo>
                  <a:lnTo>
                    <a:pt x="82431" y="74937"/>
                  </a:lnTo>
                  <a:close/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1" name="任意多边形: 形状 60">
              <a:extLst>
                <a:ext uri="{FF2B5EF4-FFF2-40B4-BE49-F238E27FC236}">
                  <a16:creationId xmlns:a16="http://schemas.microsoft.com/office/drawing/2014/main" id="{2D1450D2-5C91-40FA-8D16-BB4C8BA80C98}"/>
                </a:ext>
              </a:extLst>
            </p:cNvPr>
            <p:cNvSpPr/>
            <p:nvPr userDrawn="1"/>
          </p:nvSpPr>
          <p:spPr>
            <a:xfrm>
              <a:off x="2687464" y="5012358"/>
              <a:ext cx="194670" cy="97335"/>
            </a:xfrm>
            <a:custGeom>
              <a:avLst/>
              <a:gdLst>
                <a:gd name="connsiteX0" fmla="*/ 82431 w 199831"/>
                <a:gd name="connsiteY0" fmla="*/ 74937 h 99915"/>
                <a:gd name="connsiteX1" fmla="*/ 82431 w 199831"/>
                <a:gd name="connsiteY1" fmla="*/ 74937 h 99915"/>
                <a:gd name="connsiteX2" fmla="*/ 82431 w 199831"/>
                <a:gd name="connsiteY2" fmla="*/ 74937 h 99915"/>
                <a:gd name="connsiteX3" fmla="*/ 82431 w 199831"/>
                <a:gd name="connsiteY3" fmla="*/ 74937 h 99915"/>
                <a:gd name="connsiteX4" fmla="*/ 82431 w 199831"/>
                <a:gd name="connsiteY4" fmla="*/ 74937 h 99915"/>
                <a:gd name="connsiteX5" fmla="*/ 152372 w 199831"/>
                <a:gd name="connsiteY5" fmla="*/ 74937 h 99915"/>
                <a:gd name="connsiteX6" fmla="*/ 152372 w 199831"/>
                <a:gd name="connsiteY6" fmla="*/ 74937 h 99915"/>
                <a:gd name="connsiteX7" fmla="*/ 152372 w 199831"/>
                <a:gd name="connsiteY7" fmla="*/ 74937 h 99915"/>
                <a:gd name="connsiteX8" fmla="*/ 152372 w 199831"/>
                <a:gd name="connsiteY8" fmla="*/ 74937 h 99915"/>
                <a:gd name="connsiteX9" fmla="*/ 152372 w 199831"/>
                <a:gd name="connsiteY9" fmla="*/ 74937 h 99915"/>
                <a:gd name="connsiteX10" fmla="*/ 82431 w 199831"/>
                <a:gd name="connsiteY10" fmla="*/ 74937 h 99915"/>
                <a:gd name="connsiteX11" fmla="*/ 82431 w 199831"/>
                <a:gd name="connsiteY11" fmla="*/ 74937 h 999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99831" h="99915">
                  <a:moveTo>
                    <a:pt x="82431" y="74937"/>
                  </a:moveTo>
                  <a:cubicBezTo>
                    <a:pt x="72439" y="74937"/>
                    <a:pt x="72439" y="74937"/>
                    <a:pt x="82431" y="74937"/>
                  </a:cubicBezTo>
                  <a:lnTo>
                    <a:pt x="82431" y="74937"/>
                  </a:lnTo>
                  <a:cubicBezTo>
                    <a:pt x="72439" y="74937"/>
                    <a:pt x="72439" y="74937"/>
                    <a:pt x="82431" y="74937"/>
                  </a:cubicBezTo>
                  <a:lnTo>
                    <a:pt x="82431" y="74937"/>
                  </a:lnTo>
                  <a:lnTo>
                    <a:pt x="152372" y="74937"/>
                  </a:lnTo>
                  <a:cubicBezTo>
                    <a:pt x="152372" y="74937"/>
                    <a:pt x="152372" y="74937"/>
                    <a:pt x="152372" y="74937"/>
                  </a:cubicBezTo>
                  <a:lnTo>
                    <a:pt x="152372" y="74937"/>
                  </a:lnTo>
                  <a:cubicBezTo>
                    <a:pt x="152372" y="74937"/>
                    <a:pt x="152372" y="74937"/>
                    <a:pt x="152372" y="74937"/>
                  </a:cubicBezTo>
                  <a:lnTo>
                    <a:pt x="152372" y="74937"/>
                  </a:lnTo>
                  <a:lnTo>
                    <a:pt x="82431" y="74937"/>
                  </a:lnTo>
                  <a:lnTo>
                    <a:pt x="82431" y="74937"/>
                  </a:lnTo>
                  <a:close/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2" name="任意多边形: 形状 61">
              <a:extLst>
                <a:ext uri="{FF2B5EF4-FFF2-40B4-BE49-F238E27FC236}">
                  <a16:creationId xmlns:a16="http://schemas.microsoft.com/office/drawing/2014/main" id="{BDB12567-BD8D-4D86-92A8-04AC7175FD69}"/>
                </a:ext>
              </a:extLst>
            </p:cNvPr>
            <p:cNvSpPr/>
            <p:nvPr userDrawn="1"/>
          </p:nvSpPr>
          <p:spPr>
            <a:xfrm>
              <a:off x="2687464" y="5095633"/>
              <a:ext cx="194670" cy="97335"/>
            </a:xfrm>
            <a:custGeom>
              <a:avLst/>
              <a:gdLst>
                <a:gd name="connsiteX0" fmla="*/ 82431 w 199831"/>
                <a:gd name="connsiteY0" fmla="*/ 79378 h 99915"/>
                <a:gd name="connsiteX1" fmla="*/ 82431 w 199831"/>
                <a:gd name="connsiteY1" fmla="*/ 79378 h 99915"/>
                <a:gd name="connsiteX2" fmla="*/ 82431 w 199831"/>
                <a:gd name="connsiteY2" fmla="*/ 79378 h 99915"/>
                <a:gd name="connsiteX3" fmla="*/ 82431 w 199831"/>
                <a:gd name="connsiteY3" fmla="*/ 79378 h 99915"/>
                <a:gd name="connsiteX4" fmla="*/ 82431 w 199831"/>
                <a:gd name="connsiteY4" fmla="*/ 79378 h 99915"/>
                <a:gd name="connsiteX5" fmla="*/ 152372 w 199831"/>
                <a:gd name="connsiteY5" fmla="*/ 79378 h 99915"/>
                <a:gd name="connsiteX6" fmla="*/ 152372 w 199831"/>
                <a:gd name="connsiteY6" fmla="*/ 79378 h 99915"/>
                <a:gd name="connsiteX7" fmla="*/ 152372 w 199831"/>
                <a:gd name="connsiteY7" fmla="*/ 79378 h 99915"/>
                <a:gd name="connsiteX8" fmla="*/ 152372 w 199831"/>
                <a:gd name="connsiteY8" fmla="*/ 79378 h 99915"/>
                <a:gd name="connsiteX9" fmla="*/ 152372 w 199831"/>
                <a:gd name="connsiteY9" fmla="*/ 79378 h 99915"/>
                <a:gd name="connsiteX10" fmla="*/ 82431 w 199831"/>
                <a:gd name="connsiteY10" fmla="*/ 79378 h 99915"/>
                <a:gd name="connsiteX11" fmla="*/ 82431 w 199831"/>
                <a:gd name="connsiteY11" fmla="*/ 79378 h 999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99831" h="99915">
                  <a:moveTo>
                    <a:pt x="82431" y="79378"/>
                  </a:moveTo>
                  <a:cubicBezTo>
                    <a:pt x="72439" y="79378"/>
                    <a:pt x="72439" y="79378"/>
                    <a:pt x="82431" y="79378"/>
                  </a:cubicBezTo>
                  <a:lnTo>
                    <a:pt x="82431" y="79378"/>
                  </a:lnTo>
                  <a:cubicBezTo>
                    <a:pt x="72439" y="79378"/>
                    <a:pt x="72439" y="69386"/>
                    <a:pt x="82431" y="79378"/>
                  </a:cubicBezTo>
                  <a:lnTo>
                    <a:pt x="82431" y="79378"/>
                  </a:lnTo>
                  <a:lnTo>
                    <a:pt x="152372" y="79378"/>
                  </a:lnTo>
                  <a:cubicBezTo>
                    <a:pt x="152372" y="79378"/>
                    <a:pt x="152372" y="79378"/>
                    <a:pt x="152372" y="79378"/>
                  </a:cubicBezTo>
                  <a:lnTo>
                    <a:pt x="152372" y="79378"/>
                  </a:lnTo>
                  <a:cubicBezTo>
                    <a:pt x="152372" y="79378"/>
                    <a:pt x="152372" y="79378"/>
                    <a:pt x="152372" y="79378"/>
                  </a:cubicBezTo>
                  <a:lnTo>
                    <a:pt x="152372" y="79378"/>
                  </a:lnTo>
                  <a:lnTo>
                    <a:pt x="82431" y="79378"/>
                  </a:lnTo>
                  <a:lnTo>
                    <a:pt x="82431" y="79378"/>
                  </a:lnTo>
                  <a:close/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3" name="任意多边形: 形状 62">
              <a:extLst>
                <a:ext uri="{FF2B5EF4-FFF2-40B4-BE49-F238E27FC236}">
                  <a16:creationId xmlns:a16="http://schemas.microsoft.com/office/drawing/2014/main" id="{F7F197A1-D2F6-44DC-AC03-A4B72B720FBD}"/>
                </a:ext>
              </a:extLst>
            </p:cNvPr>
            <p:cNvSpPr/>
            <p:nvPr userDrawn="1"/>
          </p:nvSpPr>
          <p:spPr>
            <a:xfrm>
              <a:off x="2687464" y="5138894"/>
              <a:ext cx="194670" cy="97335"/>
            </a:xfrm>
            <a:custGeom>
              <a:avLst/>
              <a:gdLst>
                <a:gd name="connsiteX0" fmla="*/ 82431 w 199831"/>
                <a:gd name="connsiteY0" fmla="*/ 74937 h 99915"/>
                <a:gd name="connsiteX1" fmla="*/ 82431 w 199831"/>
                <a:gd name="connsiteY1" fmla="*/ 74937 h 99915"/>
                <a:gd name="connsiteX2" fmla="*/ 82431 w 199831"/>
                <a:gd name="connsiteY2" fmla="*/ 74937 h 99915"/>
                <a:gd name="connsiteX3" fmla="*/ 82431 w 199831"/>
                <a:gd name="connsiteY3" fmla="*/ 74937 h 99915"/>
                <a:gd name="connsiteX4" fmla="*/ 82431 w 199831"/>
                <a:gd name="connsiteY4" fmla="*/ 74937 h 99915"/>
                <a:gd name="connsiteX5" fmla="*/ 152372 w 199831"/>
                <a:gd name="connsiteY5" fmla="*/ 74937 h 99915"/>
                <a:gd name="connsiteX6" fmla="*/ 152372 w 199831"/>
                <a:gd name="connsiteY6" fmla="*/ 74937 h 99915"/>
                <a:gd name="connsiteX7" fmla="*/ 152372 w 199831"/>
                <a:gd name="connsiteY7" fmla="*/ 74937 h 99915"/>
                <a:gd name="connsiteX8" fmla="*/ 152372 w 199831"/>
                <a:gd name="connsiteY8" fmla="*/ 74937 h 99915"/>
                <a:gd name="connsiteX9" fmla="*/ 152372 w 199831"/>
                <a:gd name="connsiteY9" fmla="*/ 74937 h 99915"/>
                <a:gd name="connsiteX10" fmla="*/ 82431 w 199831"/>
                <a:gd name="connsiteY10" fmla="*/ 74937 h 99915"/>
                <a:gd name="connsiteX11" fmla="*/ 82431 w 199831"/>
                <a:gd name="connsiteY11" fmla="*/ 74937 h 999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99831" h="99915">
                  <a:moveTo>
                    <a:pt x="82431" y="74937"/>
                  </a:moveTo>
                  <a:cubicBezTo>
                    <a:pt x="72439" y="74937"/>
                    <a:pt x="72439" y="74937"/>
                    <a:pt x="82431" y="74937"/>
                  </a:cubicBezTo>
                  <a:lnTo>
                    <a:pt x="82431" y="74937"/>
                  </a:lnTo>
                  <a:cubicBezTo>
                    <a:pt x="72439" y="74937"/>
                    <a:pt x="72439" y="74937"/>
                    <a:pt x="82431" y="74937"/>
                  </a:cubicBezTo>
                  <a:lnTo>
                    <a:pt x="82431" y="74937"/>
                  </a:lnTo>
                  <a:lnTo>
                    <a:pt x="152372" y="74937"/>
                  </a:lnTo>
                  <a:cubicBezTo>
                    <a:pt x="152372" y="74937"/>
                    <a:pt x="152372" y="74937"/>
                    <a:pt x="152372" y="74937"/>
                  </a:cubicBezTo>
                  <a:lnTo>
                    <a:pt x="152372" y="74937"/>
                  </a:lnTo>
                  <a:cubicBezTo>
                    <a:pt x="152372" y="74937"/>
                    <a:pt x="152372" y="74937"/>
                    <a:pt x="152372" y="74937"/>
                  </a:cubicBezTo>
                  <a:lnTo>
                    <a:pt x="152372" y="74937"/>
                  </a:lnTo>
                  <a:lnTo>
                    <a:pt x="82431" y="74937"/>
                  </a:lnTo>
                  <a:lnTo>
                    <a:pt x="82431" y="74937"/>
                  </a:lnTo>
                  <a:close/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4" name="任意多边形: 形状 63">
              <a:extLst>
                <a:ext uri="{FF2B5EF4-FFF2-40B4-BE49-F238E27FC236}">
                  <a16:creationId xmlns:a16="http://schemas.microsoft.com/office/drawing/2014/main" id="{D2290333-6DEE-4C8E-BA82-DFEA1BBBFA29}"/>
                </a:ext>
              </a:extLst>
            </p:cNvPr>
            <p:cNvSpPr/>
            <p:nvPr userDrawn="1"/>
          </p:nvSpPr>
          <p:spPr>
            <a:xfrm>
              <a:off x="2687464" y="5177828"/>
              <a:ext cx="194670" cy="97335"/>
            </a:xfrm>
            <a:custGeom>
              <a:avLst/>
              <a:gdLst>
                <a:gd name="connsiteX0" fmla="*/ 82431 w 199831"/>
                <a:gd name="connsiteY0" fmla="*/ 74937 h 99915"/>
                <a:gd name="connsiteX1" fmla="*/ 82431 w 199831"/>
                <a:gd name="connsiteY1" fmla="*/ 74937 h 99915"/>
                <a:gd name="connsiteX2" fmla="*/ 82431 w 199831"/>
                <a:gd name="connsiteY2" fmla="*/ 74937 h 99915"/>
                <a:gd name="connsiteX3" fmla="*/ 82431 w 199831"/>
                <a:gd name="connsiteY3" fmla="*/ 74937 h 99915"/>
                <a:gd name="connsiteX4" fmla="*/ 82431 w 199831"/>
                <a:gd name="connsiteY4" fmla="*/ 74937 h 99915"/>
                <a:gd name="connsiteX5" fmla="*/ 152372 w 199831"/>
                <a:gd name="connsiteY5" fmla="*/ 74937 h 99915"/>
                <a:gd name="connsiteX6" fmla="*/ 152372 w 199831"/>
                <a:gd name="connsiteY6" fmla="*/ 74937 h 99915"/>
                <a:gd name="connsiteX7" fmla="*/ 152372 w 199831"/>
                <a:gd name="connsiteY7" fmla="*/ 74937 h 99915"/>
                <a:gd name="connsiteX8" fmla="*/ 152372 w 199831"/>
                <a:gd name="connsiteY8" fmla="*/ 74937 h 99915"/>
                <a:gd name="connsiteX9" fmla="*/ 152372 w 199831"/>
                <a:gd name="connsiteY9" fmla="*/ 74937 h 99915"/>
                <a:gd name="connsiteX10" fmla="*/ 82431 w 199831"/>
                <a:gd name="connsiteY10" fmla="*/ 74937 h 99915"/>
                <a:gd name="connsiteX11" fmla="*/ 82431 w 199831"/>
                <a:gd name="connsiteY11" fmla="*/ 74937 h 999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99831" h="99915">
                  <a:moveTo>
                    <a:pt x="82431" y="74937"/>
                  </a:moveTo>
                  <a:cubicBezTo>
                    <a:pt x="82431" y="74937"/>
                    <a:pt x="72439" y="74937"/>
                    <a:pt x="82431" y="74937"/>
                  </a:cubicBezTo>
                  <a:lnTo>
                    <a:pt x="82431" y="74937"/>
                  </a:lnTo>
                  <a:cubicBezTo>
                    <a:pt x="72439" y="74937"/>
                    <a:pt x="72439" y="74937"/>
                    <a:pt x="82431" y="74937"/>
                  </a:cubicBezTo>
                  <a:lnTo>
                    <a:pt x="82431" y="74937"/>
                  </a:lnTo>
                  <a:lnTo>
                    <a:pt x="152372" y="74937"/>
                  </a:lnTo>
                  <a:cubicBezTo>
                    <a:pt x="152372" y="74937"/>
                    <a:pt x="152372" y="74937"/>
                    <a:pt x="152372" y="74937"/>
                  </a:cubicBezTo>
                  <a:lnTo>
                    <a:pt x="152372" y="74937"/>
                  </a:lnTo>
                  <a:cubicBezTo>
                    <a:pt x="152372" y="74937"/>
                    <a:pt x="152372" y="74937"/>
                    <a:pt x="152372" y="74937"/>
                  </a:cubicBezTo>
                  <a:lnTo>
                    <a:pt x="152372" y="74937"/>
                  </a:lnTo>
                  <a:lnTo>
                    <a:pt x="82431" y="74937"/>
                  </a:lnTo>
                  <a:lnTo>
                    <a:pt x="82431" y="74937"/>
                  </a:lnTo>
                  <a:close/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5" name="任意多边形: 形状 64">
              <a:extLst>
                <a:ext uri="{FF2B5EF4-FFF2-40B4-BE49-F238E27FC236}">
                  <a16:creationId xmlns:a16="http://schemas.microsoft.com/office/drawing/2014/main" id="{6FC61210-A21B-4184-9291-13FD7E10816B}"/>
                </a:ext>
              </a:extLst>
            </p:cNvPr>
            <p:cNvSpPr/>
            <p:nvPr userDrawn="1"/>
          </p:nvSpPr>
          <p:spPr>
            <a:xfrm>
              <a:off x="2690439" y="5219195"/>
              <a:ext cx="194670" cy="97335"/>
            </a:xfrm>
            <a:custGeom>
              <a:avLst/>
              <a:gdLst>
                <a:gd name="connsiteX0" fmla="*/ 79378 w 199831"/>
                <a:gd name="connsiteY0" fmla="*/ 82430 h 99915"/>
                <a:gd name="connsiteX1" fmla="*/ 79378 w 199831"/>
                <a:gd name="connsiteY1" fmla="*/ 82430 h 99915"/>
                <a:gd name="connsiteX2" fmla="*/ 79378 w 199831"/>
                <a:gd name="connsiteY2" fmla="*/ 82430 h 99915"/>
                <a:gd name="connsiteX3" fmla="*/ 79378 w 199831"/>
                <a:gd name="connsiteY3" fmla="*/ 82430 h 99915"/>
                <a:gd name="connsiteX4" fmla="*/ 79378 w 199831"/>
                <a:gd name="connsiteY4" fmla="*/ 82430 h 99915"/>
                <a:gd name="connsiteX5" fmla="*/ 149319 w 199831"/>
                <a:gd name="connsiteY5" fmla="*/ 82430 h 99915"/>
                <a:gd name="connsiteX6" fmla="*/ 149319 w 199831"/>
                <a:gd name="connsiteY6" fmla="*/ 82430 h 99915"/>
                <a:gd name="connsiteX7" fmla="*/ 149319 w 199831"/>
                <a:gd name="connsiteY7" fmla="*/ 82430 h 99915"/>
                <a:gd name="connsiteX8" fmla="*/ 149319 w 199831"/>
                <a:gd name="connsiteY8" fmla="*/ 82430 h 99915"/>
                <a:gd name="connsiteX9" fmla="*/ 149319 w 199831"/>
                <a:gd name="connsiteY9" fmla="*/ 82430 h 99915"/>
                <a:gd name="connsiteX10" fmla="*/ 79378 w 199831"/>
                <a:gd name="connsiteY10" fmla="*/ 82430 h 99915"/>
                <a:gd name="connsiteX11" fmla="*/ 79378 w 199831"/>
                <a:gd name="connsiteY11" fmla="*/ 82430 h 999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99831" h="99915">
                  <a:moveTo>
                    <a:pt x="79378" y="82430"/>
                  </a:moveTo>
                  <a:cubicBezTo>
                    <a:pt x="79378" y="82430"/>
                    <a:pt x="69386" y="82430"/>
                    <a:pt x="79378" y="82430"/>
                  </a:cubicBezTo>
                  <a:lnTo>
                    <a:pt x="79378" y="82430"/>
                  </a:lnTo>
                  <a:cubicBezTo>
                    <a:pt x="69386" y="72439"/>
                    <a:pt x="79378" y="72439"/>
                    <a:pt x="79378" y="82430"/>
                  </a:cubicBezTo>
                  <a:lnTo>
                    <a:pt x="79378" y="82430"/>
                  </a:lnTo>
                  <a:lnTo>
                    <a:pt x="149319" y="82430"/>
                  </a:lnTo>
                  <a:cubicBezTo>
                    <a:pt x="149319" y="82430"/>
                    <a:pt x="149319" y="82430"/>
                    <a:pt x="149319" y="82430"/>
                  </a:cubicBezTo>
                  <a:lnTo>
                    <a:pt x="149319" y="82430"/>
                  </a:lnTo>
                  <a:cubicBezTo>
                    <a:pt x="149319" y="82430"/>
                    <a:pt x="149319" y="82430"/>
                    <a:pt x="149319" y="82430"/>
                  </a:cubicBezTo>
                  <a:lnTo>
                    <a:pt x="149319" y="82430"/>
                  </a:lnTo>
                  <a:lnTo>
                    <a:pt x="79378" y="82430"/>
                  </a:lnTo>
                  <a:lnTo>
                    <a:pt x="79378" y="82430"/>
                  </a:lnTo>
                  <a:close/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6" name="任意多边形: 形状 65">
              <a:extLst>
                <a:ext uri="{FF2B5EF4-FFF2-40B4-BE49-F238E27FC236}">
                  <a16:creationId xmlns:a16="http://schemas.microsoft.com/office/drawing/2014/main" id="{A5254A45-E038-4AB9-B6F8-D374FAE48B0A}"/>
                </a:ext>
              </a:extLst>
            </p:cNvPr>
            <p:cNvSpPr/>
            <p:nvPr userDrawn="1"/>
          </p:nvSpPr>
          <p:spPr>
            <a:xfrm>
              <a:off x="2879701" y="4846887"/>
              <a:ext cx="97335" cy="97335"/>
            </a:xfrm>
            <a:custGeom>
              <a:avLst/>
              <a:gdLst>
                <a:gd name="connsiteX0" fmla="*/ 74937 w 99915"/>
                <a:gd name="connsiteY0" fmla="*/ 94920 h 99915"/>
                <a:gd name="connsiteX1" fmla="*/ 74937 w 99915"/>
                <a:gd name="connsiteY1" fmla="*/ 74937 h 99915"/>
                <a:gd name="connsiteX2" fmla="*/ 74937 w 99915"/>
                <a:gd name="connsiteY2" fmla="*/ 84929 h 99915"/>
                <a:gd name="connsiteX3" fmla="*/ 74937 w 99915"/>
                <a:gd name="connsiteY3" fmla="*/ 84929 h 99915"/>
                <a:gd name="connsiteX4" fmla="*/ 84928 w 99915"/>
                <a:gd name="connsiteY4" fmla="*/ 74937 h 99915"/>
                <a:gd name="connsiteX5" fmla="*/ 84928 w 99915"/>
                <a:gd name="connsiteY5" fmla="*/ 74937 h 99915"/>
                <a:gd name="connsiteX6" fmla="*/ 74937 w 99915"/>
                <a:gd name="connsiteY6" fmla="*/ 94920 h 99915"/>
                <a:gd name="connsiteX7" fmla="*/ 74937 w 99915"/>
                <a:gd name="connsiteY7" fmla="*/ 94920 h 999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9915" h="99915">
                  <a:moveTo>
                    <a:pt x="74937" y="94920"/>
                  </a:moveTo>
                  <a:lnTo>
                    <a:pt x="74937" y="74937"/>
                  </a:lnTo>
                  <a:lnTo>
                    <a:pt x="74937" y="84929"/>
                  </a:lnTo>
                  <a:lnTo>
                    <a:pt x="74937" y="84929"/>
                  </a:lnTo>
                  <a:lnTo>
                    <a:pt x="84928" y="74937"/>
                  </a:lnTo>
                  <a:lnTo>
                    <a:pt x="84928" y="74937"/>
                  </a:lnTo>
                  <a:lnTo>
                    <a:pt x="74937" y="94920"/>
                  </a:lnTo>
                  <a:lnTo>
                    <a:pt x="74937" y="94920"/>
                  </a:lnTo>
                  <a:close/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7" name="任意多边形: 形状 66">
              <a:extLst>
                <a:ext uri="{FF2B5EF4-FFF2-40B4-BE49-F238E27FC236}">
                  <a16:creationId xmlns:a16="http://schemas.microsoft.com/office/drawing/2014/main" id="{94F2EE59-B76C-49DC-9C8E-A9604DCE163A}"/>
                </a:ext>
              </a:extLst>
            </p:cNvPr>
            <p:cNvSpPr/>
            <p:nvPr userDrawn="1"/>
          </p:nvSpPr>
          <p:spPr>
            <a:xfrm>
              <a:off x="2869968" y="5041559"/>
              <a:ext cx="97335" cy="97335"/>
            </a:xfrm>
            <a:custGeom>
              <a:avLst/>
              <a:gdLst>
                <a:gd name="connsiteX0" fmla="*/ 74937 w 99915"/>
                <a:gd name="connsiteY0" fmla="*/ 84929 h 99915"/>
                <a:gd name="connsiteX1" fmla="*/ 84929 w 99915"/>
                <a:gd name="connsiteY1" fmla="*/ 74937 h 99915"/>
                <a:gd name="connsiteX2" fmla="*/ 94920 w 99915"/>
                <a:gd name="connsiteY2" fmla="*/ 94920 h 99915"/>
                <a:gd name="connsiteX3" fmla="*/ 84929 w 99915"/>
                <a:gd name="connsiteY3" fmla="*/ 104912 h 99915"/>
                <a:gd name="connsiteX4" fmla="*/ 104912 w 99915"/>
                <a:gd name="connsiteY4" fmla="*/ 104912 h 99915"/>
                <a:gd name="connsiteX5" fmla="*/ 104912 w 99915"/>
                <a:gd name="connsiteY5" fmla="*/ 104912 h 99915"/>
                <a:gd name="connsiteX6" fmla="*/ 84929 w 99915"/>
                <a:gd name="connsiteY6" fmla="*/ 104912 h 99915"/>
                <a:gd name="connsiteX7" fmla="*/ 84929 w 99915"/>
                <a:gd name="connsiteY7" fmla="*/ 104912 h 99915"/>
                <a:gd name="connsiteX8" fmla="*/ 104912 w 99915"/>
                <a:gd name="connsiteY8" fmla="*/ 94920 h 99915"/>
                <a:gd name="connsiteX9" fmla="*/ 104912 w 99915"/>
                <a:gd name="connsiteY9" fmla="*/ 94920 h 99915"/>
                <a:gd name="connsiteX10" fmla="*/ 104912 w 99915"/>
                <a:gd name="connsiteY10" fmla="*/ 84929 h 99915"/>
                <a:gd name="connsiteX11" fmla="*/ 74937 w 99915"/>
                <a:gd name="connsiteY11" fmla="*/ 84929 h 99915"/>
                <a:gd name="connsiteX12" fmla="*/ 74937 w 99915"/>
                <a:gd name="connsiteY12" fmla="*/ 84929 h 999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99915" h="99915">
                  <a:moveTo>
                    <a:pt x="74937" y="84929"/>
                  </a:moveTo>
                  <a:cubicBezTo>
                    <a:pt x="74937" y="74937"/>
                    <a:pt x="74937" y="74937"/>
                    <a:pt x="84929" y="74937"/>
                  </a:cubicBezTo>
                  <a:cubicBezTo>
                    <a:pt x="94920" y="74937"/>
                    <a:pt x="104912" y="84929"/>
                    <a:pt x="94920" y="94920"/>
                  </a:cubicBezTo>
                  <a:cubicBezTo>
                    <a:pt x="94920" y="94920"/>
                    <a:pt x="84929" y="94920"/>
                    <a:pt x="84929" y="104912"/>
                  </a:cubicBezTo>
                  <a:lnTo>
                    <a:pt x="104912" y="104912"/>
                  </a:lnTo>
                  <a:lnTo>
                    <a:pt x="104912" y="104912"/>
                  </a:lnTo>
                  <a:lnTo>
                    <a:pt x="84929" y="104912"/>
                  </a:lnTo>
                  <a:lnTo>
                    <a:pt x="84929" y="104912"/>
                  </a:lnTo>
                  <a:lnTo>
                    <a:pt x="104912" y="94920"/>
                  </a:lnTo>
                  <a:lnTo>
                    <a:pt x="104912" y="94920"/>
                  </a:lnTo>
                  <a:cubicBezTo>
                    <a:pt x="114903" y="94920"/>
                    <a:pt x="104912" y="84929"/>
                    <a:pt x="104912" y="84929"/>
                  </a:cubicBezTo>
                  <a:cubicBezTo>
                    <a:pt x="84929" y="74937"/>
                    <a:pt x="84929" y="84929"/>
                    <a:pt x="74937" y="84929"/>
                  </a:cubicBezTo>
                  <a:lnTo>
                    <a:pt x="74937" y="84929"/>
                  </a:lnTo>
                  <a:close/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8" name="任意多边形: 形状 67">
              <a:extLst>
                <a:ext uri="{FF2B5EF4-FFF2-40B4-BE49-F238E27FC236}">
                  <a16:creationId xmlns:a16="http://schemas.microsoft.com/office/drawing/2014/main" id="{F6F050CD-68E5-4FCA-AA9E-E69EC473065D}"/>
                </a:ext>
              </a:extLst>
            </p:cNvPr>
            <p:cNvSpPr/>
            <p:nvPr userDrawn="1"/>
          </p:nvSpPr>
          <p:spPr>
            <a:xfrm>
              <a:off x="2872402" y="5245962"/>
              <a:ext cx="97335" cy="97335"/>
            </a:xfrm>
            <a:custGeom>
              <a:avLst/>
              <a:gdLst>
                <a:gd name="connsiteX0" fmla="*/ 82431 w 99915"/>
                <a:gd name="connsiteY0" fmla="*/ 84929 h 99915"/>
                <a:gd name="connsiteX1" fmla="*/ 82431 w 99915"/>
                <a:gd name="connsiteY1" fmla="*/ 84929 h 99915"/>
                <a:gd name="connsiteX2" fmla="*/ 92422 w 99915"/>
                <a:gd name="connsiteY2" fmla="*/ 84929 h 99915"/>
                <a:gd name="connsiteX3" fmla="*/ 82431 w 99915"/>
                <a:gd name="connsiteY3" fmla="*/ 84929 h 99915"/>
                <a:gd name="connsiteX4" fmla="*/ 82431 w 99915"/>
                <a:gd name="connsiteY4" fmla="*/ 84929 h 99915"/>
                <a:gd name="connsiteX5" fmla="*/ 82431 w 99915"/>
                <a:gd name="connsiteY5" fmla="*/ 84929 h 99915"/>
                <a:gd name="connsiteX6" fmla="*/ 82431 w 99915"/>
                <a:gd name="connsiteY6" fmla="*/ 74937 h 99915"/>
                <a:gd name="connsiteX7" fmla="*/ 92422 w 99915"/>
                <a:gd name="connsiteY7" fmla="*/ 84929 h 99915"/>
                <a:gd name="connsiteX8" fmla="*/ 92422 w 99915"/>
                <a:gd name="connsiteY8" fmla="*/ 94920 h 99915"/>
                <a:gd name="connsiteX9" fmla="*/ 92422 w 99915"/>
                <a:gd name="connsiteY9" fmla="*/ 104912 h 99915"/>
                <a:gd name="connsiteX10" fmla="*/ 82431 w 99915"/>
                <a:gd name="connsiteY10" fmla="*/ 114903 h 99915"/>
                <a:gd name="connsiteX11" fmla="*/ 82431 w 99915"/>
                <a:gd name="connsiteY11" fmla="*/ 84929 h 99915"/>
                <a:gd name="connsiteX12" fmla="*/ 82431 w 99915"/>
                <a:gd name="connsiteY12" fmla="*/ 84929 h 99915"/>
                <a:gd name="connsiteX13" fmla="*/ 82431 w 99915"/>
                <a:gd name="connsiteY13" fmla="*/ 94920 h 99915"/>
                <a:gd name="connsiteX14" fmla="*/ 92422 w 99915"/>
                <a:gd name="connsiteY14" fmla="*/ 94920 h 99915"/>
                <a:gd name="connsiteX15" fmla="*/ 82431 w 99915"/>
                <a:gd name="connsiteY15" fmla="*/ 84929 h 99915"/>
                <a:gd name="connsiteX16" fmla="*/ 82431 w 99915"/>
                <a:gd name="connsiteY16" fmla="*/ 84929 h 99915"/>
                <a:gd name="connsiteX17" fmla="*/ 82431 w 99915"/>
                <a:gd name="connsiteY17" fmla="*/ 84929 h 999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99915" h="99915">
                  <a:moveTo>
                    <a:pt x="82431" y="84929"/>
                  </a:moveTo>
                  <a:lnTo>
                    <a:pt x="82431" y="84929"/>
                  </a:lnTo>
                  <a:cubicBezTo>
                    <a:pt x="92422" y="84929"/>
                    <a:pt x="92422" y="84929"/>
                    <a:pt x="92422" y="84929"/>
                  </a:cubicBezTo>
                  <a:cubicBezTo>
                    <a:pt x="92422" y="74937"/>
                    <a:pt x="92422" y="74937"/>
                    <a:pt x="82431" y="84929"/>
                  </a:cubicBezTo>
                  <a:cubicBezTo>
                    <a:pt x="82431" y="74937"/>
                    <a:pt x="82431" y="74937"/>
                    <a:pt x="82431" y="84929"/>
                  </a:cubicBezTo>
                  <a:lnTo>
                    <a:pt x="82431" y="84929"/>
                  </a:lnTo>
                  <a:cubicBezTo>
                    <a:pt x="72439" y="74937"/>
                    <a:pt x="82431" y="74937"/>
                    <a:pt x="82431" y="74937"/>
                  </a:cubicBezTo>
                  <a:cubicBezTo>
                    <a:pt x="92422" y="74937"/>
                    <a:pt x="92422" y="74937"/>
                    <a:pt x="92422" y="84929"/>
                  </a:cubicBezTo>
                  <a:cubicBezTo>
                    <a:pt x="92422" y="84929"/>
                    <a:pt x="92422" y="84929"/>
                    <a:pt x="92422" y="94920"/>
                  </a:cubicBezTo>
                  <a:cubicBezTo>
                    <a:pt x="92422" y="94920"/>
                    <a:pt x="92422" y="94920"/>
                    <a:pt x="92422" y="104912"/>
                  </a:cubicBezTo>
                  <a:cubicBezTo>
                    <a:pt x="92422" y="104912"/>
                    <a:pt x="92422" y="114903"/>
                    <a:pt x="82431" y="114903"/>
                  </a:cubicBezTo>
                  <a:cubicBezTo>
                    <a:pt x="72439" y="104912"/>
                    <a:pt x="72439" y="94920"/>
                    <a:pt x="82431" y="84929"/>
                  </a:cubicBezTo>
                  <a:lnTo>
                    <a:pt x="82431" y="84929"/>
                  </a:lnTo>
                  <a:cubicBezTo>
                    <a:pt x="82431" y="94920"/>
                    <a:pt x="82431" y="94920"/>
                    <a:pt x="82431" y="94920"/>
                  </a:cubicBezTo>
                  <a:cubicBezTo>
                    <a:pt x="92422" y="94920"/>
                    <a:pt x="92422" y="94920"/>
                    <a:pt x="92422" y="94920"/>
                  </a:cubicBezTo>
                  <a:cubicBezTo>
                    <a:pt x="92422" y="94920"/>
                    <a:pt x="92422" y="84929"/>
                    <a:pt x="82431" y="84929"/>
                  </a:cubicBezTo>
                  <a:lnTo>
                    <a:pt x="82431" y="84929"/>
                  </a:lnTo>
                  <a:lnTo>
                    <a:pt x="82431" y="84929"/>
                  </a:lnTo>
                  <a:close/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9" name="任意多边形: 形状 68">
              <a:extLst>
                <a:ext uri="{FF2B5EF4-FFF2-40B4-BE49-F238E27FC236}">
                  <a16:creationId xmlns:a16="http://schemas.microsoft.com/office/drawing/2014/main" id="{8A3313E0-7BDA-4DD9-9B88-A2D9E5A2B9BF}"/>
                </a:ext>
              </a:extLst>
            </p:cNvPr>
            <p:cNvSpPr/>
            <p:nvPr userDrawn="1"/>
          </p:nvSpPr>
          <p:spPr>
            <a:xfrm>
              <a:off x="2548762" y="5946776"/>
              <a:ext cx="584011" cy="194670"/>
            </a:xfrm>
            <a:custGeom>
              <a:avLst/>
              <a:gdLst>
                <a:gd name="connsiteX0" fmla="*/ 74937 w 599495"/>
                <a:gd name="connsiteY0" fmla="*/ 104912 h 199831"/>
                <a:gd name="connsiteX1" fmla="*/ 324727 w 599495"/>
                <a:gd name="connsiteY1" fmla="*/ 134886 h 199831"/>
                <a:gd name="connsiteX2" fmla="*/ 574516 w 599495"/>
                <a:gd name="connsiteY2" fmla="*/ 104912 h 199831"/>
                <a:gd name="connsiteX3" fmla="*/ 324727 w 599495"/>
                <a:gd name="connsiteY3" fmla="*/ 74937 h 199831"/>
                <a:gd name="connsiteX4" fmla="*/ 74937 w 599495"/>
                <a:gd name="connsiteY4" fmla="*/ 104912 h 199831"/>
                <a:gd name="connsiteX5" fmla="*/ 194836 w 599495"/>
                <a:gd name="connsiteY5" fmla="*/ 94920 h 199831"/>
                <a:gd name="connsiteX6" fmla="*/ 324727 w 599495"/>
                <a:gd name="connsiteY6" fmla="*/ 84928 h 199831"/>
                <a:gd name="connsiteX7" fmla="*/ 454617 w 599495"/>
                <a:gd name="connsiteY7" fmla="*/ 94920 h 199831"/>
                <a:gd name="connsiteX8" fmla="*/ 324727 w 599495"/>
                <a:gd name="connsiteY8" fmla="*/ 104912 h 199831"/>
                <a:gd name="connsiteX9" fmla="*/ 194836 w 599495"/>
                <a:gd name="connsiteY9" fmla="*/ 94920 h 199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99495" h="199831">
                  <a:moveTo>
                    <a:pt x="74937" y="104912"/>
                  </a:moveTo>
                  <a:cubicBezTo>
                    <a:pt x="74937" y="114903"/>
                    <a:pt x="184844" y="134886"/>
                    <a:pt x="324727" y="134886"/>
                  </a:cubicBezTo>
                  <a:cubicBezTo>
                    <a:pt x="464609" y="134886"/>
                    <a:pt x="574516" y="124895"/>
                    <a:pt x="574516" y="104912"/>
                  </a:cubicBezTo>
                  <a:cubicBezTo>
                    <a:pt x="574516" y="84928"/>
                    <a:pt x="464609" y="74937"/>
                    <a:pt x="324727" y="74937"/>
                  </a:cubicBezTo>
                  <a:cubicBezTo>
                    <a:pt x="184844" y="74937"/>
                    <a:pt x="74937" y="84928"/>
                    <a:pt x="74937" y="104912"/>
                  </a:cubicBezTo>
                  <a:close/>
                  <a:moveTo>
                    <a:pt x="194836" y="94920"/>
                  </a:moveTo>
                  <a:cubicBezTo>
                    <a:pt x="194836" y="84928"/>
                    <a:pt x="254785" y="84928"/>
                    <a:pt x="324727" y="84928"/>
                  </a:cubicBezTo>
                  <a:cubicBezTo>
                    <a:pt x="394668" y="84928"/>
                    <a:pt x="454617" y="84928"/>
                    <a:pt x="454617" y="94920"/>
                  </a:cubicBezTo>
                  <a:cubicBezTo>
                    <a:pt x="454617" y="104912"/>
                    <a:pt x="394668" y="104912"/>
                    <a:pt x="324727" y="104912"/>
                  </a:cubicBezTo>
                  <a:cubicBezTo>
                    <a:pt x="254785" y="114903"/>
                    <a:pt x="194836" y="104912"/>
                    <a:pt x="194836" y="94920"/>
                  </a:cubicBezTo>
                  <a:close/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0" name="任意多边形: 形状 69">
              <a:extLst>
                <a:ext uri="{FF2B5EF4-FFF2-40B4-BE49-F238E27FC236}">
                  <a16:creationId xmlns:a16="http://schemas.microsoft.com/office/drawing/2014/main" id="{27DAE1E1-F6F8-4FDD-AAED-807E06030E4A}"/>
                </a:ext>
              </a:extLst>
            </p:cNvPr>
            <p:cNvSpPr/>
            <p:nvPr userDrawn="1"/>
          </p:nvSpPr>
          <p:spPr>
            <a:xfrm>
              <a:off x="2548762" y="5966242"/>
              <a:ext cx="584011" cy="194670"/>
            </a:xfrm>
            <a:custGeom>
              <a:avLst/>
              <a:gdLst>
                <a:gd name="connsiteX0" fmla="*/ 324727 w 599495"/>
                <a:gd name="connsiteY0" fmla="*/ 104912 h 199831"/>
                <a:gd name="connsiteX1" fmla="*/ 74937 w 599495"/>
                <a:gd name="connsiteY1" fmla="*/ 74937 h 199831"/>
                <a:gd name="connsiteX2" fmla="*/ 74937 w 599495"/>
                <a:gd name="connsiteY2" fmla="*/ 104912 h 199831"/>
                <a:gd name="connsiteX3" fmla="*/ 74937 w 599495"/>
                <a:gd name="connsiteY3" fmla="*/ 104912 h 199831"/>
                <a:gd name="connsiteX4" fmla="*/ 74937 w 599495"/>
                <a:gd name="connsiteY4" fmla="*/ 104912 h 199831"/>
                <a:gd name="connsiteX5" fmla="*/ 74937 w 599495"/>
                <a:gd name="connsiteY5" fmla="*/ 104912 h 199831"/>
                <a:gd name="connsiteX6" fmla="*/ 74937 w 599495"/>
                <a:gd name="connsiteY6" fmla="*/ 104912 h 199831"/>
                <a:gd name="connsiteX7" fmla="*/ 324727 w 599495"/>
                <a:gd name="connsiteY7" fmla="*/ 134886 h 199831"/>
                <a:gd name="connsiteX8" fmla="*/ 574516 w 599495"/>
                <a:gd name="connsiteY8" fmla="*/ 104912 h 199831"/>
                <a:gd name="connsiteX9" fmla="*/ 574516 w 599495"/>
                <a:gd name="connsiteY9" fmla="*/ 104912 h 199831"/>
                <a:gd name="connsiteX10" fmla="*/ 574516 w 599495"/>
                <a:gd name="connsiteY10" fmla="*/ 84929 h 199831"/>
                <a:gd name="connsiteX11" fmla="*/ 324727 w 599495"/>
                <a:gd name="connsiteY11" fmla="*/ 104912 h 199831"/>
                <a:gd name="connsiteX12" fmla="*/ 74937 w 599495"/>
                <a:gd name="connsiteY12" fmla="*/ 84929 h 199831"/>
                <a:gd name="connsiteX13" fmla="*/ 74937 w 599495"/>
                <a:gd name="connsiteY13" fmla="*/ 84929 h 199831"/>
                <a:gd name="connsiteX14" fmla="*/ 74937 w 599495"/>
                <a:gd name="connsiteY14" fmla="*/ 84929 h 199831"/>
                <a:gd name="connsiteX15" fmla="*/ 74937 w 599495"/>
                <a:gd name="connsiteY15" fmla="*/ 84929 h 199831"/>
                <a:gd name="connsiteX16" fmla="*/ 74937 w 599495"/>
                <a:gd name="connsiteY16" fmla="*/ 84929 h 199831"/>
                <a:gd name="connsiteX17" fmla="*/ 74937 w 599495"/>
                <a:gd name="connsiteY17" fmla="*/ 84929 h 199831"/>
                <a:gd name="connsiteX18" fmla="*/ 74937 w 599495"/>
                <a:gd name="connsiteY18" fmla="*/ 84929 h 199831"/>
                <a:gd name="connsiteX19" fmla="*/ 74937 w 599495"/>
                <a:gd name="connsiteY19" fmla="*/ 84929 h 199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599495" h="199831">
                  <a:moveTo>
                    <a:pt x="324727" y="104912"/>
                  </a:moveTo>
                  <a:cubicBezTo>
                    <a:pt x="184844" y="104912"/>
                    <a:pt x="74937" y="94920"/>
                    <a:pt x="74937" y="74937"/>
                  </a:cubicBezTo>
                  <a:lnTo>
                    <a:pt x="74937" y="104912"/>
                  </a:lnTo>
                  <a:lnTo>
                    <a:pt x="74937" y="104912"/>
                  </a:lnTo>
                  <a:cubicBezTo>
                    <a:pt x="74937" y="104912"/>
                    <a:pt x="74937" y="104912"/>
                    <a:pt x="74937" y="104912"/>
                  </a:cubicBezTo>
                  <a:lnTo>
                    <a:pt x="74937" y="104912"/>
                  </a:lnTo>
                  <a:lnTo>
                    <a:pt x="74937" y="104912"/>
                  </a:lnTo>
                  <a:cubicBezTo>
                    <a:pt x="74937" y="124895"/>
                    <a:pt x="184844" y="134886"/>
                    <a:pt x="324727" y="134886"/>
                  </a:cubicBezTo>
                  <a:cubicBezTo>
                    <a:pt x="464609" y="134886"/>
                    <a:pt x="564525" y="124895"/>
                    <a:pt x="574516" y="104912"/>
                  </a:cubicBezTo>
                  <a:lnTo>
                    <a:pt x="574516" y="104912"/>
                  </a:lnTo>
                  <a:lnTo>
                    <a:pt x="574516" y="84929"/>
                  </a:lnTo>
                  <a:cubicBezTo>
                    <a:pt x="564525" y="94920"/>
                    <a:pt x="454617" y="104912"/>
                    <a:pt x="324727" y="104912"/>
                  </a:cubicBezTo>
                  <a:close/>
                  <a:moveTo>
                    <a:pt x="74937" y="84929"/>
                  </a:moveTo>
                  <a:lnTo>
                    <a:pt x="74937" y="84929"/>
                  </a:lnTo>
                  <a:cubicBezTo>
                    <a:pt x="74937" y="84929"/>
                    <a:pt x="74937" y="84929"/>
                    <a:pt x="74937" y="84929"/>
                  </a:cubicBezTo>
                  <a:lnTo>
                    <a:pt x="74937" y="84929"/>
                  </a:lnTo>
                  <a:close/>
                  <a:moveTo>
                    <a:pt x="74937" y="84929"/>
                  </a:moveTo>
                  <a:lnTo>
                    <a:pt x="74937" y="84929"/>
                  </a:lnTo>
                  <a:lnTo>
                    <a:pt x="74937" y="84929"/>
                  </a:lnTo>
                  <a:lnTo>
                    <a:pt x="74937" y="84929"/>
                  </a:lnTo>
                  <a:close/>
                </a:path>
              </a:pathLst>
            </a:custGeom>
            <a:solidFill>
              <a:schemeClr val="tx2">
                <a:lumMod val="20000"/>
                <a:lumOff val="8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1" name="任意多边形: 形状 70">
              <a:extLst>
                <a:ext uri="{FF2B5EF4-FFF2-40B4-BE49-F238E27FC236}">
                  <a16:creationId xmlns:a16="http://schemas.microsoft.com/office/drawing/2014/main" id="{5627FF70-F41B-498F-AE01-9EE019A9A54B}"/>
                </a:ext>
              </a:extLst>
            </p:cNvPr>
            <p:cNvSpPr/>
            <p:nvPr userDrawn="1"/>
          </p:nvSpPr>
          <p:spPr>
            <a:xfrm>
              <a:off x="2694764" y="5907842"/>
              <a:ext cx="194670" cy="194670"/>
            </a:xfrm>
            <a:custGeom>
              <a:avLst/>
              <a:gdLst>
                <a:gd name="connsiteX0" fmla="*/ 74937 w 199831"/>
                <a:gd name="connsiteY0" fmla="*/ 74937 h 199831"/>
                <a:gd name="connsiteX1" fmla="*/ 174853 w 199831"/>
                <a:gd name="connsiteY1" fmla="*/ 74937 h 199831"/>
                <a:gd name="connsiteX2" fmla="*/ 174853 w 199831"/>
                <a:gd name="connsiteY2" fmla="*/ 144878 h 199831"/>
                <a:gd name="connsiteX3" fmla="*/ 74937 w 199831"/>
                <a:gd name="connsiteY3" fmla="*/ 144878 h 199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9831" h="199831">
                  <a:moveTo>
                    <a:pt x="74937" y="74937"/>
                  </a:moveTo>
                  <a:lnTo>
                    <a:pt x="174853" y="74937"/>
                  </a:lnTo>
                  <a:lnTo>
                    <a:pt x="174853" y="144878"/>
                  </a:lnTo>
                  <a:lnTo>
                    <a:pt x="74937" y="144878"/>
                  </a:lnTo>
                  <a:close/>
                </a:path>
              </a:pathLst>
            </a:custGeom>
            <a:solidFill>
              <a:schemeClr val="tx2">
                <a:lumMod val="20000"/>
                <a:lumOff val="8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  <p:grpSp>
        <p:nvGrpSpPr>
          <p:cNvPr id="75" name="c2f6dca7-3c34-4945-95fd-243e31929c3d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C5B44785-348C-462A-AF5D-E3E0068DB1D4}"/>
              </a:ext>
            </a:extLst>
          </p:cNvPr>
          <p:cNvGrpSpPr>
            <a:grpSpLocks noChangeAspect="1"/>
          </p:cNvGrpSpPr>
          <p:nvPr userDrawn="1">
            <p:custDataLst>
              <p:tags r:id="rId1"/>
            </p:custDataLst>
          </p:nvPr>
        </p:nvGrpSpPr>
        <p:grpSpPr>
          <a:xfrm rot="19199073">
            <a:off x="10366776" y="219468"/>
            <a:ext cx="1518711" cy="1536906"/>
            <a:chOff x="3949700" y="1279525"/>
            <a:chExt cx="4240213" cy="4291013"/>
          </a:xfrm>
        </p:grpSpPr>
        <p:sp>
          <p:nvSpPr>
            <p:cNvPr id="76" name="iş1ïḑè">
              <a:extLst>
                <a:ext uri="{FF2B5EF4-FFF2-40B4-BE49-F238E27FC236}">
                  <a16:creationId xmlns:a16="http://schemas.microsoft.com/office/drawing/2014/main" id="{DC66444D-6D49-4D18-AF3E-A9C75177BDF2}"/>
                </a:ext>
              </a:extLst>
            </p:cNvPr>
            <p:cNvSpPr/>
            <p:nvPr userDrawn="1"/>
          </p:nvSpPr>
          <p:spPr bwMode="auto">
            <a:xfrm>
              <a:off x="5375275" y="1314450"/>
              <a:ext cx="925513" cy="654050"/>
            </a:xfrm>
            <a:custGeom>
              <a:avLst/>
              <a:gdLst>
                <a:gd name="T0" fmla="*/ 518 w 547"/>
                <a:gd name="T1" fmla="*/ 176 h 387"/>
                <a:gd name="T2" fmla="*/ 112 w 547"/>
                <a:gd name="T3" fmla="*/ 8 h 387"/>
                <a:gd name="T4" fmla="*/ 63 w 547"/>
                <a:gd name="T5" fmla="*/ 28 h 387"/>
                <a:gd name="T6" fmla="*/ 7 w 547"/>
                <a:gd name="T7" fmla="*/ 162 h 387"/>
                <a:gd name="T8" fmla="*/ 28 w 547"/>
                <a:gd name="T9" fmla="*/ 211 h 387"/>
                <a:gd name="T10" fmla="*/ 434 w 547"/>
                <a:gd name="T11" fmla="*/ 379 h 387"/>
                <a:gd name="T12" fmla="*/ 483 w 547"/>
                <a:gd name="T13" fmla="*/ 359 h 387"/>
                <a:gd name="T14" fmla="*/ 539 w 547"/>
                <a:gd name="T15" fmla="*/ 225 h 387"/>
                <a:gd name="T16" fmla="*/ 518 w 547"/>
                <a:gd name="T17" fmla="*/ 176 h 3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7" h="387">
                  <a:moveTo>
                    <a:pt x="518" y="176"/>
                  </a:moveTo>
                  <a:cubicBezTo>
                    <a:pt x="112" y="8"/>
                    <a:pt x="112" y="8"/>
                    <a:pt x="112" y="8"/>
                  </a:cubicBezTo>
                  <a:cubicBezTo>
                    <a:pt x="93" y="0"/>
                    <a:pt x="71" y="9"/>
                    <a:pt x="63" y="28"/>
                  </a:cubicBezTo>
                  <a:cubicBezTo>
                    <a:pt x="7" y="162"/>
                    <a:pt x="7" y="162"/>
                    <a:pt x="7" y="162"/>
                  </a:cubicBezTo>
                  <a:cubicBezTo>
                    <a:pt x="0" y="181"/>
                    <a:pt x="9" y="203"/>
                    <a:pt x="28" y="211"/>
                  </a:cubicBezTo>
                  <a:cubicBezTo>
                    <a:pt x="434" y="379"/>
                    <a:pt x="434" y="379"/>
                    <a:pt x="434" y="379"/>
                  </a:cubicBezTo>
                  <a:cubicBezTo>
                    <a:pt x="454" y="387"/>
                    <a:pt x="475" y="378"/>
                    <a:pt x="483" y="359"/>
                  </a:cubicBezTo>
                  <a:cubicBezTo>
                    <a:pt x="539" y="225"/>
                    <a:pt x="539" y="225"/>
                    <a:pt x="539" y="225"/>
                  </a:cubicBezTo>
                  <a:cubicBezTo>
                    <a:pt x="547" y="206"/>
                    <a:pt x="537" y="184"/>
                    <a:pt x="518" y="176"/>
                  </a:cubicBezTo>
                  <a:close/>
                </a:path>
              </a:pathLst>
            </a:custGeom>
            <a:solidFill>
              <a:srgbClr val="E8E8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7" name="ïś1íḑè">
              <a:extLst>
                <a:ext uri="{FF2B5EF4-FFF2-40B4-BE49-F238E27FC236}">
                  <a16:creationId xmlns:a16="http://schemas.microsoft.com/office/drawing/2014/main" id="{23508386-CB4B-409C-8332-DF47451805A2}"/>
                </a:ext>
              </a:extLst>
            </p:cNvPr>
            <p:cNvSpPr/>
            <p:nvPr userDrawn="1"/>
          </p:nvSpPr>
          <p:spPr bwMode="auto">
            <a:xfrm>
              <a:off x="6973888" y="1358900"/>
              <a:ext cx="917575" cy="706438"/>
            </a:xfrm>
            <a:custGeom>
              <a:avLst/>
              <a:gdLst>
                <a:gd name="T0" fmla="*/ 533 w 543"/>
                <a:gd name="T1" fmla="*/ 154 h 419"/>
                <a:gd name="T2" fmla="*/ 465 w 543"/>
                <a:gd name="T3" fmla="*/ 26 h 419"/>
                <a:gd name="T4" fmla="*/ 415 w 543"/>
                <a:gd name="T5" fmla="*/ 10 h 419"/>
                <a:gd name="T6" fmla="*/ 26 w 543"/>
                <a:gd name="T7" fmla="*/ 216 h 419"/>
                <a:gd name="T8" fmla="*/ 10 w 543"/>
                <a:gd name="T9" fmla="*/ 266 h 419"/>
                <a:gd name="T10" fmla="*/ 78 w 543"/>
                <a:gd name="T11" fmla="*/ 394 h 419"/>
                <a:gd name="T12" fmla="*/ 128 w 543"/>
                <a:gd name="T13" fmla="*/ 410 h 419"/>
                <a:gd name="T14" fmla="*/ 518 w 543"/>
                <a:gd name="T15" fmla="*/ 204 h 419"/>
                <a:gd name="T16" fmla="*/ 533 w 543"/>
                <a:gd name="T17" fmla="*/ 154 h 4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3" h="419">
                  <a:moveTo>
                    <a:pt x="533" y="154"/>
                  </a:moveTo>
                  <a:cubicBezTo>
                    <a:pt x="465" y="26"/>
                    <a:pt x="465" y="26"/>
                    <a:pt x="465" y="26"/>
                  </a:cubicBezTo>
                  <a:cubicBezTo>
                    <a:pt x="456" y="7"/>
                    <a:pt x="433" y="0"/>
                    <a:pt x="415" y="10"/>
                  </a:cubicBezTo>
                  <a:cubicBezTo>
                    <a:pt x="26" y="216"/>
                    <a:pt x="26" y="216"/>
                    <a:pt x="26" y="216"/>
                  </a:cubicBezTo>
                  <a:cubicBezTo>
                    <a:pt x="7" y="225"/>
                    <a:pt x="0" y="248"/>
                    <a:pt x="10" y="266"/>
                  </a:cubicBezTo>
                  <a:cubicBezTo>
                    <a:pt x="78" y="394"/>
                    <a:pt x="78" y="394"/>
                    <a:pt x="78" y="394"/>
                  </a:cubicBezTo>
                  <a:cubicBezTo>
                    <a:pt x="87" y="412"/>
                    <a:pt x="110" y="419"/>
                    <a:pt x="128" y="410"/>
                  </a:cubicBezTo>
                  <a:cubicBezTo>
                    <a:pt x="518" y="204"/>
                    <a:pt x="518" y="204"/>
                    <a:pt x="518" y="204"/>
                  </a:cubicBezTo>
                  <a:cubicBezTo>
                    <a:pt x="536" y="195"/>
                    <a:pt x="543" y="172"/>
                    <a:pt x="533" y="154"/>
                  </a:cubicBezTo>
                  <a:close/>
                </a:path>
              </a:pathLst>
            </a:custGeom>
            <a:solidFill>
              <a:srgbClr val="E8E8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8" name="išliḋê">
              <a:extLst>
                <a:ext uri="{FF2B5EF4-FFF2-40B4-BE49-F238E27FC236}">
                  <a16:creationId xmlns:a16="http://schemas.microsoft.com/office/drawing/2014/main" id="{7991B141-B5D2-465E-913E-D86003215452}"/>
                </a:ext>
              </a:extLst>
            </p:cNvPr>
            <p:cNvSpPr/>
            <p:nvPr userDrawn="1"/>
          </p:nvSpPr>
          <p:spPr bwMode="auto">
            <a:xfrm>
              <a:off x="6637338" y="2089150"/>
              <a:ext cx="153988" cy="222250"/>
            </a:xfrm>
            <a:custGeom>
              <a:avLst/>
              <a:gdLst>
                <a:gd name="T0" fmla="*/ 86 w 91"/>
                <a:gd name="T1" fmla="*/ 95 h 131"/>
                <a:gd name="T2" fmla="*/ 70 w 91"/>
                <a:gd name="T3" fmla="*/ 57 h 131"/>
                <a:gd name="T4" fmla="*/ 54 w 91"/>
                <a:gd name="T5" fmla="*/ 17 h 131"/>
                <a:gd name="T6" fmla="*/ 38 w 91"/>
                <a:gd name="T7" fmla="*/ 2 h 131"/>
                <a:gd name="T8" fmla="*/ 38 w 91"/>
                <a:gd name="T9" fmla="*/ 2 h 131"/>
                <a:gd name="T10" fmla="*/ 36 w 91"/>
                <a:gd name="T11" fmla="*/ 1 h 131"/>
                <a:gd name="T12" fmla="*/ 36 w 91"/>
                <a:gd name="T13" fmla="*/ 1 h 131"/>
                <a:gd name="T14" fmla="*/ 33 w 91"/>
                <a:gd name="T15" fmla="*/ 1 h 131"/>
                <a:gd name="T16" fmla="*/ 33 w 91"/>
                <a:gd name="T17" fmla="*/ 1 h 131"/>
                <a:gd name="T18" fmla="*/ 31 w 91"/>
                <a:gd name="T19" fmla="*/ 0 h 131"/>
                <a:gd name="T20" fmla="*/ 30 w 91"/>
                <a:gd name="T21" fmla="*/ 0 h 131"/>
                <a:gd name="T22" fmla="*/ 28 w 91"/>
                <a:gd name="T23" fmla="*/ 0 h 131"/>
                <a:gd name="T24" fmla="*/ 28 w 91"/>
                <a:gd name="T25" fmla="*/ 0 h 131"/>
                <a:gd name="T26" fmla="*/ 26 w 91"/>
                <a:gd name="T27" fmla="*/ 1 h 131"/>
                <a:gd name="T28" fmla="*/ 25 w 91"/>
                <a:gd name="T29" fmla="*/ 1 h 131"/>
                <a:gd name="T30" fmla="*/ 23 w 91"/>
                <a:gd name="T31" fmla="*/ 1 h 131"/>
                <a:gd name="T32" fmla="*/ 22 w 91"/>
                <a:gd name="T33" fmla="*/ 1 h 131"/>
                <a:gd name="T34" fmla="*/ 20 w 91"/>
                <a:gd name="T35" fmla="*/ 2 h 131"/>
                <a:gd name="T36" fmla="*/ 5 w 91"/>
                <a:gd name="T37" fmla="*/ 36 h 131"/>
                <a:gd name="T38" fmla="*/ 21 w 91"/>
                <a:gd name="T39" fmla="*/ 76 h 131"/>
                <a:gd name="T40" fmla="*/ 37 w 91"/>
                <a:gd name="T41" fmla="*/ 115 h 131"/>
                <a:gd name="T42" fmla="*/ 39 w 91"/>
                <a:gd name="T43" fmla="*/ 118 h 131"/>
                <a:gd name="T44" fmla="*/ 39 w 91"/>
                <a:gd name="T45" fmla="*/ 119 h 131"/>
                <a:gd name="T46" fmla="*/ 41 w 91"/>
                <a:gd name="T47" fmla="*/ 122 h 131"/>
                <a:gd name="T48" fmla="*/ 41 w 91"/>
                <a:gd name="T49" fmla="*/ 122 h 131"/>
                <a:gd name="T50" fmla="*/ 43 w 91"/>
                <a:gd name="T51" fmla="*/ 124 h 131"/>
                <a:gd name="T52" fmla="*/ 44 w 91"/>
                <a:gd name="T53" fmla="*/ 125 h 131"/>
                <a:gd name="T54" fmla="*/ 46 w 91"/>
                <a:gd name="T55" fmla="*/ 127 h 131"/>
                <a:gd name="T56" fmla="*/ 47 w 91"/>
                <a:gd name="T57" fmla="*/ 127 h 131"/>
                <a:gd name="T58" fmla="*/ 50 w 91"/>
                <a:gd name="T59" fmla="*/ 129 h 131"/>
                <a:gd name="T60" fmla="*/ 50 w 91"/>
                <a:gd name="T61" fmla="*/ 129 h 131"/>
                <a:gd name="T62" fmla="*/ 57 w 91"/>
                <a:gd name="T63" fmla="*/ 131 h 131"/>
                <a:gd name="T64" fmla="*/ 57 w 91"/>
                <a:gd name="T65" fmla="*/ 131 h 131"/>
                <a:gd name="T66" fmla="*/ 60 w 91"/>
                <a:gd name="T67" fmla="*/ 131 h 131"/>
                <a:gd name="T68" fmla="*/ 60 w 91"/>
                <a:gd name="T69" fmla="*/ 131 h 131"/>
                <a:gd name="T70" fmla="*/ 71 w 91"/>
                <a:gd name="T71" fmla="*/ 129 h 131"/>
                <a:gd name="T72" fmla="*/ 86 w 91"/>
                <a:gd name="T73" fmla="*/ 95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91" h="131">
                  <a:moveTo>
                    <a:pt x="86" y="95"/>
                  </a:moveTo>
                  <a:cubicBezTo>
                    <a:pt x="70" y="57"/>
                    <a:pt x="70" y="57"/>
                    <a:pt x="70" y="57"/>
                  </a:cubicBezTo>
                  <a:cubicBezTo>
                    <a:pt x="54" y="17"/>
                    <a:pt x="54" y="17"/>
                    <a:pt x="54" y="17"/>
                  </a:cubicBezTo>
                  <a:cubicBezTo>
                    <a:pt x="51" y="9"/>
                    <a:pt x="45" y="4"/>
                    <a:pt x="38" y="2"/>
                  </a:cubicBezTo>
                  <a:cubicBezTo>
                    <a:pt x="38" y="2"/>
                    <a:pt x="38" y="2"/>
                    <a:pt x="38" y="2"/>
                  </a:cubicBezTo>
                  <a:cubicBezTo>
                    <a:pt x="37" y="2"/>
                    <a:pt x="37" y="1"/>
                    <a:pt x="36" y="1"/>
                  </a:cubicBezTo>
                  <a:cubicBezTo>
                    <a:pt x="36" y="1"/>
                    <a:pt x="36" y="1"/>
                    <a:pt x="36" y="1"/>
                  </a:cubicBezTo>
                  <a:cubicBezTo>
                    <a:pt x="35" y="1"/>
                    <a:pt x="34" y="1"/>
                    <a:pt x="33" y="1"/>
                  </a:cubicBezTo>
                  <a:cubicBezTo>
                    <a:pt x="33" y="1"/>
                    <a:pt x="33" y="1"/>
                    <a:pt x="33" y="1"/>
                  </a:cubicBezTo>
                  <a:cubicBezTo>
                    <a:pt x="32" y="0"/>
                    <a:pt x="31" y="0"/>
                    <a:pt x="31" y="0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30" y="0"/>
                    <a:pt x="29" y="0"/>
                    <a:pt x="28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27" y="0"/>
                    <a:pt x="26" y="1"/>
                    <a:pt x="26" y="1"/>
                  </a:cubicBezTo>
                  <a:cubicBezTo>
                    <a:pt x="25" y="1"/>
                    <a:pt x="25" y="1"/>
                    <a:pt x="25" y="1"/>
                  </a:cubicBezTo>
                  <a:cubicBezTo>
                    <a:pt x="24" y="1"/>
                    <a:pt x="24" y="1"/>
                    <a:pt x="23" y="1"/>
                  </a:cubicBezTo>
                  <a:cubicBezTo>
                    <a:pt x="22" y="1"/>
                    <a:pt x="22" y="1"/>
                    <a:pt x="22" y="1"/>
                  </a:cubicBezTo>
                  <a:cubicBezTo>
                    <a:pt x="21" y="2"/>
                    <a:pt x="20" y="2"/>
                    <a:pt x="20" y="2"/>
                  </a:cubicBezTo>
                  <a:cubicBezTo>
                    <a:pt x="6" y="8"/>
                    <a:pt x="0" y="23"/>
                    <a:pt x="5" y="36"/>
                  </a:cubicBezTo>
                  <a:cubicBezTo>
                    <a:pt x="21" y="76"/>
                    <a:pt x="21" y="76"/>
                    <a:pt x="21" y="76"/>
                  </a:cubicBezTo>
                  <a:cubicBezTo>
                    <a:pt x="37" y="115"/>
                    <a:pt x="37" y="115"/>
                    <a:pt x="37" y="115"/>
                  </a:cubicBezTo>
                  <a:cubicBezTo>
                    <a:pt x="38" y="116"/>
                    <a:pt x="38" y="117"/>
                    <a:pt x="39" y="118"/>
                  </a:cubicBezTo>
                  <a:cubicBezTo>
                    <a:pt x="39" y="119"/>
                    <a:pt x="39" y="119"/>
                    <a:pt x="39" y="119"/>
                  </a:cubicBezTo>
                  <a:cubicBezTo>
                    <a:pt x="40" y="120"/>
                    <a:pt x="40" y="121"/>
                    <a:pt x="41" y="122"/>
                  </a:cubicBezTo>
                  <a:cubicBezTo>
                    <a:pt x="41" y="122"/>
                    <a:pt x="41" y="122"/>
                    <a:pt x="41" y="122"/>
                  </a:cubicBezTo>
                  <a:cubicBezTo>
                    <a:pt x="42" y="123"/>
                    <a:pt x="43" y="123"/>
                    <a:pt x="43" y="124"/>
                  </a:cubicBezTo>
                  <a:cubicBezTo>
                    <a:pt x="44" y="125"/>
                    <a:pt x="44" y="125"/>
                    <a:pt x="44" y="125"/>
                  </a:cubicBezTo>
                  <a:cubicBezTo>
                    <a:pt x="45" y="125"/>
                    <a:pt x="46" y="126"/>
                    <a:pt x="46" y="127"/>
                  </a:cubicBezTo>
                  <a:cubicBezTo>
                    <a:pt x="47" y="127"/>
                    <a:pt x="47" y="127"/>
                    <a:pt x="47" y="127"/>
                  </a:cubicBezTo>
                  <a:cubicBezTo>
                    <a:pt x="47" y="127"/>
                    <a:pt x="49" y="128"/>
                    <a:pt x="50" y="129"/>
                  </a:cubicBezTo>
                  <a:cubicBezTo>
                    <a:pt x="50" y="129"/>
                    <a:pt x="50" y="129"/>
                    <a:pt x="50" y="129"/>
                  </a:cubicBezTo>
                  <a:cubicBezTo>
                    <a:pt x="52" y="130"/>
                    <a:pt x="54" y="131"/>
                    <a:pt x="57" y="131"/>
                  </a:cubicBezTo>
                  <a:cubicBezTo>
                    <a:pt x="57" y="131"/>
                    <a:pt x="57" y="131"/>
                    <a:pt x="57" y="131"/>
                  </a:cubicBezTo>
                  <a:cubicBezTo>
                    <a:pt x="58" y="131"/>
                    <a:pt x="59" y="131"/>
                    <a:pt x="60" y="131"/>
                  </a:cubicBezTo>
                  <a:cubicBezTo>
                    <a:pt x="60" y="131"/>
                    <a:pt x="60" y="131"/>
                    <a:pt x="60" y="131"/>
                  </a:cubicBezTo>
                  <a:cubicBezTo>
                    <a:pt x="64" y="131"/>
                    <a:pt x="68" y="131"/>
                    <a:pt x="71" y="129"/>
                  </a:cubicBezTo>
                  <a:cubicBezTo>
                    <a:pt x="85" y="124"/>
                    <a:pt x="91" y="109"/>
                    <a:pt x="86" y="95"/>
                  </a:cubicBezTo>
                  <a:close/>
                </a:path>
              </a:pathLst>
            </a:custGeom>
            <a:solidFill>
              <a:srgbClr val="E8E8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9" name="ïṣ1îḓê">
              <a:extLst>
                <a:ext uri="{FF2B5EF4-FFF2-40B4-BE49-F238E27FC236}">
                  <a16:creationId xmlns:a16="http://schemas.microsoft.com/office/drawing/2014/main" id="{C980383E-15A5-4A9D-8B1D-E35E701DE3A1}"/>
                </a:ext>
              </a:extLst>
            </p:cNvPr>
            <p:cNvSpPr/>
            <p:nvPr userDrawn="1"/>
          </p:nvSpPr>
          <p:spPr bwMode="auto">
            <a:xfrm>
              <a:off x="6864350" y="2065338"/>
              <a:ext cx="231775" cy="147638"/>
            </a:xfrm>
            <a:custGeom>
              <a:avLst/>
              <a:gdLst>
                <a:gd name="T0" fmla="*/ 131 w 137"/>
                <a:gd name="T1" fmla="*/ 71 h 87"/>
                <a:gd name="T2" fmla="*/ 118 w 137"/>
                <a:gd name="T3" fmla="*/ 37 h 87"/>
                <a:gd name="T4" fmla="*/ 79 w 137"/>
                <a:gd name="T5" fmla="*/ 20 h 87"/>
                <a:gd name="T6" fmla="*/ 40 w 137"/>
                <a:gd name="T7" fmla="*/ 2 h 87"/>
                <a:gd name="T8" fmla="*/ 21 w 137"/>
                <a:gd name="T9" fmla="*/ 2 h 87"/>
                <a:gd name="T10" fmla="*/ 19 w 137"/>
                <a:gd name="T11" fmla="*/ 2 h 87"/>
                <a:gd name="T12" fmla="*/ 19 w 137"/>
                <a:gd name="T13" fmla="*/ 2 h 87"/>
                <a:gd name="T14" fmla="*/ 16 w 137"/>
                <a:gd name="T15" fmla="*/ 4 h 87"/>
                <a:gd name="T16" fmla="*/ 16 w 137"/>
                <a:gd name="T17" fmla="*/ 4 h 87"/>
                <a:gd name="T18" fmla="*/ 14 w 137"/>
                <a:gd name="T19" fmla="*/ 5 h 87"/>
                <a:gd name="T20" fmla="*/ 14 w 137"/>
                <a:gd name="T21" fmla="*/ 5 h 87"/>
                <a:gd name="T22" fmla="*/ 12 w 137"/>
                <a:gd name="T23" fmla="*/ 7 h 87"/>
                <a:gd name="T24" fmla="*/ 12 w 137"/>
                <a:gd name="T25" fmla="*/ 7 h 87"/>
                <a:gd name="T26" fmla="*/ 10 w 137"/>
                <a:gd name="T27" fmla="*/ 8 h 87"/>
                <a:gd name="T28" fmla="*/ 10 w 137"/>
                <a:gd name="T29" fmla="*/ 9 h 87"/>
                <a:gd name="T30" fmla="*/ 9 w 137"/>
                <a:gd name="T31" fmla="*/ 10 h 87"/>
                <a:gd name="T32" fmla="*/ 8 w 137"/>
                <a:gd name="T33" fmla="*/ 11 h 87"/>
                <a:gd name="T34" fmla="*/ 7 w 137"/>
                <a:gd name="T35" fmla="*/ 13 h 87"/>
                <a:gd name="T36" fmla="*/ 7 w 137"/>
                <a:gd name="T37" fmla="*/ 13 h 87"/>
                <a:gd name="T38" fmla="*/ 5 w 137"/>
                <a:gd name="T39" fmla="*/ 16 h 87"/>
                <a:gd name="T40" fmla="*/ 19 w 137"/>
                <a:gd name="T41" fmla="*/ 50 h 87"/>
                <a:gd name="T42" fmla="*/ 58 w 137"/>
                <a:gd name="T43" fmla="*/ 68 h 87"/>
                <a:gd name="T44" fmla="*/ 97 w 137"/>
                <a:gd name="T45" fmla="*/ 85 h 87"/>
                <a:gd name="T46" fmla="*/ 100 w 137"/>
                <a:gd name="T47" fmla="*/ 86 h 87"/>
                <a:gd name="T48" fmla="*/ 101 w 137"/>
                <a:gd name="T49" fmla="*/ 86 h 87"/>
                <a:gd name="T50" fmla="*/ 104 w 137"/>
                <a:gd name="T51" fmla="*/ 87 h 87"/>
                <a:gd name="T52" fmla="*/ 104 w 137"/>
                <a:gd name="T53" fmla="*/ 87 h 87"/>
                <a:gd name="T54" fmla="*/ 107 w 137"/>
                <a:gd name="T55" fmla="*/ 87 h 87"/>
                <a:gd name="T56" fmla="*/ 108 w 137"/>
                <a:gd name="T57" fmla="*/ 87 h 87"/>
                <a:gd name="T58" fmla="*/ 111 w 137"/>
                <a:gd name="T59" fmla="*/ 86 h 87"/>
                <a:gd name="T60" fmla="*/ 112 w 137"/>
                <a:gd name="T61" fmla="*/ 86 h 87"/>
                <a:gd name="T62" fmla="*/ 115 w 137"/>
                <a:gd name="T63" fmla="*/ 86 h 87"/>
                <a:gd name="T64" fmla="*/ 115 w 137"/>
                <a:gd name="T65" fmla="*/ 85 h 87"/>
                <a:gd name="T66" fmla="*/ 122 w 137"/>
                <a:gd name="T67" fmla="*/ 82 h 87"/>
                <a:gd name="T68" fmla="*/ 122 w 137"/>
                <a:gd name="T69" fmla="*/ 82 h 87"/>
                <a:gd name="T70" fmla="*/ 125 w 137"/>
                <a:gd name="T71" fmla="*/ 80 h 87"/>
                <a:gd name="T72" fmla="*/ 125 w 137"/>
                <a:gd name="T73" fmla="*/ 80 h 87"/>
                <a:gd name="T74" fmla="*/ 131 w 137"/>
                <a:gd name="T75" fmla="*/ 71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37" h="87">
                  <a:moveTo>
                    <a:pt x="131" y="71"/>
                  </a:moveTo>
                  <a:cubicBezTo>
                    <a:pt x="137" y="58"/>
                    <a:pt x="131" y="42"/>
                    <a:pt x="118" y="37"/>
                  </a:cubicBezTo>
                  <a:cubicBezTo>
                    <a:pt x="79" y="20"/>
                    <a:pt x="79" y="20"/>
                    <a:pt x="79" y="20"/>
                  </a:cubicBezTo>
                  <a:cubicBezTo>
                    <a:pt x="40" y="2"/>
                    <a:pt x="40" y="2"/>
                    <a:pt x="40" y="2"/>
                  </a:cubicBezTo>
                  <a:cubicBezTo>
                    <a:pt x="34" y="0"/>
                    <a:pt x="27" y="0"/>
                    <a:pt x="21" y="2"/>
                  </a:cubicBezTo>
                  <a:cubicBezTo>
                    <a:pt x="20" y="2"/>
                    <a:pt x="19" y="2"/>
                    <a:pt x="19" y="2"/>
                  </a:cubicBezTo>
                  <a:cubicBezTo>
                    <a:pt x="19" y="2"/>
                    <a:pt x="19" y="2"/>
                    <a:pt x="19" y="2"/>
                  </a:cubicBezTo>
                  <a:cubicBezTo>
                    <a:pt x="18" y="3"/>
                    <a:pt x="17" y="3"/>
                    <a:pt x="16" y="4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4"/>
                    <a:pt x="15" y="5"/>
                    <a:pt x="14" y="5"/>
                  </a:cubicBezTo>
                  <a:cubicBezTo>
                    <a:pt x="14" y="5"/>
                    <a:pt x="14" y="5"/>
                    <a:pt x="14" y="5"/>
                  </a:cubicBezTo>
                  <a:cubicBezTo>
                    <a:pt x="13" y="6"/>
                    <a:pt x="13" y="6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1" y="7"/>
                    <a:pt x="11" y="8"/>
                    <a:pt x="10" y="8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9" y="9"/>
                    <a:pt x="9" y="10"/>
                    <a:pt x="9" y="10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8" y="12"/>
                    <a:pt x="7" y="12"/>
                    <a:pt x="7" y="13"/>
                  </a:cubicBezTo>
                  <a:cubicBezTo>
                    <a:pt x="7" y="13"/>
                    <a:pt x="7" y="13"/>
                    <a:pt x="7" y="13"/>
                  </a:cubicBezTo>
                  <a:cubicBezTo>
                    <a:pt x="6" y="14"/>
                    <a:pt x="6" y="15"/>
                    <a:pt x="5" y="16"/>
                  </a:cubicBezTo>
                  <a:cubicBezTo>
                    <a:pt x="0" y="29"/>
                    <a:pt x="6" y="44"/>
                    <a:pt x="19" y="50"/>
                  </a:cubicBezTo>
                  <a:cubicBezTo>
                    <a:pt x="58" y="68"/>
                    <a:pt x="58" y="68"/>
                    <a:pt x="58" y="68"/>
                  </a:cubicBezTo>
                  <a:cubicBezTo>
                    <a:pt x="97" y="85"/>
                    <a:pt x="97" y="85"/>
                    <a:pt x="97" y="85"/>
                  </a:cubicBezTo>
                  <a:cubicBezTo>
                    <a:pt x="98" y="85"/>
                    <a:pt x="99" y="85"/>
                    <a:pt x="100" y="86"/>
                  </a:cubicBezTo>
                  <a:cubicBezTo>
                    <a:pt x="101" y="86"/>
                    <a:pt x="101" y="86"/>
                    <a:pt x="101" y="86"/>
                  </a:cubicBezTo>
                  <a:cubicBezTo>
                    <a:pt x="102" y="86"/>
                    <a:pt x="103" y="86"/>
                    <a:pt x="104" y="87"/>
                  </a:cubicBezTo>
                  <a:cubicBezTo>
                    <a:pt x="104" y="87"/>
                    <a:pt x="104" y="87"/>
                    <a:pt x="104" y="87"/>
                  </a:cubicBezTo>
                  <a:cubicBezTo>
                    <a:pt x="105" y="87"/>
                    <a:pt x="106" y="87"/>
                    <a:pt x="107" y="87"/>
                  </a:cubicBezTo>
                  <a:cubicBezTo>
                    <a:pt x="108" y="87"/>
                    <a:pt x="108" y="87"/>
                    <a:pt x="108" y="87"/>
                  </a:cubicBezTo>
                  <a:cubicBezTo>
                    <a:pt x="109" y="87"/>
                    <a:pt x="110" y="87"/>
                    <a:pt x="111" y="86"/>
                  </a:cubicBezTo>
                  <a:cubicBezTo>
                    <a:pt x="112" y="86"/>
                    <a:pt x="112" y="86"/>
                    <a:pt x="112" y="86"/>
                  </a:cubicBezTo>
                  <a:cubicBezTo>
                    <a:pt x="113" y="86"/>
                    <a:pt x="114" y="86"/>
                    <a:pt x="115" y="86"/>
                  </a:cubicBezTo>
                  <a:cubicBezTo>
                    <a:pt x="115" y="85"/>
                    <a:pt x="115" y="85"/>
                    <a:pt x="115" y="85"/>
                  </a:cubicBezTo>
                  <a:cubicBezTo>
                    <a:pt x="118" y="85"/>
                    <a:pt x="120" y="84"/>
                    <a:pt x="122" y="82"/>
                  </a:cubicBezTo>
                  <a:cubicBezTo>
                    <a:pt x="122" y="82"/>
                    <a:pt x="122" y="82"/>
                    <a:pt x="122" y="82"/>
                  </a:cubicBezTo>
                  <a:cubicBezTo>
                    <a:pt x="123" y="82"/>
                    <a:pt x="124" y="81"/>
                    <a:pt x="125" y="80"/>
                  </a:cubicBezTo>
                  <a:cubicBezTo>
                    <a:pt x="125" y="80"/>
                    <a:pt x="125" y="80"/>
                    <a:pt x="125" y="80"/>
                  </a:cubicBezTo>
                  <a:cubicBezTo>
                    <a:pt x="127" y="78"/>
                    <a:pt x="130" y="75"/>
                    <a:pt x="131" y="71"/>
                  </a:cubicBezTo>
                  <a:close/>
                </a:path>
              </a:pathLst>
            </a:custGeom>
            <a:solidFill>
              <a:srgbClr val="E8E8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0" name="ïṧļiďè">
              <a:extLst>
                <a:ext uri="{FF2B5EF4-FFF2-40B4-BE49-F238E27FC236}">
                  <a16:creationId xmlns:a16="http://schemas.microsoft.com/office/drawing/2014/main" id="{12EF738A-E5F3-4B05-8DC4-E1968C41CA94}"/>
                </a:ext>
              </a:extLst>
            </p:cNvPr>
            <p:cNvSpPr/>
            <p:nvPr userDrawn="1"/>
          </p:nvSpPr>
          <p:spPr bwMode="auto">
            <a:xfrm>
              <a:off x="4687888" y="3308350"/>
              <a:ext cx="131763" cy="149225"/>
            </a:xfrm>
            <a:custGeom>
              <a:avLst/>
              <a:gdLst>
                <a:gd name="T0" fmla="*/ 78 w 78"/>
                <a:gd name="T1" fmla="*/ 43 h 88"/>
                <a:gd name="T2" fmla="*/ 78 w 78"/>
                <a:gd name="T3" fmla="*/ 43 h 88"/>
                <a:gd name="T4" fmla="*/ 78 w 78"/>
                <a:gd name="T5" fmla="*/ 43 h 88"/>
                <a:gd name="T6" fmla="*/ 60 w 78"/>
                <a:gd name="T7" fmla="*/ 11 h 88"/>
                <a:gd name="T8" fmla="*/ 8 w 78"/>
                <a:gd name="T9" fmla="*/ 21 h 88"/>
                <a:gd name="T10" fmla="*/ 8 w 78"/>
                <a:gd name="T11" fmla="*/ 21 h 88"/>
                <a:gd name="T12" fmla="*/ 6 w 78"/>
                <a:gd name="T13" fmla="*/ 23 h 88"/>
                <a:gd name="T14" fmla="*/ 5 w 78"/>
                <a:gd name="T15" fmla="*/ 24 h 88"/>
                <a:gd name="T16" fmla="*/ 5 w 78"/>
                <a:gd name="T17" fmla="*/ 24 h 88"/>
                <a:gd name="T18" fmla="*/ 5 w 78"/>
                <a:gd name="T19" fmla="*/ 24 h 88"/>
                <a:gd name="T20" fmla="*/ 5 w 78"/>
                <a:gd name="T21" fmla="*/ 25 h 88"/>
                <a:gd name="T22" fmla="*/ 5 w 78"/>
                <a:gd name="T23" fmla="*/ 25 h 88"/>
                <a:gd name="T24" fmla="*/ 5 w 78"/>
                <a:gd name="T25" fmla="*/ 25 h 88"/>
                <a:gd name="T26" fmla="*/ 4 w 78"/>
                <a:gd name="T27" fmla="*/ 27 h 88"/>
                <a:gd name="T28" fmla="*/ 4 w 78"/>
                <a:gd name="T29" fmla="*/ 27 h 88"/>
                <a:gd name="T30" fmla="*/ 4 w 78"/>
                <a:gd name="T31" fmla="*/ 27 h 88"/>
                <a:gd name="T32" fmla="*/ 0 w 78"/>
                <a:gd name="T33" fmla="*/ 37 h 88"/>
                <a:gd name="T34" fmla="*/ 0 w 78"/>
                <a:gd name="T35" fmla="*/ 37 h 88"/>
                <a:gd name="T36" fmla="*/ 0 w 78"/>
                <a:gd name="T37" fmla="*/ 37 h 88"/>
                <a:gd name="T38" fmla="*/ 0 w 78"/>
                <a:gd name="T39" fmla="*/ 42 h 88"/>
                <a:gd name="T40" fmla="*/ 0 w 78"/>
                <a:gd name="T41" fmla="*/ 43 h 88"/>
                <a:gd name="T42" fmla="*/ 0 w 78"/>
                <a:gd name="T43" fmla="*/ 48 h 88"/>
                <a:gd name="T44" fmla="*/ 0 w 78"/>
                <a:gd name="T45" fmla="*/ 48 h 88"/>
                <a:gd name="T46" fmla="*/ 1 w 78"/>
                <a:gd name="T47" fmla="*/ 53 h 88"/>
                <a:gd name="T48" fmla="*/ 1 w 78"/>
                <a:gd name="T49" fmla="*/ 54 h 88"/>
                <a:gd name="T50" fmla="*/ 3 w 78"/>
                <a:gd name="T51" fmla="*/ 59 h 88"/>
                <a:gd name="T52" fmla="*/ 3 w 78"/>
                <a:gd name="T53" fmla="*/ 59 h 88"/>
                <a:gd name="T54" fmla="*/ 5 w 78"/>
                <a:gd name="T55" fmla="*/ 64 h 88"/>
                <a:gd name="T56" fmla="*/ 6 w 78"/>
                <a:gd name="T57" fmla="*/ 65 h 88"/>
                <a:gd name="T58" fmla="*/ 8 w 78"/>
                <a:gd name="T59" fmla="*/ 69 h 88"/>
                <a:gd name="T60" fmla="*/ 9 w 78"/>
                <a:gd name="T61" fmla="*/ 69 h 88"/>
                <a:gd name="T62" fmla="*/ 12 w 78"/>
                <a:gd name="T63" fmla="*/ 73 h 88"/>
                <a:gd name="T64" fmla="*/ 13 w 78"/>
                <a:gd name="T65" fmla="*/ 74 h 88"/>
                <a:gd name="T66" fmla="*/ 17 w 78"/>
                <a:gd name="T67" fmla="*/ 77 h 88"/>
                <a:gd name="T68" fmla="*/ 69 w 78"/>
                <a:gd name="T69" fmla="*/ 70 h 88"/>
                <a:gd name="T70" fmla="*/ 69 w 78"/>
                <a:gd name="T71" fmla="*/ 70 h 88"/>
                <a:gd name="T72" fmla="*/ 69 w 78"/>
                <a:gd name="T73" fmla="*/ 69 h 88"/>
                <a:gd name="T74" fmla="*/ 70 w 78"/>
                <a:gd name="T75" fmla="*/ 68 h 88"/>
                <a:gd name="T76" fmla="*/ 70 w 78"/>
                <a:gd name="T77" fmla="*/ 68 h 88"/>
                <a:gd name="T78" fmla="*/ 70 w 78"/>
                <a:gd name="T79" fmla="*/ 68 h 88"/>
                <a:gd name="T80" fmla="*/ 71 w 78"/>
                <a:gd name="T81" fmla="*/ 67 h 88"/>
                <a:gd name="T82" fmla="*/ 71 w 78"/>
                <a:gd name="T83" fmla="*/ 67 h 88"/>
                <a:gd name="T84" fmla="*/ 71 w 78"/>
                <a:gd name="T85" fmla="*/ 67 h 88"/>
                <a:gd name="T86" fmla="*/ 72 w 78"/>
                <a:gd name="T87" fmla="*/ 66 h 88"/>
                <a:gd name="T88" fmla="*/ 73 w 78"/>
                <a:gd name="T89" fmla="*/ 64 h 88"/>
                <a:gd name="T90" fmla="*/ 73 w 78"/>
                <a:gd name="T91" fmla="*/ 64 h 88"/>
                <a:gd name="T92" fmla="*/ 74 w 78"/>
                <a:gd name="T93" fmla="*/ 63 h 88"/>
                <a:gd name="T94" fmla="*/ 74 w 78"/>
                <a:gd name="T95" fmla="*/ 62 h 88"/>
                <a:gd name="T96" fmla="*/ 75 w 78"/>
                <a:gd name="T97" fmla="*/ 59 h 88"/>
                <a:gd name="T98" fmla="*/ 76 w 78"/>
                <a:gd name="T99" fmla="*/ 58 h 88"/>
                <a:gd name="T100" fmla="*/ 76 w 78"/>
                <a:gd name="T101" fmla="*/ 56 h 88"/>
                <a:gd name="T102" fmla="*/ 77 w 78"/>
                <a:gd name="T103" fmla="*/ 55 h 88"/>
                <a:gd name="T104" fmla="*/ 77 w 78"/>
                <a:gd name="T105" fmla="*/ 51 h 88"/>
                <a:gd name="T106" fmla="*/ 78 w 78"/>
                <a:gd name="T107" fmla="*/ 50 h 88"/>
                <a:gd name="T108" fmla="*/ 78 w 78"/>
                <a:gd name="T109" fmla="*/ 48 h 88"/>
                <a:gd name="T110" fmla="*/ 78 w 78"/>
                <a:gd name="T111" fmla="*/ 46 h 88"/>
                <a:gd name="T112" fmla="*/ 78 w 78"/>
                <a:gd name="T113" fmla="*/ 45 h 88"/>
                <a:gd name="T114" fmla="*/ 78 w 78"/>
                <a:gd name="T115" fmla="*/ 43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78" h="88">
                  <a:moveTo>
                    <a:pt x="78" y="43"/>
                  </a:moveTo>
                  <a:cubicBezTo>
                    <a:pt x="78" y="43"/>
                    <a:pt x="78" y="43"/>
                    <a:pt x="78" y="43"/>
                  </a:cubicBezTo>
                  <a:cubicBezTo>
                    <a:pt x="78" y="43"/>
                    <a:pt x="78" y="43"/>
                    <a:pt x="78" y="43"/>
                  </a:cubicBezTo>
                  <a:cubicBezTo>
                    <a:pt x="78" y="30"/>
                    <a:pt x="71" y="19"/>
                    <a:pt x="60" y="11"/>
                  </a:cubicBezTo>
                  <a:cubicBezTo>
                    <a:pt x="43" y="0"/>
                    <a:pt x="20" y="4"/>
                    <a:pt x="8" y="21"/>
                  </a:cubicBezTo>
                  <a:cubicBezTo>
                    <a:pt x="8" y="21"/>
                    <a:pt x="8" y="21"/>
                    <a:pt x="8" y="21"/>
                  </a:cubicBezTo>
                  <a:cubicBezTo>
                    <a:pt x="7" y="21"/>
                    <a:pt x="7" y="22"/>
                    <a:pt x="6" y="23"/>
                  </a:cubicBezTo>
                  <a:cubicBezTo>
                    <a:pt x="6" y="23"/>
                    <a:pt x="6" y="23"/>
                    <a:pt x="5" y="24"/>
                  </a:cubicBezTo>
                  <a:cubicBezTo>
                    <a:pt x="5" y="24"/>
                    <a:pt x="5" y="24"/>
                    <a:pt x="5" y="24"/>
                  </a:cubicBezTo>
                  <a:cubicBezTo>
                    <a:pt x="5" y="24"/>
                    <a:pt x="5" y="24"/>
                    <a:pt x="5" y="24"/>
                  </a:cubicBezTo>
                  <a:cubicBezTo>
                    <a:pt x="5" y="25"/>
                    <a:pt x="5" y="25"/>
                    <a:pt x="5" y="25"/>
                  </a:cubicBezTo>
                  <a:cubicBezTo>
                    <a:pt x="5" y="25"/>
                    <a:pt x="5" y="25"/>
                    <a:pt x="5" y="25"/>
                  </a:cubicBezTo>
                  <a:cubicBezTo>
                    <a:pt x="5" y="25"/>
                    <a:pt x="5" y="25"/>
                    <a:pt x="5" y="25"/>
                  </a:cubicBezTo>
                  <a:cubicBezTo>
                    <a:pt x="4" y="25"/>
                    <a:pt x="4" y="26"/>
                    <a:pt x="4" y="27"/>
                  </a:cubicBezTo>
                  <a:cubicBezTo>
                    <a:pt x="4" y="27"/>
                    <a:pt x="4" y="27"/>
                    <a:pt x="4" y="27"/>
                  </a:cubicBezTo>
                  <a:cubicBezTo>
                    <a:pt x="4" y="27"/>
                    <a:pt x="4" y="27"/>
                    <a:pt x="4" y="27"/>
                  </a:cubicBezTo>
                  <a:cubicBezTo>
                    <a:pt x="2" y="30"/>
                    <a:pt x="1" y="34"/>
                    <a:pt x="0" y="37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0" y="39"/>
                    <a:pt x="0" y="40"/>
                    <a:pt x="0" y="42"/>
                  </a:cubicBezTo>
                  <a:cubicBezTo>
                    <a:pt x="0" y="42"/>
                    <a:pt x="0" y="43"/>
                    <a:pt x="0" y="43"/>
                  </a:cubicBezTo>
                  <a:cubicBezTo>
                    <a:pt x="0" y="45"/>
                    <a:pt x="0" y="47"/>
                    <a:pt x="0" y="4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50"/>
                    <a:pt x="0" y="52"/>
                    <a:pt x="1" y="53"/>
                  </a:cubicBezTo>
                  <a:cubicBezTo>
                    <a:pt x="1" y="54"/>
                    <a:pt x="1" y="54"/>
                    <a:pt x="1" y="54"/>
                  </a:cubicBezTo>
                  <a:cubicBezTo>
                    <a:pt x="1" y="56"/>
                    <a:pt x="2" y="58"/>
                    <a:pt x="3" y="59"/>
                  </a:cubicBezTo>
                  <a:cubicBezTo>
                    <a:pt x="3" y="59"/>
                    <a:pt x="3" y="59"/>
                    <a:pt x="3" y="59"/>
                  </a:cubicBezTo>
                  <a:cubicBezTo>
                    <a:pt x="3" y="61"/>
                    <a:pt x="4" y="62"/>
                    <a:pt x="5" y="64"/>
                  </a:cubicBezTo>
                  <a:cubicBezTo>
                    <a:pt x="5" y="64"/>
                    <a:pt x="5" y="65"/>
                    <a:pt x="6" y="65"/>
                  </a:cubicBezTo>
                  <a:cubicBezTo>
                    <a:pt x="6" y="66"/>
                    <a:pt x="7" y="68"/>
                    <a:pt x="8" y="69"/>
                  </a:cubicBezTo>
                  <a:cubicBezTo>
                    <a:pt x="9" y="69"/>
                    <a:pt x="9" y="69"/>
                    <a:pt x="9" y="69"/>
                  </a:cubicBezTo>
                  <a:cubicBezTo>
                    <a:pt x="10" y="70"/>
                    <a:pt x="11" y="72"/>
                    <a:pt x="12" y="73"/>
                  </a:cubicBezTo>
                  <a:cubicBezTo>
                    <a:pt x="13" y="74"/>
                    <a:pt x="13" y="74"/>
                    <a:pt x="13" y="74"/>
                  </a:cubicBezTo>
                  <a:cubicBezTo>
                    <a:pt x="14" y="75"/>
                    <a:pt x="16" y="76"/>
                    <a:pt x="17" y="77"/>
                  </a:cubicBezTo>
                  <a:cubicBezTo>
                    <a:pt x="34" y="88"/>
                    <a:pt x="56" y="85"/>
                    <a:pt x="69" y="70"/>
                  </a:cubicBezTo>
                  <a:cubicBezTo>
                    <a:pt x="69" y="70"/>
                    <a:pt x="69" y="70"/>
                    <a:pt x="69" y="70"/>
                  </a:cubicBezTo>
                  <a:cubicBezTo>
                    <a:pt x="69" y="69"/>
                    <a:pt x="69" y="69"/>
                    <a:pt x="69" y="69"/>
                  </a:cubicBezTo>
                  <a:cubicBezTo>
                    <a:pt x="69" y="69"/>
                    <a:pt x="70" y="68"/>
                    <a:pt x="70" y="68"/>
                  </a:cubicBezTo>
                  <a:cubicBezTo>
                    <a:pt x="70" y="68"/>
                    <a:pt x="70" y="68"/>
                    <a:pt x="70" y="68"/>
                  </a:cubicBezTo>
                  <a:cubicBezTo>
                    <a:pt x="70" y="68"/>
                    <a:pt x="70" y="68"/>
                    <a:pt x="70" y="68"/>
                  </a:cubicBezTo>
                  <a:cubicBezTo>
                    <a:pt x="71" y="67"/>
                    <a:pt x="71" y="67"/>
                    <a:pt x="71" y="67"/>
                  </a:cubicBezTo>
                  <a:cubicBezTo>
                    <a:pt x="71" y="67"/>
                    <a:pt x="71" y="67"/>
                    <a:pt x="71" y="67"/>
                  </a:cubicBezTo>
                  <a:cubicBezTo>
                    <a:pt x="71" y="67"/>
                    <a:pt x="71" y="67"/>
                    <a:pt x="71" y="67"/>
                  </a:cubicBezTo>
                  <a:cubicBezTo>
                    <a:pt x="71" y="66"/>
                    <a:pt x="71" y="66"/>
                    <a:pt x="72" y="66"/>
                  </a:cubicBezTo>
                  <a:cubicBezTo>
                    <a:pt x="72" y="65"/>
                    <a:pt x="73" y="64"/>
                    <a:pt x="73" y="64"/>
                  </a:cubicBezTo>
                  <a:cubicBezTo>
                    <a:pt x="73" y="64"/>
                    <a:pt x="73" y="64"/>
                    <a:pt x="73" y="64"/>
                  </a:cubicBezTo>
                  <a:cubicBezTo>
                    <a:pt x="74" y="63"/>
                    <a:pt x="74" y="63"/>
                    <a:pt x="74" y="63"/>
                  </a:cubicBezTo>
                  <a:cubicBezTo>
                    <a:pt x="74" y="62"/>
                    <a:pt x="74" y="62"/>
                    <a:pt x="74" y="62"/>
                  </a:cubicBezTo>
                  <a:cubicBezTo>
                    <a:pt x="74" y="61"/>
                    <a:pt x="75" y="60"/>
                    <a:pt x="75" y="59"/>
                  </a:cubicBezTo>
                  <a:cubicBezTo>
                    <a:pt x="75" y="59"/>
                    <a:pt x="75" y="58"/>
                    <a:pt x="76" y="58"/>
                  </a:cubicBezTo>
                  <a:cubicBezTo>
                    <a:pt x="76" y="57"/>
                    <a:pt x="76" y="57"/>
                    <a:pt x="76" y="56"/>
                  </a:cubicBezTo>
                  <a:cubicBezTo>
                    <a:pt x="76" y="55"/>
                    <a:pt x="77" y="55"/>
                    <a:pt x="77" y="55"/>
                  </a:cubicBezTo>
                  <a:cubicBezTo>
                    <a:pt x="77" y="54"/>
                    <a:pt x="77" y="53"/>
                    <a:pt x="77" y="51"/>
                  </a:cubicBezTo>
                  <a:cubicBezTo>
                    <a:pt x="78" y="51"/>
                    <a:pt x="78" y="51"/>
                    <a:pt x="78" y="50"/>
                  </a:cubicBezTo>
                  <a:cubicBezTo>
                    <a:pt x="78" y="49"/>
                    <a:pt x="78" y="49"/>
                    <a:pt x="78" y="48"/>
                  </a:cubicBezTo>
                  <a:cubicBezTo>
                    <a:pt x="78" y="48"/>
                    <a:pt x="78" y="47"/>
                    <a:pt x="78" y="46"/>
                  </a:cubicBezTo>
                  <a:cubicBezTo>
                    <a:pt x="78" y="46"/>
                    <a:pt x="78" y="45"/>
                    <a:pt x="78" y="45"/>
                  </a:cubicBezTo>
                  <a:cubicBezTo>
                    <a:pt x="78" y="44"/>
                    <a:pt x="78" y="44"/>
                    <a:pt x="78" y="43"/>
                  </a:cubicBezTo>
                  <a:close/>
                </a:path>
              </a:pathLst>
            </a:custGeom>
            <a:solidFill>
              <a:srgbClr val="E8E8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1" name="îšḷîḑe">
              <a:extLst>
                <a:ext uri="{FF2B5EF4-FFF2-40B4-BE49-F238E27FC236}">
                  <a16:creationId xmlns:a16="http://schemas.microsoft.com/office/drawing/2014/main" id="{3C7C61EF-C9AD-4640-8693-CB66D99E3C37}"/>
                </a:ext>
              </a:extLst>
            </p:cNvPr>
            <p:cNvSpPr/>
            <p:nvPr userDrawn="1"/>
          </p:nvSpPr>
          <p:spPr bwMode="auto">
            <a:xfrm>
              <a:off x="5783263" y="3916363"/>
              <a:ext cx="141288" cy="134938"/>
            </a:xfrm>
            <a:custGeom>
              <a:avLst/>
              <a:gdLst>
                <a:gd name="T0" fmla="*/ 81 w 84"/>
                <a:gd name="T1" fmla="*/ 32 h 80"/>
                <a:gd name="T2" fmla="*/ 81 w 84"/>
                <a:gd name="T3" fmla="*/ 32 h 80"/>
                <a:gd name="T4" fmla="*/ 80 w 84"/>
                <a:gd name="T5" fmla="*/ 28 h 80"/>
                <a:gd name="T6" fmla="*/ 79 w 84"/>
                <a:gd name="T7" fmla="*/ 27 h 80"/>
                <a:gd name="T8" fmla="*/ 78 w 84"/>
                <a:gd name="T9" fmla="*/ 23 h 80"/>
                <a:gd name="T10" fmla="*/ 76 w 84"/>
                <a:gd name="T11" fmla="*/ 20 h 80"/>
                <a:gd name="T12" fmla="*/ 73 w 84"/>
                <a:gd name="T13" fmla="*/ 17 h 80"/>
                <a:gd name="T14" fmla="*/ 71 w 84"/>
                <a:gd name="T15" fmla="*/ 14 h 80"/>
                <a:gd name="T16" fmla="*/ 69 w 84"/>
                <a:gd name="T17" fmla="*/ 12 h 80"/>
                <a:gd name="T18" fmla="*/ 67 w 84"/>
                <a:gd name="T19" fmla="*/ 10 h 80"/>
                <a:gd name="T20" fmla="*/ 32 w 84"/>
                <a:gd name="T21" fmla="*/ 3 h 80"/>
                <a:gd name="T22" fmla="*/ 4 w 84"/>
                <a:gd name="T23" fmla="*/ 49 h 80"/>
                <a:gd name="T24" fmla="*/ 5 w 84"/>
                <a:gd name="T25" fmla="*/ 53 h 80"/>
                <a:gd name="T26" fmla="*/ 5 w 84"/>
                <a:gd name="T27" fmla="*/ 53 h 80"/>
                <a:gd name="T28" fmla="*/ 6 w 84"/>
                <a:gd name="T29" fmla="*/ 54 h 80"/>
                <a:gd name="T30" fmla="*/ 6 w 84"/>
                <a:gd name="T31" fmla="*/ 56 h 80"/>
                <a:gd name="T32" fmla="*/ 7 w 84"/>
                <a:gd name="T33" fmla="*/ 56 h 80"/>
                <a:gd name="T34" fmla="*/ 12 w 84"/>
                <a:gd name="T35" fmla="*/ 65 h 80"/>
                <a:gd name="T36" fmla="*/ 12 w 84"/>
                <a:gd name="T37" fmla="*/ 66 h 80"/>
                <a:gd name="T38" fmla="*/ 15 w 84"/>
                <a:gd name="T39" fmla="*/ 69 h 80"/>
                <a:gd name="T40" fmla="*/ 18 w 84"/>
                <a:gd name="T41" fmla="*/ 71 h 80"/>
                <a:gd name="T42" fmla="*/ 21 w 84"/>
                <a:gd name="T43" fmla="*/ 73 h 80"/>
                <a:gd name="T44" fmla="*/ 24 w 84"/>
                <a:gd name="T45" fmla="*/ 75 h 80"/>
                <a:gd name="T46" fmla="*/ 27 w 84"/>
                <a:gd name="T47" fmla="*/ 77 h 80"/>
                <a:gd name="T48" fmla="*/ 31 w 84"/>
                <a:gd name="T49" fmla="*/ 78 h 80"/>
                <a:gd name="T50" fmla="*/ 35 w 84"/>
                <a:gd name="T51" fmla="*/ 79 h 80"/>
                <a:gd name="T52" fmla="*/ 38 w 84"/>
                <a:gd name="T53" fmla="*/ 80 h 80"/>
                <a:gd name="T54" fmla="*/ 42 w 84"/>
                <a:gd name="T55" fmla="*/ 80 h 80"/>
                <a:gd name="T56" fmla="*/ 46 w 84"/>
                <a:gd name="T57" fmla="*/ 80 h 80"/>
                <a:gd name="T58" fmla="*/ 50 w 84"/>
                <a:gd name="T59" fmla="*/ 80 h 80"/>
                <a:gd name="T60" fmla="*/ 81 w 84"/>
                <a:gd name="T61" fmla="*/ 35 h 80"/>
                <a:gd name="T62" fmla="*/ 81 w 84"/>
                <a:gd name="T63" fmla="*/ 35 h 80"/>
                <a:gd name="T64" fmla="*/ 81 w 84"/>
                <a:gd name="T65" fmla="*/ 33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84" h="80">
                  <a:moveTo>
                    <a:pt x="81" y="33"/>
                  </a:moveTo>
                  <a:cubicBezTo>
                    <a:pt x="81" y="32"/>
                    <a:pt x="81" y="32"/>
                    <a:pt x="81" y="32"/>
                  </a:cubicBezTo>
                  <a:cubicBezTo>
                    <a:pt x="81" y="32"/>
                    <a:pt x="81" y="32"/>
                    <a:pt x="81" y="32"/>
                  </a:cubicBezTo>
                  <a:cubicBezTo>
                    <a:pt x="81" y="32"/>
                    <a:pt x="81" y="32"/>
                    <a:pt x="81" y="32"/>
                  </a:cubicBezTo>
                  <a:cubicBezTo>
                    <a:pt x="81" y="31"/>
                    <a:pt x="81" y="31"/>
                    <a:pt x="80" y="30"/>
                  </a:cubicBezTo>
                  <a:cubicBezTo>
                    <a:pt x="80" y="29"/>
                    <a:pt x="80" y="29"/>
                    <a:pt x="80" y="28"/>
                  </a:cubicBezTo>
                  <a:cubicBezTo>
                    <a:pt x="80" y="28"/>
                    <a:pt x="80" y="28"/>
                    <a:pt x="80" y="28"/>
                  </a:cubicBezTo>
                  <a:cubicBezTo>
                    <a:pt x="79" y="27"/>
                    <a:pt x="79" y="27"/>
                    <a:pt x="79" y="27"/>
                  </a:cubicBezTo>
                  <a:cubicBezTo>
                    <a:pt x="79" y="26"/>
                    <a:pt x="79" y="26"/>
                    <a:pt x="79" y="26"/>
                  </a:cubicBezTo>
                  <a:cubicBezTo>
                    <a:pt x="79" y="25"/>
                    <a:pt x="78" y="24"/>
                    <a:pt x="78" y="23"/>
                  </a:cubicBezTo>
                  <a:cubicBezTo>
                    <a:pt x="78" y="23"/>
                    <a:pt x="77" y="23"/>
                    <a:pt x="77" y="22"/>
                  </a:cubicBezTo>
                  <a:cubicBezTo>
                    <a:pt x="77" y="22"/>
                    <a:pt x="76" y="21"/>
                    <a:pt x="76" y="20"/>
                  </a:cubicBezTo>
                  <a:cubicBezTo>
                    <a:pt x="75" y="19"/>
                    <a:pt x="75" y="19"/>
                    <a:pt x="75" y="19"/>
                  </a:cubicBezTo>
                  <a:cubicBezTo>
                    <a:pt x="75" y="18"/>
                    <a:pt x="74" y="17"/>
                    <a:pt x="73" y="17"/>
                  </a:cubicBezTo>
                  <a:cubicBezTo>
                    <a:pt x="73" y="16"/>
                    <a:pt x="73" y="16"/>
                    <a:pt x="73" y="16"/>
                  </a:cubicBezTo>
                  <a:cubicBezTo>
                    <a:pt x="72" y="15"/>
                    <a:pt x="72" y="15"/>
                    <a:pt x="71" y="14"/>
                  </a:cubicBezTo>
                  <a:cubicBezTo>
                    <a:pt x="71" y="14"/>
                    <a:pt x="70" y="13"/>
                    <a:pt x="70" y="13"/>
                  </a:cubicBezTo>
                  <a:cubicBezTo>
                    <a:pt x="70" y="12"/>
                    <a:pt x="69" y="12"/>
                    <a:pt x="69" y="12"/>
                  </a:cubicBezTo>
                  <a:cubicBezTo>
                    <a:pt x="68" y="11"/>
                    <a:pt x="68" y="11"/>
                    <a:pt x="68" y="11"/>
                  </a:cubicBezTo>
                  <a:cubicBezTo>
                    <a:pt x="67" y="10"/>
                    <a:pt x="67" y="10"/>
                    <a:pt x="67" y="10"/>
                  </a:cubicBezTo>
                  <a:cubicBezTo>
                    <a:pt x="67" y="10"/>
                    <a:pt x="67" y="10"/>
                    <a:pt x="67" y="10"/>
                  </a:cubicBezTo>
                  <a:cubicBezTo>
                    <a:pt x="58" y="3"/>
                    <a:pt x="45" y="0"/>
                    <a:pt x="32" y="3"/>
                  </a:cubicBezTo>
                  <a:cubicBezTo>
                    <a:pt x="12" y="9"/>
                    <a:pt x="0" y="29"/>
                    <a:pt x="4" y="49"/>
                  </a:cubicBezTo>
                  <a:cubicBezTo>
                    <a:pt x="4" y="49"/>
                    <a:pt x="4" y="49"/>
                    <a:pt x="4" y="49"/>
                  </a:cubicBezTo>
                  <a:cubicBezTo>
                    <a:pt x="4" y="50"/>
                    <a:pt x="5" y="51"/>
                    <a:pt x="5" y="52"/>
                  </a:cubicBezTo>
                  <a:cubicBezTo>
                    <a:pt x="5" y="52"/>
                    <a:pt x="5" y="52"/>
                    <a:pt x="5" y="53"/>
                  </a:cubicBezTo>
                  <a:cubicBezTo>
                    <a:pt x="5" y="53"/>
                    <a:pt x="5" y="53"/>
                    <a:pt x="5" y="53"/>
                  </a:cubicBezTo>
                  <a:cubicBezTo>
                    <a:pt x="5" y="53"/>
                    <a:pt x="5" y="53"/>
                    <a:pt x="5" y="53"/>
                  </a:cubicBezTo>
                  <a:cubicBezTo>
                    <a:pt x="6" y="54"/>
                    <a:pt x="6" y="54"/>
                    <a:pt x="6" y="54"/>
                  </a:cubicBezTo>
                  <a:cubicBezTo>
                    <a:pt x="6" y="54"/>
                    <a:pt x="6" y="54"/>
                    <a:pt x="6" y="54"/>
                  </a:cubicBezTo>
                  <a:cubicBezTo>
                    <a:pt x="6" y="54"/>
                    <a:pt x="6" y="54"/>
                    <a:pt x="6" y="54"/>
                  </a:cubicBezTo>
                  <a:cubicBezTo>
                    <a:pt x="6" y="55"/>
                    <a:pt x="6" y="55"/>
                    <a:pt x="6" y="56"/>
                  </a:cubicBezTo>
                  <a:cubicBezTo>
                    <a:pt x="7" y="56"/>
                    <a:pt x="7" y="56"/>
                    <a:pt x="7" y="56"/>
                  </a:cubicBezTo>
                  <a:cubicBezTo>
                    <a:pt x="7" y="56"/>
                    <a:pt x="7" y="56"/>
                    <a:pt x="7" y="56"/>
                  </a:cubicBezTo>
                  <a:cubicBezTo>
                    <a:pt x="8" y="60"/>
                    <a:pt x="10" y="63"/>
                    <a:pt x="12" y="65"/>
                  </a:cubicBezTo>
                  <a:cubicBezTo>
                    <a:pt x="12" y="65"/>
                    <a:pt x="12" y="65"/>
                    <a:pt x="12" y="65"/>
                  </a:cubicBezTo>
                  <a:cubicBezTo>
                    <a:pt x="12" y="65"/>
                    <a:pt x="12" y="65"/>
                    <a:pt x="12" y="65"/>
                  </a:cubicBezTo>
                  <a:cubicBezTo>
                    <a:pt x="12" y="66"/>
                    <a:pt x="12" y="66"/>
                    <a:pt x="12" y="66"/>
                  </a:cubicBezTo>
                  <a:cubicBezTo>
                    <a:pt x="13" y="67"/>
                    <a:pt x="13" y="67"/>
                    <a:pt x="14" y="68"/>
                  </a:cubicBezTo>
                  <a:cubicBezTo>
                    <a:pt x="15" y="69"/>
                    <a:pt x="15" y="69"/>
                    <a:pt x="15" y="69"/>
                  </a:cubicBezTo>
                  <a:cubicBezTo>
                    <a:pt x="16" y="69"/>
                    <a:pt x="16" y="70"/>
                    <a:pt x="17" y="70"/>
                  </a:cubicBezTo>
                  <a:cubicBezTo>
                    <a:pt x="18" y="71"/>
                    <a:pt x="18" y="71"/>
                    <a:pt x="18" y="71"/>
                  </a:cubicBezTo>
                  <a:cubicBezTo>
                    <a:pt x="18" y="72"/>
                    <a:pt x="19" y="73"/>
                    <a:pt x="20" y="73"/>
                  </a:cubicBezTo>
                  <a:cubicBezTo>
                    <a:pt x="21" y="73"/>
                    <a:pt x="21" y="73"/>
                    <a:pt x="21" y="73"/>
                  </a:cubicBezTo>
                  <a:cubicBezTo>
                    <a:pt x="21" y="74"/>
                    <a:pt x="22" y="74"/>
                    <a:pt x="23" y="75"/>
                  </a:cubicBezTo>
                  <a:cubicBezTo>
                    <a:pt x="24" y="75"/>
                    <a:pt x="24" y="75"/>
                    <a:pt x="24" y="75"/>
                  </a:cubicBezTo>
                  <a:cubicBezTo>
                    <a:pt x="25" y="76"/>
                    <a:pt x="25" y="76"/>
                    <a:pt x="26" y="77"/>
                  </a:cubicBezTo>
                  <a:cubicBezTo>
                    <a:pt x="27" y="77"/>
                    <a:pt x="27" y="77"/>
                    <a:pt x="27" y="77"/>
                  </a:cubicBezTo>
                  <a:cubicBezTo>
                    <a:pt x="28" y="77"/>
                    <a:pt x="29" y="78"/>
                    <a:pt x="30" y="78"/>
                  </a:cubicBezTo>
                  <a:cubicBezTo>
                    <a:pt x="31" y="78"/>
                    <a:pt x="31" y="78"/>
                    <a:pt x="31" y="78"/>
                  </a:cubicBezTo>
                  <a:cubicBezTo>
                    <a:pt x="32" y="79"/>
                    <a:pt x="33" y="79"/>
                    <a:pt x="34" y="79"/>
                  </a:cubicBezTo>
                  <a:cubicBezTo>
                    <a:pt x="35" y="79"/>
                    <a:pt x="35" y="79"/>
                    <a:pt x="35" y="79"/>
                  </a:cubicBezTo>
                  <a:cubicBezTo>
                    <a:pt x="35" y="80"/>
                    <a:pt x="36" y="80"/>
                    <a:pt x="37" y="80"/>
                  </a:cubicBezTo>
                  <a:cubicBezTo>
                    <a:pt x="38" y="80"/>
                    <a:pt x="38" y="80"/>
                    <a:pt x="38" y="80"/>
                  </a:cubicBezTo>
                  <a:cubicBezTo>
                    <a:pt x="39" y="80"/>
                    <a:pt x="40" y="80"/>
                    <a:pt x="42" y="80"/>
                  </a:cubicBezTo>
                  <a:cubicBezTo>
                    <a:pt x="42" y="80"/>
                    <a:pt x="42" y="80"/>
                    <a:pt x="42" y="80"/>
                  </a:cubicBezTo>
                  <a:cubicBezTo>
                    <a:pt x="43" y="80"/>
                    <a:pt x="44" y="80"/>
                    <a:pt x="45" y="80"/>
                  </a:cubicBezTo>
                  <a:cubicBezTo>
                    <a:pt x="46" y="80"/>
                    <a:pt x="46" y="80"/>
                    <a:pt x="46" y="80"/>
                  </a:cubicBezTo>
                  <a:cubicBezTo>
                    <a:pt x="47" y="80"/>
                    <a:pt x="48" y="80"/>
                    <a:pt x="49" y="80"/>
                  </a:cubicBezTo>
                  <a:cubicBezTo>
                    <a:pt x="50" y="80"/>
                    <a:pt x="50" y="80"/>
                    <a:pt x="50" y="80"/>
                  </a:cubicBezTo>
                  <a:cubicBezTo>
                    <a:pt x="51" y="79"/>
                    <a:pt x="52" y="79"/>
                    <a:pt x="53" y="79"/>
                  </a:cubicBezTo>
                  <a:cubicBezTo>
                    <a:pt x="72" y="73"/>
                    <a:pt x="84" y="55"/>
                    <a:pt x="81" y="35"/>
                  </a:cubicBezTo>
                  <a:cubicBezTo>
                    <a:pt x="81" y="35"/>
                    <a:pt x="81" y="35"/>
                    <a:pt x="81" y="35"/>
                  </a:cubicBezTo>
                  <a:cubicBezTo>
                    <a:pt x="81" y="35"/>
                    <a:pt x="81" y="35"/>
                    <a:pt x="81" y="35"/>
                  </a:cubicBezTo>
                  <a:cubicBezTo>
                    <a:pt x="81" y="34"/>
                    <a:pt x="81" y="34"/>
                    <a:pt x="81" y="33"/>
                  </a:cubicBezTo>
                  <a:cubicBezTo>
                    <a:pt x="81" y="33"/>
                    <a:pt x="81" y="33"/>
                    <a:pt x="81" y="33"/>
                  </a:cubicBezTo>
                  <a:close/>
                </a:path>
              </a:pathLst>
            </a:custGeom>
            <a:solidFill>
              <a:srgbClr val="E8E8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2" name="íŝḻïḍe">
              <a:extLst>
                <a:ext uri="{FF2B5EF4-FFF2-40B4-BE49-F238E27FC236}">
                  <a16:creationId xmlns:a16="http://schemas.microsoft.com/office/drawing/2014/main" id="{656892D2-1D79-465B-816C-438BECA3D5C5}"/>
                </a:ext>
              </a:extLst>
            </p:cNvPr>
            <p:cNvSpPr/>
            <p:nvPr userDrawn="1"/>
          </p:nvSpPr>
          <p:spPr bwMode="auto">
            <a:xfrm>
              <a:off x="5545138" y="4044950"/>
              <a:ext cx="131763" cy="149225"/>
            </a:xfrm>
            <a:custGeom>
              <a:avLst/>
              <a:gdLst>
                <a:gd name="T0" fmla="*/ 0 w 78"/>
                <a:gd name="T1" fmla="*/ 47 h 89"/>
                <a:gd name="T2" fmla="*/ 0 w 78"/>
                <a:gd name="T3" fmla="*/ 49 h 89"/>
                <a:gd name="T4" fmla="*/ 1 w 78"/>
                <a:gd name="T5" fmla="*/ 54 h 89"/>
                <a:gd name="T6" fmla="*/ 1 w 78"/>
                <a:gd name="T7" fmla="*/ 54 h 89"/>
                <a:gd name="T8" fmla="*/ 2 w 78"/>
                <a:gd name="T9" fmla="*/ 58 h 89"/>
                <a:gd name="T10" fmla="*/ 3 w 78"/>
                <a:gd name="T11" fmla="*/ 60 h 89"/>
                <a:gd name="T12" fmla="*/ 5 w 78"/>
                <a:gd name="T13" fmla="*/ 64 h 89"/>
                <a:gd name="T14" fmla="*/ 5 w 78"/>
                <a:gd name="T15" fmla="*/ 64 h 89"/>
                <a:gd name="T16" fmla="*/ 8 w 78"/>
                <a:gd name="T17" fmla="*/ 68 h 89"/>
                <a:gd name="T18" fmla="*/ 8 w 78"/>
                <a:gd name="T19" fmla="*/ 69 h 89"/>
                <a:gd name="T20" fmla="*/ 12 w 78"/>
                <a:gd name="T21" fmla="*/ 73 h 89"/>
                <a:gd name="T22" fmla="*/ 12 w 78"/>
                <a:gd name="T23" fmla="*/ 73 h 89"/>
                <a:gd name="T24" fmla="*/ 16 w 78"/>
                <a:gd name="T25" fmla="*/ 76 h 89"/>
                <a:gd name="T26" fmla="*/ 17 w 78"/>
                <a:gd name="T27" fmla="*/ 77 h 89"/>
                <a:gd name="T28" fmla="*/ 22 w 78"/>
                <a:gd name="T29" fmla="*/ 80 h 89"/>
                <a:gd name="T30" fmla="*/ 72 w 78"/>
                <a:gd name="T31" fmla="*/ 66 h 89"/>
                <a:gd name="T32" fmla="*/ 72 w 78"/>
                <a:gd name="T33" fmla="*/ 66 h 89"/>
                <a:gd name="T34" fmla="*/ 72 w 78"/>
                <a:gd name="T35" fmla="*/ 66 h 89"/>
                <a:gd name="T36" fmla="*/ 73 w 78"/>
                <a:gd name="T37" fmla="*/ 64 h 89"/>
                <a:gd name="T38" fmla="*/ 73 w 78"/>
                <a:gd name="T39" fmla="*/ 64 h 89"/>
                <a:gd name="T40" fmla="*/ 73 w 78"/>
                <a:gd name="T41" fmla="*/ 64 h 89"/>
                <a:gd name="T42" fmla="*/ 73 w 78"/>
                <a:gd name="T43" fmla="*/ 63 h 89"/>
                <a:gd name="T44" fmla="*/ 73 w 78"/>
                <a:gd name="T45" fmla="*/ 63 h 89"/>
                <a:gd name="T46" fmla="*/ 74 w 78"/>
                <a:gd name="T47" fmla="*/ 63 h 89"/>
                <a:gd name="T48" fmla="*/ 74 w 78"/>
                <a:gd name="T49" fmla="*/ 62 h 89"/>
                <a:gd name="T50" fmla="*/ 75 w 78"/>
                <a:gd name="T51" fmla="*/ 59 h 89"/>
                <a:gd name="T52" fmla="*/ 75 w 78"/>
                <a:gd name="T53" fmla="*/ 59 h 89"/>
                <a:gd name="T54" fmla="*/ 76 w 78"/>
                <a:gd name="T55" fmla="*/ 58 h 89"/>
                <a:gd name="T56" fmla="*/ 76 w 78"/>
                <a:gd name="T57" fmla="*/ 57 h 89"/>
                <a:gd name="T58" fmla="*/ 77 w 78"/>
                <a:gd name="T59" fmla="*/ 55 h 89"/>
                <a:gd name="T60" fmla="*/ 77 w 78"/>
                <a:gd name="T61" fmla="*/ 54 h 89"/>
                <a:gd name="T62" fmla="*/ 77 w 78"/>
                <a:gd name="T63" fmla="*/ 51 h 89"/>
                <a:gd name="T64" fmla="*/ 78 w 78"/>
                <a:gd name="T65" fmla="*/ 50 h 89"/>
                <a:gd name="T66" fmla="*/ 78 w 78"/>
                <a:gd name="T67" fmla="*/ 47 h 89"/>
                <a:gd name="T68" fmla="*/ 78 w 78"/>
                <a:gd name="T69" fmla="*/ 46 h 89"/>
                <a:gd name="T70" fmla="*/ 78 w 78"/>
                <a:gd name="T71" fmla="*/ 44 h 89"/>
                <a:gd name="T72" fmla="*/ 78 w 78"/>
                <a:gd name="T73" fmla="*/ 42 h 89"/>
                <a:gd name="T74" fmla="*/ 78 w 78"/>
                <a:gd name="T75" fmla="*/ 40 h 89"/>
                <a:gd name="T76" fmla="*/ 78 w 78"/>
                <a:gd name="T77" fmla="*/ 39 h 89"/>
                <a:gd name="T78" fmla="*/ 78 w 78"/>
                <a:gd name="T79" fmla="*/ 38 h 89"/>
                <a:gd name="T80" fmla="*/ 78 w 78"/>
                <a:gd name="T81" fmla="*/ 38 h 89"/>
                <a:gd name="T82" fmla="*/ 56 w 78"/>
                <a:gd name="T83" fmla="*/ 9 h 89"/>
                <a:gd name="T84" fmla="*/ 5 w 78"/>
                <a:gd name="T85" fmla="*/ 25 h 89"/>
                <a:gd name="T86" fmla="*/ 5 w 78"/>
                <a:gd name="T87" fmla="*/ 25 h 89"/>
                <a:gd name="T88" fmla="*/ 4 w 78"/>
                <a:gd name="T89" fmla="*/ 27 h 89"/>
                <a:gd name="T90" fmla="*/ 3 w 78"/>
                <a:gd name="T91" fmla="*/ 28 h 89"/>
                <a:gd name="T92" fmla="*/ 3 w 78"/>
                <a:gd name="T93" fmla="*/ 29 h 89"/>
                <a:gd name="T94" fmla="*/ 3 w 78"/>
                <a:gd name="T95" fmla="*/ 29 h 89"/>
                <a:gd name="T96" fmla="*/ 3 w 78"/>
                <a:gd name="T97" fmla="*/ 30 h 89"/>
                <a:gd name="T98" fmla="*/ 3 w 78"/>
                <a:gd name="T99" fmla="*/ 30 h 89"/>
                <a:gd name="T100" fmla="*/ 3 w 78"/>
                <a:gd name="T101" fmla="*/ 30 h 89"/>
                <a:gd name="T102" fmla="*/ 2 w 78"/>
                <a:gd name="T103" fmla="*/ 32 h 89"/>
                <a:gd name="T104" fmla="*/ 2 w 78"/>
                <a:gd name="T105" fmla="*/ 32 h 89"/>
                <a:gd name="T106" fmla="*/ 2 w 78"/>
                <a:gd name="T107" fmla="*/ 32 h 89"/>
                <a:gd name="T108" fmla="*/ 0 w 78"/>
                <a:gd name="T109" fmla="*/ 42 h 89"/>
                <a:gd name="T110" fmla="*/ 0 w 78"/>
                <a:gd name="T111" fmla="*/ 42 h 89"/>
                <a:gd name="T112" fmla="*/ 0 w 78"/>
                <a:gd name="T113" fmla="*/ 42 h 89"/>
                <a:gd name="T114" fmla="*/ 0 w 78"/>
                <a:gd name="T115" fmla="*/ 47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78" h="89">
                  <a:moveTo>
                    <a:pt x="0" y="47"/>
                  </a:moveTo>
                  <a:cubicBezTo>
                    <a:pt x="0" y="48"/>
                    <a:pt x="0" y="48"/>
                    <a:pt x="0" y="49"/>
                  </a:cubicBezTo>
                  <a:cubicBezTo>
                    <a:pt x="0" y="50"/>
                    <a:pt x="0" y="52"/>
                    <a:pt x="1" y="54"/>
                  </a:cubicBezTo>
                  <a:cubicBezTo>
                    <a:pt x="1" y="54"/>
                    <a:pt x="1" y="54"/>
                    <a:pt x="1" y="54"/>
                  </a:cubicBezTo>
                  <a:cubicBezTo>
                    <a:pt x="1" y="55"/>
                    <a:pt x="2" y="57"/>
                    <a:pt x="2" y="58"/>
                  </a:cubicBezTo>
                  <a:cubicBezTo>
                    <a:pt x="2" y="59"/>
                    <a:pt x="2" y="59"/>
                    <a:pt x="3" y="60"/>
                  </a:cubicBezTo>
                  <a:cubicBezTo>
                    <a:pt x="3" y="61"/>
                    <a:pt x="4" y="63"/>
                    <a:pt x="5" y="64"/>
                  </a:cubicBezTo>
                  <a:cubicBezTo>
                    <a:pt x="5" y="64"/>
                    <a:pt x="5" y="64"/>
                    <a:pt x="5" y="64"/>
                  </a:cubicBezTo>
                  <a:cubicBezTo>
                    <a:pt x="6" y="66"/>
                    <a:pt x="7" y="67"/>
                    <a:pt x="8" y="68"/>
                  </a:cubicBezTo>
                  <a:cubicBezTo>
                    <a:pt x="8" y="69"/>
                    <a:pt x="8" y="69"/>
                    <a:pt x="8" y="69"/>
                  </a:cubicBezTo>
                  <a:cubicBezTo>
                    <a:pt x="9" y="71"/>
                    <a:pt x="11" y="72"/>
                    <a:pt x="12" y="73"/>
                  </a:cubicBezTo>
                  <a:cubicBezTo>
                    <a:pt x="12" y="73"/>
                    <a:pt x="12" y="73"/>
                    <a:pt x="12" y="73"/>
                  </a:cubicBezTo>
                  <a:cubicBezTo>
                    <a:pt x="13" y="74"/>
                    <a:pt x="14" y="75"/>
                    <a:pt x="16" y="76"/>
                  </a:cubicBezTo>
                  <a:cubicBezTo>
                    <a:pt x="16" y="77"/>
                    <a:pt x="17" y="77"/>
                    <a:pt x="17" y="77"/>
                  </a:cubicBezTo>
                  <a:cubicBezTo>
                    <a:pt x="18" y="78"/>
                    <a:pt x="20" y="79"/>
                    <a:pt x="22" y="80"/>
                  </a:cubicBezTo>
                  <a:cubicBezTo>
                    <a:pt x="40" y="89"/>
                    <a:pt x="61" y="82"/>
                    <a:pt x="72" y="66"/>
                  </a:cubicBezTo>
                  <a:cubicBezTo>
                    <a:pt x="72" y="66"/>
                    <a:pt x="72" y="66"/>
                    <a:pt x="72" y="66"/>
                  </a:cubicBezTo>
                  <a:cubicBezTo>
                    <a:pt x="72" y="66"/>
                    <a:pt x="72" y="66"/>
                    <a:pt x="72" y="66"/>
                  </a:cubicBezTo>
                  <a:cubicBezTo>
                    <a:pt x="72" y="65"/>
                    <a:pt x="73" y="65"/>
                    <a:pt x="73" y="64"/>
                  </a:cubicBezTo>
                  <a:cubicBezTo>
                    <a:pt x="73" y="64"/>
                    <a:pt x="73" y="64"/>
                    <a:pt x="73" y="64"/>
                  </a:cubicBezTo>
                  <a:cubicBezTo>
                    <a:pt x="73" y="64"/>
                    <a:pt x="73" y="64"/>
                    <a:pt x="73" y="64"/>
                  </a:cubicBezTo>
                  <a:cubicBezTo>
                    <a:pt x="73" y="63"/>
                    <a:pt x="73" y="63"/>
                    <a:pt x="73" y="63"/>
                  </a:cubicBezTo>
                  <a:cubicBezTo>
                    <a:pt x="73" y="63"/>
                    <a:pt x="73" y="63"/>
                    <a:pt x="73" y="63"/>
                  </a:cubicBezTo>
                  <a:cubicBezTo>
                    <a:pt x="74" y="63"/>
                    <a:pt x="74" y="63"/>
                    <a:pt x="74" y="63"/>
                  </a:cubicBezTo>
                  <a:cubicBezTo>
                    <a:pt x="74" y="63"/>
                    <a:pt x="74" y="62"/>
                    <a:pt x="74" y="62"/>
                  </a:cubicBezTo>
                  <a:cubicBezTo>
                    <a:pt x="75" y="61"/>
                    <a:pt x="75" y="60"/>
                    <a:pt x="75" y="59"/>
                  </a:cubicBezTo>
                  <a:cubicBezTo>
                    <a:pt x="75" y="59"/>
                    <a:pt x="75" y="59"/>
                    <a:pt x="75" y="59"/>
                  </a:cubicBezTo>
                  <a:cubicBezTo>
                    <a:pt x="76" y="58"/>
                    <a:pt x="76" y="58"/>
                    <a:pt x="76" y="58"/>
                  </a:cubicBezTo>
                  <a:cubicBezTo>
                    <a:pt x="76" y="58"/>
                    <a:pt x="76" y="58"/>
                    <a:pt x="76" y="57"/>
                  </a:cubicBezTo>
                  <a:cubicBezTo>
                    <a:pt x="76" y="57"/>
                    <a:pt x="76" y="56"/>
                    <a:pt x="77" y="55"/>
                  </a:cubicBezTo>
                  <a:cubicBezTo>
                    <a:pt x="77" y="55"/>
                    <a:pt x="77" y="54"/>
                    <a:pt x="77" y="54"/>
                  </a:cubicBezTo>
                  <a:cubicBezTo>
                    <a:pt x="77" y="53"/>
                    <a:pt x="77" y="52"/>
                    <a:pt x="77" y="51"/>
                  </a:cubicBezTo>
                  <a:cubicBezTo>
                    <a:pt x="78" y="51"/>
                    <a:pt x="78" y="51"/>
                    <a:pt x="78" y="50"/>
                  </a:cubicBezTo>
                  <a:cubicBezTo>
                    <a:pt x="78" y="49"/>
                    <a:pt x="78" y="48"/>
                    <a:pt x="78" y="47"/>
                  </a:cubicBezTo>
                  <a:cubicBezTo>
                    <a:pt x="78" y="47"/>
                    <a:pt x="78" y="46"/>
                    <a:pt x="78" y="46"/>
                  </a:cubicBezTo>
                  <a:cubicBezTo>
                    <a:pt x="78" y="45"/>
                    <a:pt x="78" y="44"/>
                    <a:pt x="78" y="44"/>
                  </a:cubicBezTo>
                  <a:cubicBezTo>
                    <a:pt x="78" y="43"/>
                    <a:pt x="78" y="42"/>
                    <a:pt x="78" y="42"/>
                  </a:cubicBezTo>
                  <a:cubicBezTo>
                    <a:pt x="78" y="41"/>
                    <a:pt x="78" y="41"/>
                    <a:pt x="78" y="40"/>
                  </a:cubicBezTo>
                  <a:cubicBezTo>
                    <a:pt x="78" y="40"/>
                    <a:pt x="78" y="39"/>
                    <a:pt x="78" y="39"/>
                  </a:cubicBezTo>
                  <a:cubicBezTo>
                    <a:pt x="78" y="38"/>
                    <a:pt x="78" y="38"/>
                    <a:pt x="78" y="38"/>
                  </a:cubicBezTo>
                  <a:cubicBezTo>
                    <a:pt x="78" y="38"/>
                    <a:pt x="78" y="38"/>
                    <a:pt x="78" y="38"/>
                  </a:cubicBezTo>
                  <a:cubicBezTo>
                    <a:pt x="76" y="26"/>
                    <a:pt x="68" y="15"/>
                    <a:pt x="56" y="9"/>
                  </a:cubicBezTo>
                  <a:cubicBezTo>
                    <a:pt x="37" y="0"/>
                    <a:pt x="15" y="7"/>
                    <a:pt x="5" y="25"/>
                  </a:cubicBezTo>
                  <a:cubicBezTo>
                    <a:pt x="5" y="25"/>
                    <a:pt x="5" y="25"/>
                    <a:pt x="5" y="25"/>
                  </a:cubicBezTo>
                  <a:cubicBezTo>
                    <a:pt x="4" y="26"/>
                    <a:pt x="4" y="27"/>
                    <a:pt x="4" y="27"/>
                  </a:cubicBezTo>
                  <a:cubicBezTo>
                    <a:pt x="3" y="28"/>
                    <a:pt x="3" y="28"/>
                    <a:pt x="3" y="28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3" y="30"/>
                    <a:pt x="3" y="30"/>
                    <a:pt x="3" y="30"/>
                  </a:cubicBezTo>
                  <a:cubicBezTo>
                    <a:pt x="3" y="30"/>
                    <a:pt x="3" y="30"/>
                    <a:pt x="3" y="30"/>
                  </a:cubicBezTo>
                  <a:cubicBezTo>
                    <a:pt x="3" y="30"/>
                    <a:pt x="3" y="30"/>
                    <a:pt x="3" y="30"/>
                  </a:cubicBezTo>
                  <a:cubicBezTo>
                    <a:pt x="2" y="30"/>
                    <a:pt x="2" y="31"/>
                    <a:pt x="2" y="32"/>
                  </a:cubicBezTo>
                  <a:cubicBezTo>
                    <a:pt x="2" y="32"/>
                    <a:pt x="2" y="32"/>
                    <a:pt x="2" y="32"/>
                  </a:cubicBezTo>
                  <a:cubicBezTo>
                    <a:pt x="2" y="32"/>
                    <a:pt x="2" y="32"/>
                    <a:pt x="2" y="32"/>
                  </a:cubicBezTo>
                  <a:cubicBezTo>
                    <a:pt x="1" y="35"/>
                    <a:pt x="0" y="39"/>
                    <a:pt x="0" y="42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0" y="44"/>
                    <a:pt x="0" y="46"/>
                    <a:pt x="0" y="47"/>
                  </a:cubicBezTo>
                  <a:close/>
                </a:path>
              </a:pathLst>
            </a:custGeom>
            <a:solidFill>
              <a:srgbClr val="E8E8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3" name="iśļiḍè">
              <a:extLst>
                <a:ext uri="{FF2B5EF4-FFF2-40B4-BE49-F238E27FC236}">
                  <a16:creationId xmlns:a16="http://schemas.microsoft.com/office/drawing/2014/main" id="{9D745FA0-7B3B-4988-89BB-D226427DC025}"/>
                </a:ext>
              </a:extLst>
            </p:cNvPr>
            <p:cNvSpPr/>
            <p:nvPr userDrawn="1"/>
          </p:nvSpPr>
          <p:spPr bwMode="auto">
            <a:xfrm>
              <a:off x="3998913" y="1552575"/>
              <a:ext cx="1933575" cy="3171825"/>
            </a:xfrm>
            <a:custGeom>
              <a:avLst/>
              <a:gdLst>
                <a:gd name="T0" fmla="*/ 1142 w 1143"/>
                <a:gd name="T1" fmla="*/ 1758 h 1879"/>
                <a:gd name="T2" fmla="*/ 1059 w 1143"/>
                <a:gd name="T3" fmla="*/ 1685 h 1879"/>
                <a:gd name="T4" fmla="*/ 970 w 1143"/>
                <a:gd name="T5" fmla="*/ 1719 h 1879"/>
                <a:gd name="T6" fmla="*/ 945 w 1143"/>
                <a:gd name="T7" fmla="*/ 1715 h 1879"/>
                <a:gd name="T8" fmla="*/ 867 w 1143"/>
                <a:gd name="T9" fmla="*/ 1712 h 1879"/>
                <a:gd name="T10" fmla="*/ 846 w 1143"/>
                <a:gd name="T11" fmla="*/ 1714 h 1879"/>
                <a:gd name="T12" fmla="*/ 824 w 1143"/>
                <a:gd name="T13" fmla="*/ 1718 h 1879"/>
                <a:gd name="T14" fmla="*/ 802 w 1143"/>
                <a:gd name="T15" fmla="*/ 1723 h 1879"/>
                <a:gd name="T16" fmla="*/ 741 w 1143"/>
                <a:gd name="T17" fmla="*/ 1744 h 1879"/>
                <a:gd name="T18" fmla="*/ 719 w 1143"/>
                <a:gd name="T19" fmla="*/ 1753 h 1879"/>
                <a:gd name="T20" fmla="*/ 697 w 1143"/>
                <a:gd name="T21" fmla="*/ 1763 h 1879"/>
                <a:gd name="T22" fmla="*/ 674 w 1143"/>
                <a:gd name="T23" fmla="*/ 1774 h 1879"/>
                <a:gd name="T24" fmla="*/ 646 w 1143"/>
                <a:gd name="T25" fmla="*/ 1787 h 1879"/>
                <a:gd name="T26" fmla="*/ 133 w 1143"/>
                <a:gd name="T27" fmla="*/ 1200 h 1879"/>
                <a:gd name="T28" fmla="*/ 147 w 1143"/>
                <a:gd name="T29" fmla="*/ 1154 h 1879"/>
                <a:gd name="T30" fmla="*/ 161 w 1143"/>
                <a:gd name="T31" fmla="*/ 1108 h 1879"/>
                <a:gd name="T32" fmla="*/ 176 w 1143"/>
                <a:gd name="T33" fmla="*/ 1062 h 1879"/>
                <a:gd name="T34" fmla="*/ 192 w 1143"/>
                <a:gd name="T35" fmla="*/ 1017 h 1879"/>
                <a:gd name="T36" fmla="*/ 208 w 1143"/>
                <a:gd name="T37" fmla="*/ 973 h 1879"/>
                <a:gd name="T38" fmla="*/ 226 w 1143"/>
                <a:gd name="T39" fmla="*/ 929 h 1879"/>
                <a:gd name="T40" fmla="*/ 244 w 1143"/>
                <a:gd name="T41" fmla="*/ 886 h 1879"/>
                <a:gd name="T42" fmla="*/ 607 w 1143"/>
                <a:gd name="T43" fmla="*/ 718 h 1879"/>
                <a:gd name="T44" fmla="*/ 622 w 1143"/>
                <a:gd name="T45" fmla="*/ 665 h 1879"/>
                <a:gd name="T46" fmla="*/ 677 w 1143"/>
                <a:gd name="T47" fmla="*/ 126 h 1879"/>
                <a:gd name="T48" fmla="*/ 678 w 1143"/>
                <a:gd name="T49" fmla="*/ 120 h 1879"/>
                <a:gd name="T50" fmla="*/ 677 w 1143"/>
                <a:gd name="T51" fmla="*/ 112 h 1879"/>
                <a:gd name="T52" fmla="*/ 639 w 1143"/>
                <a:gd name="T53" fmla="*/ 81 h 1879"/>
                <a:gd name="T54" fmla="*/ 595 w 1143"/>
                <a:gd name="T55" fmla="*/ 131 h 1879"/>
                <a:gd name="T56" fmla="*/ 599 w 1143"/>
                <a:gd name="T57" fmla="*/ 137 h 1879"/>
                <a:gd name="T58" fmla="*/ 606 w 1143"/>
                <a:gd name="T59" fmla="*/ 142 h 1879"/>
                <a:gd name="T60" fmla="*/ 651 w 1143"/>
                <a:gd name="T61" fmla="*/ 156 h 1879"/>
                <a:gd name="T62" fmla="*/ 662 w 1143"/>
                <a:gd name="T63" fmla="*/ 150 h 1879"/>
                <a:gd name="T64" fmla="*/ 586 w 1143"/>
                <a:gd name="T65" fmla="*/ 652 h 1879"/>
                <a:gd name="T66" fmla="*/ 94 w 1143"/>
                <a:gd name="T67" fmla="*/ 473 h 1879"/>
                <a:gd name="T68" fmla="*/ 347 w 1143"/>
                <a:gd name="T69" fmla="*/ 48 h 1879"/>
                <a:gd name="T70" fmla="*/ 351 w 1143"/>
                <a:gd name="T71" fmla="*/ 58 h 1879"/>
                <a:gd name="T72" fmla="*/ 357 w 1143"/>
                <a:gd name="T73" fmla="*/ 65 h 1879"/>
                <a:gd name="T74" fmla="*/ 365 w 1143"/>
                <a:gd name="T75" fmla="*/ 70 h 1879"/>
                <a:gd name="T76" fmla="*/ 401 w 1143"/>
                <a:gd name="T77" fmla="*/ 79 h 1879"/>
                <a:gd name="T78" fmla="*/ 430 w 1143"/>
                <a:gd name="T79" fmla="*/ 56 h 1879"/>
                <a:gd name="T80" fmla="*/ 433 w 1143"/>
                <a:gd name="T81" fmla="*/ 41 h 1879"/>
                <a:gd name="T82" fmla="*/ 433 w 1143"/>
                <a:gd name="T83" fmla="*/ 35 h 1879"/>
                <a:gd name="T84" fmla="*/ 431 w 1143"/>
                <a:gd name="T85" fmla="*/ 29 h 1879"/>
                <a:gd name="T86" fmla="*/ 428 w 1143"/>
                <a:gd name="T87" fmla="*/ 23 h 1879"/>
                <a:gd name="T88" fmla="*/ 388 w 1143"/>
                <a:gd name="T89" fmla="*/ 4 h 1879"/>
                <a:gd name="T90" fmla="*/ 211 w 1143"/>
                <a:gd name="T91" fmla="*/ 98 h 1879"/>
                <a:gd name="T92" fmla="*/ 65 w 1143"/>
                <a:gd name="T93" fmla="*/ 450 h 1879"/>
                <a:gd name="T94" fmla="*/ 55 w 1143"/>
                <a:gd name="T95" fmla="*/ 710 h 1879"/>
                <a:gd name="T96" fmla="*/ 263 w 1143"/>
                <a:gd name="T97" fmla="*/ 1845 h 1879"/>
                <a:gd name="T98" fmla="*/ 971 w 1143"/>
                <a:gd name="T99" fmla="*/ 1769 h 1879"/>
                <a:gd name="T100" fmla="*/ 1012 w 1143"/>
                <a:gd name="T101" fmla="*/ 1844 h 1879"/>
                <a:gd name="T102" fmla="*/ 1028 w 1143"/>
                <a:gd name="T103" fmla="*/ 1852 h 1879"/>
                <a:gd name="T104" fmla="*/ 1045 w 1143"/>
                <a:gd name="T105" fmla="*/ 1856 h 18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143" h="1879">
                  <a:moveTo>
                    <a:pt x="1143" y="1773"/>
                  </a:moveTo>
                  <a:cubicBezTo>
                    <a:pt x="1143" y="1770"/>
                    <a:pt x="1143" y="1768"/>
                    <a:pt x="1142" y="1765"/>
                  </a:cubicBezTo>
                  <a:cubicBezTo>
                    <a:pt x="1142" y="1764"/>
                    <a:pt x="1142" y="1764"/>
                    <a:pt x="1142" y="1763"/>
                  </a:cubicBezTo>
                  <a:cubicBezTo>
                    <a:pt x="1142" y="1761"/>
                    <a:pt x="1142" y="1759"/>
                    <a:pt x="1142" y="1758"/>
                  </a:cubicBezTo>
                  <a:cubicBezTo>
                    <a:pt x="1141" y="1756"/>
                    <a:pt x="1141" y="1754"/>
                    <a:pt x="1141" y="1752"/>
                  </a:cubicBezTo>
                  <a:cubicBezTo>
                    <a:pt x="1140" y="1752"/>
                    <a:pt x="1140" y="1751"/>
                    <a:pt x="1140" y="1751"/>
                  </a:cubicBezTo>
                  <a:cubicBezTo>
                    <a:pt x="1140" y="1751"/>
                    <a:pt x="1140" y="1751"/>
                    <a:pt x="1140" y="1751"/>
                  </a:cubicBezTo>
                  <a:cubicBezTo>
                    <a:pt x="1131" y="1714"/>
                    <a:pt x="1099" y="1686"/>
                    <a:pt x="1059" y="1685"/>
                  </a:cubicBezTo>
                  <a:cubicBezTo>
                    <a:pt x="1028" y="1684"/>
                    <a:pt x="1001" y="1699"/>
                    <a:pt x="985" y="1723"/>
                  </a:cubicBezTo>
                  <a:cubicBezTo>
                    <a:pt x="984" y="1723"/>
                    <a:pt x="983" y="1723"/>
                    <a:pt x="982" y="1723"/>
                  </a:cubicBezTo>
                  <a:cubicBezTo>
                    <a:pt x="982" y="1722"/>
                    <a:pt x="981" y="1722"/>
                    <a:pt x="980" y="1722"/>
                  </a:cubicBezTo>
                  <a:cubicBezTo>
                    <a:pt x="977" y="1721"/>
                    <a:pt x="973" y="1720"/>
                    <a:pt x="970" y="1719"/>
                  </a:cubicBezTo>
                  <a:cubicBezTo>
                    <a:pt x="969" y="1719"/>
                    <a:pt x="968" y="1719"/>
                    <a:pt x="968" y="1719"/>
                  </a:cubicBezTo>
                  <a:cubicBezTo>
                    <a:pt x="964" y="1718"/>
                    <a:pt x="961" y="1717"/>
                    <a:pt x="958" y="1717"/>
                  </a:cubicBezTo>
                  <a:cubicBezTo>
                    <a:pt x="957" y="1717"/>
                    <a:pt x="956" y="1716"/>
                    <a:pt x="955" y="1716"/>
                  </a:cubicBezTo>
                  <a:cubicBezTo>
                    <a:pt x="952" y="1716"/>
                    <a:pt x="949" y="1715"/>
                    <a:pt x="945" y="1715"/>
                  </a:cubicBezTo>
                  <a:cubicBezTo>
                    <a:pt x="945" y="1714"/>
                    <a:pt x="944" y="1714"/>
                    <a:pt x="943" y="1714"/>
                  </a:cubicBezTo>
                  <a:cubicBezTo>
                    <a:pt x="940" y="1714"/>
                    <a:pt x="937" y="1713"/>
                    <a:pt x="933" y="1713"/>
                  </a:cubicBezTo>
                  <a:cubicBezTo>
                    <a:pt x="932" y="1713"/>
                    <a:pt x="932" y="1713"/>
                    <a:pt x="932" y="1713"/>
                  </a:cubicBezTo>
                  <a:cubicBezTo>
                    <a:pt x="910" y="1710"/>
                    <a:pt x="888" y="1710"/>
                    <a:pt x="867" y="1712"/>
                  </a:cubicBezTo>
                  <a:cubicBezTo>
                    <a:pt x="866" y="1712"/>
                    <a:pt x="866" y="1712"/>
                    <a:pt x="866" y="1712"/>
                  </a:cubicBezTo>
                  <a:cubicBezTo>
                    <a:pt x="863" y="1712"/>
                    <a:pt x="859" y="1712"/>
                    <a:pt x="856" y="1713"/>
                  </a:cubicBezTo>
                  <a:cubicBezTo>
                    <a:pt x="856" y="1713"/>
                    <a:pt x="855" y="1713"/>
                    <a:pt x="855" y="1713"/>
                  </a:cubicBezTo>
                  <a:cubicBezTo>
                    <a:pt x="852" y="1713"/>
                    <a:pt x="849" y="1714"/>
                    <a:pt x="846" y="1714"/>
                  </a:cubicBezTo>
                  <a:cubicBezTo>
                    <a:pt x="845" y="1714"/>
                    <a:pt x="844" y="1714"/>
                    <a:pt x="843" y="1714"/>
                  </a:cubicBezTo>
                  <a:cubicBezTo>
                    <a:pt x="841" y="1715"/>
                    <a:pt x="838" y="1715"/>
                    <a:pt x="835" y="1716"/>
                  </a:cubicBezTo>
                  <a:cubicBezTo>
                    <a:pt x="834" y="1716"/>
                    <a:pt x="833" y="1716"/>
                    <a:pt x="833" y="1716"/>
                  </a:cubicBezTo>
                  <a:cubicBezTo>
                    <a:pt x="830" y="1717"/>
                    <a:pt x="827" y="1718"/>
                    <a:pt x="824" y="1718"/>
                  </a:cubicBezTo>
                  <a:cubicBezTo>
                    <a:pt x="823" y="1718"/>
                    <a:pt x="823" y="1718"/>
                    <a:pt x="822" y="1719"/>
                  </a:cubicBezTo>
                  <a:cubicBezTo>
                    <a:pt x="819" y="1719"/>
                    <a:pt x="816" y="1720"/>
                    <a:pt x="813" y="1721"/>
                  </a:cubicBezTo>
                  <a:cubicBezTo>
                    <a:pt x="813" y="1721"/>
                    <a:pt x="812" y="1721"/>
                    <a:pt x="811" y="1721"/>
                  </a:cubicBezTo>
                  <a:cubicBezTo>
                    <a:pt x="808" y="1722"/>
                    <a:pt x="805" y="1723"/>
                    <a:pt x="802" y="1723"/>
                  </a:cubicBezTo>
                  <a:cubicBezTo>
                    <a:pt x="802" y="1724"/>
                    <a:pt x="802" y="1724"/>
                    <a:pt x="801" y="1724"/>
                  </a:cubicBezTo>
                  <a:cubicBezTo>
                    <a:pt x="785" y="1728"/>
                    <a:pt x="768" y="1734"/>
                    <a:pt x="752" y="1740"/>
                  </a:cubicBezTo>
                  <a:cubicBezTo>
                    <a:pt x="751" y="1741"/>
                    <a:pt x="750" y="1741"/>
                    <a:pt x="749" y="1741"/>
                  </a:cubicBezTo>
                  <a:cubicBezTo>
                    <a:pt x="746" y="1742"/>
                    <a:pt x="744" y="1743"/>
                    <a:pt x="741" y="1744"/>
                  </a:cubicBezTo>
                  <a:cubicBezTo>
                    <a:pt x="740" y="1745"/>
                    <a:pt x="739" y="1745"/>
                    <a:pt x="738" y="1746"/>
                  </a:cubicBezTo>
                  <a:cubicBezTo>
                    <a:pt x="735" y="1747"/>
                    <a:pt x="733" y="1748"/>
                    <a:pt x="731" y="1749"/>
                  </a:cubicBezTo>
                  <a:cubicBezTo>
                    <a:pt x="729" y="1749"/>
                    <a:pt x="728" y="1750"/>
                    <a:pt x="726" y="1750"/>
                  </a:cubicBezTo>
                  <a:cubicBezTo>
                    <a:pt x="724" y="1751"/>
                    <a:pt x="722" y="1752"/>
                    <a:pt x="719" y="1753"/>
                  </a:cubicBezTo>
                  <a:cubicBezTo>
                    <a:pt x="718" y="1754"/>
                    <a:pt x="716" y="1755"/>
                    <a:pt x="715" y="1755"/>
                  </a:cubicBezTo>
                  <a:cubicBezTo>
                    <a:pt x="713" y="1756"/>
                    <a:pt x="710" y="1757"/>
                    <a:pt x="708" y="1758"/>
                  </a:cubicBezTo>
                  <a:cubicBezTo>
                    <a:pt x="707" y="1759"/>
                    <a:pt x="705" y="1760"/>
                    <a:pt x="703" y="1760"/>
                  </a:cubicBezTo>
                  <a:cubicBezTo>
                    <a:pt x="701" y="1761"/>
                    <a:pt x="699" y="1762"/>
                    <a:pt x="697" y="1763"/>
                  </a:cubicBezTo>
                  <a:cubicBezTo>
                    <a:pt x="695" y="1764"/>
                    <a:pt x="693" y="1765"/>
                    <a:pt x="691" y="1766"/>
                  </a:cubicBezTo>
                  <a:cubicBezTo>
                    <a:pt x="689" y="1767"/>
                    <a:pt x="687" y="1768"/>
                    <a:pt x="685" y="1768"/>
                  </a:cubicBezTo>
                  <a:cubicBezTo>
                    <a:pt x="683" y="1769"/>
                    <a:pt x="681" y="1770"/>
                    <a:pt x="679" y="1771"/>
                  </a:cubicBezTo>
                  <a:cubicBezTo>
                    <a:pt x="677" y="1772"/>
                    <a:pt x="675" y="1773"/>
                    <a:pt x="674" y="1774"/>
                  </a:cubicBezTo>
                  <a:cubicBezTo>
                    <a:pt x="671" y="1775"/>
                    <a:pt x="669" y="1776"/>
                    <a:pt x="666" y="1777"/>
                  </a:cubicBezTo>
                  <a:cubicBezTo>
                    <a:pt x="665" y="1778"/>
                    <a:pt x="663" y="1779"/>
                    <a:pt x="662" y="1779"/>
                  </a:cubicBezTo>
                  <a:cubicBezTo>
                    <a:pt x="658" y="1781"/>
                    <a:pt x="654" y="1783"/>
                    <a:pt x="650" y="1785"/>
                  </a:cubicBezTo>
                  <a:cubicBezTo>
                    <a:pt x="646" y="1787"/>
                    <a:pt x="646" y="1787"/>
                    <a:pt x="646" y="1787"/>
                  </a:cubicBezTo>
                  <a:cubicBezTo>
                    <a:pt x="535" y="1838"/>
                    <a:pt x="392" y="1843"/>
                    <a:pt x="281" y="1800"/>
                  </a:cubicBezTo>
                  <a:cubicBezTo>
                    <a:pt x="201" y="1769"/>
                    <a:pt x="142" y="1715"/>
                    <a:pt x="112" y="1645"/>
                  </a:cubicBezTo>
                  <a:cubicBezTo>
                    <a:pt x="58" y="1518"/>
                    <a:pt x="92" y="1361"/>
                    <a:pt x="127" y="1223"/>
                  </a:cubicBezTo>
                  <a:cubicBezTo>
                    <a:pt x="129" y="1215"/>
                    <a:pt x="131" y="1208"/>
                    <a:pt x="133" y="1200"/>
                  </a:cubicBezTo>
                  <a:cubicBezTo>
                    <a:pt x="134" y="1197"/>
                    <a:pt x="135" y="1194"/>
                    <a:pt x="136" y="1191"/>
                  </a:cubicBezTo>
                  <a:cubicBezTo>
                    <a:pt x="137" y="1186"/>
                    <a:pt x="138" y="1182"/>
                    <a:pt x="140" y="1177"/>
                  </a:cubicBezTo>
                  <a:cubicBezTo>
                    <a:pt x="141" y="1173"/>
                    <a:pt x="142" y="1170"/>
                    <a:pt x="143" y="1166"/>
                  </a:cubicBezTo>
                  <a:cubicBezTo>
                    <a:pt x="144" y="1162"/>
                    <a:pt x="145" y="1158"/>
                    <a:pt x="147" y="1154"/>
                  </a:cubicBezTo>
                  <a:cubicBezTo>
                    <a:pt x="148" y="1150"/>
                    <a:pt x="149" y="1146"/>
                    <a:pt x="150" y="1142"/>
                  </a:cubicBezTo>
                  <a:cubicBezTo>
                    <a:pt x="151" y="1138"/>
                    <a:pt x="152" y="1134"/>
                    <a:pt x="153" y="1130"/>
                  </a:cubicBezTo>
                  <a:cubicBezTo>
                    <a:pt x="155" y="1126"/>
                    <a:pt x="156" y="1122"/>
                    <a:pt x="157" y="1118"/>
                  </a:cubicBezTo>
                  <a:cubicBezTo>
                    <a:pt x="158" y="1114"/>
                    <a:pt x="159" y="1111"/>
                    <a:pt x="161" y="1108"/>
                  </a:cubicBezTo>
                  <a:cubicBezTo>
                    <a:pt x="162" y="1103"/>
                    <a:pt x="163" y="1099"/>
                    <a:pt x="165" y="1094"/>
                  </a:cubicBezTo>
                  <a:cubicBezTo>
                    <a:pt x="166" y="1091"/>
                    <a:pt x="167" y="1088"/>
                    <a:pt x="168" y="1085"/>
                  </a:cubicBezTo>
                  <a:cubicBezTo>
                    <a:pt x="170" y="1080"/>
                    <a:pt x="171" y="1075"/>
                    <a:pt x="173" y="1071"/>
                  </a:cubicBezTo>
                  <a:cubicBezTo>
                    <a:pt x="174" y="1068"/>
                    <a:pt x="175" y="1065"/>
                    <a:pt x="176" y="1062"/>
                  </a:cubicBezTo>
                  <a:cubicBezTo>
                    <a:pt x="177" y="1057"/>
                    <a:pt x="179" y="1052"/>
                    <a:pt x="181" y="1047"/>
                  </a:cubicBezTo>
                  <a:cubicBezTo>
                    <a:pt x="182" y="1045"/>
                    <a:pt x="183" y="1042"/>
                    <a:pt x="183" y="1039"/>
                  </a:cubicBezTo>
                  <a:cubicBezTo>
                    <a:pt x="185" y="1034"/>
                    <a:pt x="187" y="1029"/>
                    <a:pt x="189" y="1024"/>
                  </a:cubicBezTo>
                  <a:cubicBezTo>
                    <a:pt x="190" y="1022"/>
                    <a:pt x="191" y="1019"/>
                    <a:pt x="192" y="1017"/>
                  </a:cubicBezTo>
                  <a:cubicBezTo>
                    <a:pt x="193" y="1012"/>
                    <a:pt x="195" y="1006"/>
                    <a:pt x="197" y="1001"/>
                  </a:cubicBezTo>
                  <a:cubicBezTo>
                    <a:pt x="198" y="999"/>
                    <a:pt x="199" y="997"/>
                    <a:pt x="200" y="995"/>
                  </a:cubicBezTo>
                  <a:cubicBezTo>
                    <a:pt x="202" y="989"/>
                    <a:pt x="204" y="984"/>
                    <a:pt x="206" y="978"/>
                  </a:cubicBezTo>
                  <a:cubicBezTo>
                    <a:pt x="207" y="976"/>
                    <a:pt x="208" y="974"/>
                    <a:pt x="208" y="973"/>
                  </a:cubicBezTo>
                  <a:cubicBezTo>
                    <a:pt x="211" y="967"/>
                    <a:pt x="213" y="961"/>
                    <a:pt x="215" y="955"/>
                  </a:cubicBezTo>
                  <a:cubicBezTo>
                    <a:pt x="216" y="954"/>
                    <a:pt x="216" y="952"/>
                    <a:pt x="217" y="951"/>
                  </a:cubicBezTo>
                  <a:cubicBezTo>
                    <a:pt x="219" y="945"/>
                    <a:pt x="222" y="939"/>
                    <a:pt x="224" y="933"/>
                  </a:cubicBezTo>
                  <a:cubicBezTo>
                    <a:pt x="225" y="931"/>
                    <a:pt x="225" y="930"/>
                    <a:pt x="226" y="929"/>
                  </a:cubicBezTo>
                  <a:cubicBezTo>
                    <a:pt x="228" y="923"/>
                    <a:pt x="231" y="917"/>
                    <a:pt x="234" y="910"/>
                  </a:cubicBezTo>
                  <a:cubicBezTo>
                    <a:pt x="234" y="909"/>
                    <a:pt x="234" y="908"/>
                    <a:pt x="235" y="907"/>
                  </a:cubicBezTo>
                  <a:cubicBezTo>
                    <a:pt x="238" y="901"/>
                    <a:pt x="240" y="894"/>
                    <a:pt x="243" y="888"/>
                  </a:cubicBezTo>
                  <a:cubicBezTo>
                    <a:pt x="243" y="887"/>
                    <a:pt x="244" y="887"/>
                    <a:pt x="244" y="886"/>
                  </a:cubicBezTo>
                  <a:cubicBezTo>
                    <a:pt x="247" y="880"/>
                    <a:pt x="249" y="874"/>
                    <a:pt x="252" y="868"/>
                  </a:cubicBezTo>
                  <a:cubicBezTo>
                    <a:pt x="284" y="877"/>
                    <a:pt x="314" y="883"/>
                    <a:pt x="343" y="883"/>
                  </a:cubicBezTo>
                  <a:cubicBezTo>
                    <a:pt x="385" y="884"/>
                    <a:pt x="425" y="876"/>
                    <a:pt x="462" y="859"/>
                  </a:cubicBezTo>
                  <a:cubicBezTo>
                    <a:pt x="536" y="824"/>
                    <a:pt x="582" y="762"/>
                    <a:pt x="607" y="718"/>
                  </a:cubicBezTo>
                  <a:cubicBezTo>
                    <a:pt x="608" y="718"/>
                    <a:pt x="608" y="718"/>
                    <a:pt x="608" y="718"/>
                  </a:cubicBezTo>
                  <a:cubicBezTo>
                    <a:pt x="609" y="716"/>
                    <a:pt x="609" y="715"/>
                    <a:pt x="609" y="714"/>
                  </a:cubicBezTo>
                  <a:cubicBezTo>
                    <a:pt x="623" y="689"/>
                    <a:pt x="630" y="670"/>
                    <a:pt x="631" y="668"/>
                  </a:cubicBezTo>
                  <a:cubicBezTo>
                    <a:pt x="622" y="665"/>
                    <a:pt x="622" y="665"/>
                    <a:pt x="622" y="665"/>
                  </a:cubicBezTo>
                  <a:cubicBezTo>
                    <a:pt x="625" y="656"/>
                    <a:pt x="627" y="646"/>
                    <a:pt x="630" y="636"/>
                  </a:cubicBezTo>
                  <a:cubicBezTo>
                    <a:pt x="664" y="507"/>
                    <a:pt x="714" y="324"/>
                    <a:pt x="735" y="276"/>
                  </a:cubicBezTo>
                  <a:cubicBezTo>
                    <a:pt x="765" y="204"/>
                    <a:pt x="732" y="158"/>
                    <a:pt x="711" y="144"/>
                  </a:cubicBezTo>
                  <a:cubicBezTo>
                    <a:pt x="677" y="126"/>
                    <a:pt x="677" y="126"/>
                    <a:pt x="677" y="126"/>
                  </a:cubicBezTo>
                  <a:cubicBezTo>
                    <a:pt x="677" y="126"/>
                    <a:pt x="677" y="125"/>
                    <a:pt x="677" y="124"/>
                  </a:cubicBezTo>
                  <a:cubicBezTo>
                    <a:pt x="677" y="123"/>
                    <a:pt x="677" y="123"/>
                    <a:pt x="677" y="123"/>
                  </a:cubicBezTo>
                  <a:cubicBezTo>
                    <a:pt x="677" y="122"/>
                    <a:pt x="678" y="121"/>
                    <a:pt x="678" y="120"/>
                  </a:cubicBezTo>
                  <a:cubicBezTo>
                    <a:pt x="678" y="120"/>
                    <a:pt x="678" y="120"/>
                    <a:pt x="678" y="120"/>
                  </a:cubicBezTo>
                  <a:cubicBezTo>
                    <a:pt x="678" y="118"/>
                    <a:pt x="678" y="117"/>
                    <a:pt x="678" y="116"/>
                  </a:cubicBezTo>
                  <a:cubicBezTo>
                    <a:pt x="678" y="116"/>
                    <a:pt x="678" y="116"/>
                    <a:pt x="678" y="116"/>
                  </a:cubicBezTo>
                  <a:cubicBezTo>
                    <a:pt x="677" y="114"/>
                    <a:pt x="677" y="113"/>
                    <a:pt x="677" y="112"/>
                  </a:cubicBezTo>
                  <a:cubicBezTo>
                    <a:pt x="677" y="112"/>
                    <a:pt x="677" y="112"/>
                    <a:pt x="677" y="112"/>
                  </a:cubicBezTo>
                  <a:cubicBezTo>
                    <a:pt x="676" y="108"/>
                    <a:pt x="675" y="105"/>
                    <a:pt x="673" y="101"/>
                  </a:cubicBezTo>
                  <a:cubicBezTo>
                    <a:pt x="673" y="101"/>
                    <a:pt x="673" y="101"/>
                    <a:pt x="673" y="101"/>
                  </a:cubicBezTo>
                  <a:cubicBezTo>
                    <a:pt x="670" y="97"/>
                    <a:pt x="665" y="93"/>
                    <a:pt x="660" y="90"/>
                  </a:cubicBezTo>
                  <a:cubicBezTo>
                    <a:pt x="639" y="81"/>
                    <a:pt x="639" y="81"/>
                    <a:pt x="639" y="81"/>
                  </a:cubicBezTo>
                  <a:cubicBezTo>
                    <a:pt x="623" y="73"/>
                    <a:pt x="605" y="80"/>
                    <a:pt x="598" y="96"/>
                  </a:cubicBezTo>
                  <a:cubicBezTo>
                    <a:pt x="594" y="103"/>
                    <a:pt x="594" y="103"/>
                    <a:pt x="594" y="103"/>
                  </a:cubicBezTo>
                  <a:cubicBezTo>
                    <a:pt x="590" y="112"/>
                    <a:pt x="591" y="122"/>
                    <a:pt x="595" y="131"/>
                  </a:cubicBezTo>
                  <a:cubicBezTo>
                    <a:pt x="595" y="131"/>
                    <a:pt x="595" y="131"/>
                    <a:pt x="595" y="131"/>
                  </a:cubicBezTo>
                  <a:cubicBezTo>
                    <a:pt x="596" y="132"/>
                    <a:pt x="596" y="133"/>
                    <a:pt x="597" y="134"/>
                  </a:cubicBezTo>
                  <a:cubicBezTo>
                    <a:pt x="597" y="134"/>
                    <a:pt x="597" y="134"/>
                    <a:pt x="597" y="134"/>
                  </a:cubicBezTo>
                  <a:cubicBezTo>
                    <a:pt x="598" y="135"/>
                    <a:pt x="599" y="136"/>
                    <a:pt x="599" y="137"/>
                  </a:cubicBezTo>
                  <a:cubicBezTo>
                    <a:pt x="599" y="137"/>
                    <a:pt x="599" y="137"/>
                    <a:pt x="599" y="137"/>
                  </a:cubicBezTo>
                  <a:cubicBezTo>
                    <a:pt x="600" y="138"/>
                    <a:pt x="601" y="139"/>
                    <a:pt x="602" y="140"/>
                  </a:cubicBezTo>
                  <a:cubicBezTo>
                    <a:pt x="603" y="140"/>
                    <a:pt x="603" y="140"/>
                    <a:pt x="603" y="140"/>
                  </a:cubicBezTo>
                  <a:cubicBezTo>
                    <a:pt x="603" y="141"/>
                    <a:pt x="604" y="141"/>
                    <a:pt x="605" y="142"/>
                  </a:cubicBezTo>
                  <a:cubicBezTo>
                    <a:pt x="606" y="142"/>
                    <a:pt x="606" y="142"/>
                    <a:pt x="606" y="142"/>
                  </a:cubicBezTo>
                  <a:cubicBezTo>
                    <a:pt x="607" y="143"/>
                    <a:pt x="608" y="144"/>
                    <a:pt x="609" y="144"/>
                  </a:cubicBezTo>
                  <a:cubicBezTo>
                    <a:pt x="630" y="154"/>
                    <a:pt x="630" y="154"/>
                    <a:pt x="630" y="154"/>
                  </a:cubicBezTo>
                  <a:cubicBezTo>
                    <a:pt x="631" y="154"/>
                    <a:pt x="632" y="155"/>
                    <a:pt x="633" y="155"/>
                  </a:cubicBezTo>
                  <a:cubicBezTo>
                    <a:pt x="639" y="157"/>
                    <a:pt x="645" y="157"/>
                    <a:pt x="651" y="156"/>
                  </a:cubicBezTo>
                  <a:cubicBezTo>
                    <a:pt x="652" y="156"/>
                    <a:pt x="653" y="155"/>
                    <a:pt x="654" y="155"/>
                  </a:cubicBezTo>
                  <a:cubicBezTo>
                    <a:pt x="655" y="155"/>
                    <a:pt x="656" y="154"/>
                    <a:pt x="658" y="153"/>
                  </a:cubicBezTo>
                  <a:cubicBezTo>
                    <a:pt x="659" y="153"/>
                    <a:pt x="660" y="152"/>
                    <a:pt x="661" y="151"/>
                  </a:cubicBezTo>
                  <a:cubicBezTo>
                    <a:pt x="661" y="151"/>
                    <a:pt x="662" y="151"/>
                    <a:pt x="662" y="150"/>
                  </a:cubicBezTo>
                  <a:cubicBezTo>
                    <a:pt x="696" y="167"/>
                    <a:pt x="696" y="167"/>
                    <a:pt x="696" y="167"/>
                  </a:cubicBezTo>
                  <a:cubicBezTo>
                    <a:pt x="701" y="171"/>
                    <a:pt x="736" y="201"/>
                    <a:pt x="709" y="265"/>
                  </a:cubicBezTo>
                  <a:cubicBezTo>
                    <a:pt x="687" y="317"/>
                    <a:pt x="633" y="513"/>
                    <a:pt x="596" y="656"/>
                  </a:cubicBezTo>
                  <a:cubicBezTo>
                    <a:pt x="586" y="652"/>
                    <a:pt x="586" y="652"/>
                    <a:pt x="586" y="652"/>
                  </a:cubicBezTo>
                  <a:cubicBezTo>
                    <a:pt x="585" y="653"/>
                    <a:pt x="543" y="768"/>
                    <a:pt x="442" y="815"/>
                  </a:cubicBezTo>
                  <a:cubicBezTo>
                    <a:pt x="385" y="842"/>
                    <a:pt x="320" y="842"/>
                    <a:pt x="247" y="816"/>
                  </a:cubicBezTo>
                  <a:cubicBezTo>
                    <a:pt x="146" y="778"/>
                    <a:pt x="89" y="710"/>
                    <a:pt x="78" y="614"/>
                  </a:cubicBezTo>
                  <a:cubicBezTo>
                    <a:pt x="70" y="539"/>
                    <a:pt x="94" y="473"/>
                    <a:pt x="94" y="473"/>
                  </a:cubicBezTo>
                  <a:cubicBezTo>
                    <a:pt x="87" y="470"/>
                    <a:pt x="87" y="470"/>
                    <a:pt x="87" y="470"/>
                  </a:cubicBezTo>
                  <a:cubicBezTo>
                    <a:pt x="148" y="329"/>
                    <a:pt x="221" y="159"/>
                    <a:pt x="238" y="106"/>
                  </a:cubicBezTo>
                  <a:cubicBezTo>
                    <a:pt x="258" y="39"/>
                    <a:pt x="305" y="39"/>
                    <a:pt x="311" y="40"/>
                  </a:cubicBezTo>
                  <a:cubicBezTo>
                    <a:pt x="347" y="48"/>
                    <a:pt x="347" y="48"/>
                    <a:pt x="347" y="48"/>
                  </a:cubicBezTo>
                  <a:cubicBezTo>
                    <a:pt x="347" y="49"/>
                    <a:pt x="348" y="49"/>
                    <a:pt x="348" y="50"/>
                  </a:cubicBezTo>
                  <a:cubicBezTo>
                    <a:pt x="348" y="50"/>
                    <a:pt x="348" y="50"/>
                    <a:pt x="348" y="50"/>
                  </a:cubicBezTo>
                  <a:cubicBezTo>
                    <a:pt x="348" y="53"/>
                    <a:pt x="350" y="55"/>
                    <a:pt x="351" y="58"/>
                  </a:cubicBezTo>
                  <a:cubicBezTo>
                    <a:pt x="351" y="58"/>
                    <a:pt x="351" y="58"/>
                    <a:pt x="351" y="58"/>
                  </a:cubicBezTo>
                  <a:cubicBezTo>
                    <a:pt x="352" y="59"/>
                    <a:pt x="353" y="61"/>
                    <a:pt x="354" y="62"/>
                  </a:cubicBezTo>
                  <a:cubicBezTo>
                    <a:pt x="354" y="62"/>
                    <a:pt x="354" y="62"/>
                    <a:pt x="354" y="62"/>
                  </a:cubicBezTo>
                  <a:cubicBezTo>
                    <a:pt x="355" y="63"/>
                    <a:pt x="356" y="64"/>
                    <a:pt x="357" y="65"/>
                  </a:cubicBezTo>
                  <a:cubicBezTo>
                    <a:pt x="357" y="65"/>
                    <a:pt x="357" y="65"/>
                    <a:pt x="357" y="65"/>
                  </a:cubicBezTo>
                  <a:cubicBezTo>
                    <a:pt x="358" y="66"/>
                    <a:pt x="359" y="67"/>
                    <a:pt x="361" y="68"/>
                  </a:cubicBezTo>
                  <a:cubicBezTo>
                    <a:pt x="361" y="68"/>
                    <a:pt x="361" y="68"/>
                    <a:pt x="361" y="68"/>
                  </a:cubicBezTo>
                  <a:cubicBezTo>
                    <a:pt x="362" y="69"/>
                    <a:pt x="363" y="69"/>
                    <a:pt x="364" y="70"/>
                  </a:cubicBezTo>
                  <a:cubicBezTo>
                    <a:pt x="365" y="70"/>
                    <a:pt x="365" y="70"/>
                    <a:pt x="365" y="70"/>
                  </a:cubicBezTo>
                  <a:cubicBezTo>
                    <a:pt x="367" y="71"/>
                    <a:pt x="368" y="71"/>
                    <a:pt x="369" y="72"/>
                  </a:cubicBezTo>
                  <a:cubicBezTo>
                    <a:pt x="374" y="73"/>
                    <a:pt x="374" y="73"/>
                    <a:pt x="374" y="73"/>
                  </a:cubicBezTo>
                  <a:cubicBezTo>
                    <a:pt x="392" y="78"/>
                    <a:pt x="392" y="78"/>
                    <a:pt x="392" y="78"/>
                  </a:cubicBezTo>
                  <a:cubicBezTo>
                    <a:pt x="395" y="79"/>
                    <a:pt x="398" y="79"/>
                    <a:pt x="401" y="79"/>
                  </a:cubicBezTo>
                  <a:cubicBezTo>
                    <a:pt x="402" y="79"/>
                    <a:pt x="403" y="79"/>
                    <a:pt x="404" y="79"/>
                  </a:cubicBezTo>
                  <a:cubicBezTo>
                    <a:pt x="406" y="78"/>
                    <a:pt x="408" y="78"/>
                    <a:pt x="410" y="77"/>
                  </a:cubicBezTo>
                  <a:cubicBezTo>
                    <a:pt x="413" y="76"/>
                    <a:pt x="415" y="75"/>
                    <a:pt x="418" y="73"/>
                  </a:cubicBezTo>
                  <a:cubicBezTo>
                    <a:pt x="423" y="69"/>
                    <a:pt x="428" y="63"/>
                    <a:pt x="430" y="56"/>
                  </a:cubicBezTo>
                  <a:cubicBezTo>
                    <a:pt x="432" y="48"/>
                    <a:pt x="432" y="48"/>
                    <a:pt x="432" y="48"/>
                  </a:cubicBezTo>
                  <a:cubicBezTo>
                    <a:pt x="432" y="47"/>
                    <a:pt x="433" y="46"/>
                    <a:pt x="433" y="45"/>
                  </a:cubicBezTo>
                  <a:cubicBezTo>
                    <a:pt x="433" y="44"/>
                    <a:pt x="433" y="44"/>
                    <a:pt x="433" y="44"/>
                  </a:cubicBezTo>
                  <a:cubicBezTo>
                    <a:pt x="433" y="43"/>
                    <a:pt x="433" y="42"/>
                    <a:pt x="433" y="41"/>
                  </a:cubicBezTo>
                  <a:cubicBezTo>
                    <a:pt x="433" y="40"/>
                    <a:pt x="433" y="40"/>
                    <a:pt x="433" y="40"/>
                  </a:cubicBezTo>
                  <a:cubicBezTo>
                    <a:pt x="433" y="40"/>
                    <a:pt x="433" y="39"/>
                    <a:pt x="433" y="38"/>
                  </a:cubicBezTo>
                  <a:cubicBezTo>
                    <a:pt x="433" y="37"/>
                    <a:pt x="433" y="37"/>
                    <a:pt x="433" y="37"/>
                  </a:cubicBezTo>
                  <a:cubicBezTo>
                    <a:pt x="433" y="37"/>
                    <a:pt x="433" y="36"/>
                    <a:pt x="433" y="35"/>
                  </a:cubicBezTo>
                  <a:cubicBezTo>
                    <a:pt x="433" y="34"/>
                    <a:pt x="433" y="34"/>
                    <a:pt x="433" y="34"/>
                  </a:cubicBezTo>
                  <a:cubicBezTo>
                    <a:pt x="432" y="33"/>
                    <a:pt x="432" y="33"/>
                    <a:pt x="432" y="32"/>
                  </a:cubicBezTo>
                  <a:cubicBezTo>
                    <a:pt x="432" y="31"/>
                    <a:pt x="432" y="31"/>
                    <a:pt x="432" y="31"/>
                  </a:cubicBezTo>
                  <a:cubicBezTo>
                    <a:pt x="432" y="30"/>
                    <a:pt x="431" y="30"/>
                    <a:pt x="431" y="29"/>
                  </a:cubicBezTo>
                  <a:cubicBezTo>
                    <a:pt x="431" y="28"/>
                    <a:pt x="431" y="28"/>
                    <a:pt x="431" y="28"/>
                  </a:cubicBezTo>
                  <a:cubicBezTo>
                    <a:pt x="430" y="27"/>
                    <a:pt x="430" y="27"/>
                    <a:pt x="430" y="26"/>
                  </a:cubicBezTo>
                  <a:cubicBezTo>
                    <a:pt x="430" y="26"/>
                    <a:pt x="430" y="26"/>
                    <a:pt x="430" y="26"/>
                  </a:cubicBezTo>
                  <a:cubicBezTo>
                    <a:pt x="429" y="25"/>
                    <a:pt x="429" y="24"/>
                    <a:pt x="428" y="23"/>
                  </a:cubicBezTo>
                  <a:cubicBezTo>
                    <a:pt x="428" y="23"/>
                    <a:pt x="428" y="23"/>
                    <a:pt x="428" y="23"/>
                  </a:cubicBezTo>
                  <a:cubicBezTo>
                    <a:pt x="428" y="23"/>
                    <a:pt x="428" y="23"/>
                    <a:pt x="428" y="23"/>
                  </a:cubicBezTo>
                  <a:cubicBezTo>
                    <a:pt x="424" y="17"/>
                    <a:pt x="418" y="12"/>
                    <a:pt x="410" y="10"/>
                  </a:cubicBezTo>
                  <a:cubicBezTo>
                    <a:pt x="388" y="4"/>
                    <a:pt x="388" y="4"/>
                    <a:pt x="388" y="4"/>
                  </a:cubicBezTo>
                  <a:cubicBezTo>
                    <a:pt x="373" y="0"/>
                    <a:pt x="358" y="7"/>
                    <a:pt x="352" y="21"/>
                  </a:cubicBezTo>
                  <a:cubicBezTo>
                    <a:pt x="316" y="12"/>
                    <a:pt x="316" y="12"/>
                    <a:pt x="316" y="12"/>
                  </a:cubicBezTo>
                  <a:cubicBezTo>
                    <a:pt x="315" y="12"/>
                    <a:pt x="315" y="12"/>
                    <a:pt x="315" y="12"/>
                  </a:cubicBezTo>
                  <a:cubicBezTo>
                    <a:pt x="289" y="9"/>
                    <a:pt x="234" y="23"/>
                    <a:pt x="211" y="98"/>
                  </a:cubicBezTo>
                  <a:cubicBezTo>
                    <a:pt x="196" y="147"/>
                    <a:pt x="127" y="308"/>
                    <a:pt x="75" y="427"/>
                  </a:cubicBezTo>
                  <a:cubicBezTo>
                    <a:pt x="73" y="431"/>
                    <a:pt x="72" y="435"/>
                    <a:pt x="70" y="439"/>
                  </a:cubicBezTo>
                  <a:cubicBezTo>
                    <a:pt x="70" y="440"/>
                    <a:pt x="70" y="440"/>
                    <a:pt x="70" y="440"/>
                  </a:cubicBezTo>
                  <a:cubicBezTo>
                    <a:pt x="68" y="443"/>
                    <a:pt x="67" y="446"/>
                    <a:pt x="65" y="450"/>
                  </a:cubicBezTo>
                  <a:cubicBezTo>
                    <a:pt x="65" y="451"/>
                    <a:pt x="64" y="452"/>
                    <a:pt x="64" y="454"/>
                  </a:cubicBezTo>
                  <a:cubicBezTo>
                    <a:pt x="63" y="456"/>
                    <a:pt x="62" y="458"/>
                    <a:pt x="61" y="460"/>
                  </a:cubicBezTo>
                  <a:cubicBezTo>
                    <a:pt x="49" y="456"/>
                    <a:pt x="49" y="456"/>
                    <a:pt x="49" y="456"/>
                  </a:cubicBezTo>
                  <a:cubicBezTo>
                    <a:pt x="47" y="462"/>
                    <a:pt x="0" y="591"/>
                    <a:pt x="55" y="710"/>
                  </a:cubicBezTo>
                  <a:cubicBezTo>
                    <a:pt x="84" y="772"/>
                    <a:pt x="135" y="820"/>
                    <a:pt x="207" y="851"/>
                  </a:cubicBezTo>
                  <a:cubicBezTo>
                    <a:pt x="155" y="968"/>
                    <a:pt x="112" y="1089"/>
                    <a:pt x="81" y="1211"/>
                  </a:cubicBezTo>
                  <a:cubicBezTo>
                    <a:pt x="43" y="1356"/>
                    <a:pt x="8" y="1523"/>
                    <a:pt x="68" y="1663"/>
                  </a:cubicBezTo>
                  <a:cubicBezTo>
                    <a:pt x="103" y="1747"/>
                    <a:pt x="171" y="1809"/>
                    <a:pt x="263" y="1845"/>
                  </a:cubicBezTo>
                  <a:cubicBezTo>
                    <a:pt x="315" y="1865"/>
                    <a:pt x="372" y="1875"/>
                    <a:pt x="431" y="1877"/>
                  </a:cubicBezTo>
                  <a:cubicBezTo>
                    <a:pt x="512" y="1879"/>
                    <a:pt x="595" y="1863"/>
                    <a:pt x="666" y="1830"/>
                  </a:cubicBezTo>
                  <a:cubicBezTo>
                    <a:pt x="670" y="1828"/>
                    <a:pt x="670" y="1828"/>
                    <a:pt x="670" y="1828"/>
                  </a:cubicBezTo>
                  <a:cubicBezTo>
                    <a:pt x="786" y="1775"/>
                    <a:pt x="862" y="1739"/>
                    <a:pt x="971" y="1769"/>
                  </a:cubicBezTo>
                  <a:cubicBezTo>
                    <a:pt x="970" y="1797"/>
                    <a:pt x="983" y="1822"/>
                    <a:pt x="1003" y="1838"/>
                  </a:cubicBezTo>
                  <a:cubicBezTo>
                    <a:pt x="1004" y="1838"/>
                    <a:pt x="1004" y="1838"/>
                    <a:pt x="1004" y="1838"/>
                  </a:cubicBezTo>
                  <a:cubicBezTo>
                    <a:pt x="1006" y="1840"/>
                    <a:pt x="1008" y="1842"/>
                    <a:pt x="1010" y="1843"/>
                  </a:cubicBezTo>
                  <a:cubicBezTo>
                    <a:pt x="1011" y="1844"/>
                    <a:pt x="1012" y="1844"/>
                    <a:pt x="1012" y="1844"/>
                  </a:cubicBezTo>
                  <a:cubicBezTo>
                    <a:pt x="1013" y="1845"/>
                    <a:pt x="1015" y="1846"/>
                    <a:pt x="1016" y="1846"/>
                  </a:cubicBezTo>
                  <a:cubicBezTo>
                    <a:pt x="1017" y="1847"/>
                    <a:pt x="1018" y="1848"/>
                    <a:pt x="1019" y="1848"/>
                  </a:cubicBezTo>
                  <a:cubicBezTo>
                    <a:pt x="1020" y="1849"/>
                    <a:pt x="1021" y="1849"/>
                    <a:pt x="1023" y="1850"/>
                  </a:cubicBezTo>
                  <a:cubicBezTo>
                    <a:pt x="1024" y="1850"/>
                    <a:pt x="1026" y="1851"/>
                    <a:pt x="1028" y="1852"/>
                  </a:cubicBezTo>
                  <a:cubicBezTo>
                    <a:pt x="1029" y="1852"/>
                    <a:pt x="1030" y="1852"/>
                    <a:pt x="1030" y="1853"/>
                  </a:cubicBezTo>
                  <a:cubicBezTo>
                    <a:pt x="1032" y="1853"/>
                    <a:pt x="1034" y="1854"/>
                    <a:pt x="1037" y="1854"/>
                  </a:cubicBezTo>
                  <a:cubicBezTo>
                    <a:pt x="1037" y="1855"/>
                    <a:pt x="1037" y="1855"/>
                    <a:pt x="1037" y="1855"/>
                  </a:cubicBezTo>
                  <a:cubicBezTo>
                    <a:pt x="1040" y="1855"/>
                    <a:pt x="1042" y="1856"/>
                    <a:pt x="1045" y="1856"/>
                  </a:cubicBezTo>
                  <a:cubicBezTo>
                    <a:pt x="1046" y="1856"/>
                    <a:pt x="1046" y="1856"/>
                    <a:pt x="1047" y="1856"/>
                  </a:cubicBezTo>
                  <a:cubicBezTo>
                    <a:pt x="1049" y="1856"/>
                    <a:pt x="1052" y="1857"/>
                    <a:pt x="1055" y="1857"/>
                  </a:cubicBezTo>
                  <a:cubicBezTo>
                    <a:pt x="1102" y="1858"/>
                    <a:pt x="1142" y="1820"/>
                    <a:pt x="1143" y="1773"/>
                  </a:cubicBezTo>
                  <a:close/>
                </a:path>
              </a:pathLst>
            </a:custGeom>
            <a:solidFill>
              <a:srgbClr val="E8E8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4" name="islîďé">
              <a:extLst>
                <a:ext uri="{FF2B5EF4-FFF2-40B4-BE49-F238E27FC236}">
                  <a16:creationId xmlns:a16="http://schemas.microsoft.com/office/drawing/2014/main" id="{729FB376-D480-4A17-9DC5-976E10754ECA}"/>
                </a:ext>
              </a:extLst>
            </p:cNvPr>
            <p:cNvSpPr/>
            <p:nvPr userDrawn="1"/>
          </p:nvSpPr>
          <p:spPr bwMode="auto">
            <a:xfrm>
              <a:off x="4264025" y="3622675"/>
              <a:ext cx="492125" cy="765175"/>
            </a:xfrm>
            <a:custGeom>
              <a:avLst/>
              <a:gdLst>
                <a:gd name="T0" fmla="*/ 13 w 291"/>
                <a:gd name="T1" fmla="*/ 98 h 453"/>
                <a:gd name="T2" fmla="*/ 20 w 291"/>
                <a:gd name="T3" fmla="*/ 96 h 453"/>
                <a:gd name="T4" fmla="*/ 24 w 291"/>
                <a:gd name="T5" fmla="*/ 95 h 453"/>
                <a:gd name="T6" fmla="*/ 29 w 291"/>
                <a:gd name="T7" fmla="*/ 114 h 453"/>
                <a:gd name="T8" fmla="*/ 124 w 291"/>
                <a:gd name="T9" fmla="*/ 437 h 453"/>
                <a:gd name="T10" fmla="*/ 147 w 291"/>
                <a:gd name="T11" fmla="*/ 450 h 453"/>
                <a:gd name="T12" fmla="*/ 276 w 291"/>
                <a:gd name="T13" fmla="*/ 412 h 453"/>
                <a:gd name="T14" fmla="*/ 288 w 291"/>
                <a:gd name="T15" fmla="*/ 389 h 453"/>
                <a:gd name="T16" fmla="*/ 280 w 291"/>
                <a:gd name="T17" fmla="*/ 362 h 453"/>
                <a:gd name="T18" fmla="*/ 248 w 291"/>
                <a:gd name="T19" fmla="*/ 252 h 453"/>
                <a:gd name="T20" fmla="*/ 211 w 291"/>
                <a:gd name="T21" fmla="*/ 125 h 453"/>
                <a:gd name="T22" fmla="*/ 193 w 291"/>
                <a:gd name="T23" fmla="*/ 66 h 453"/>
                <a:gd name="T24" fmla="*/ 188 w 291"/>
                <a:gd name="T25" fmla="*/ 47 h 453"/>
                <a:gd name="T26" fmla="*/ 159 w 291"/>
                <a:gd name="T27" fmla="*/ 56 h 453"/>
                <a:gd name="T28" fmla="*/ 172 w 291"/>
                <a:gd name="T29" fmla="*/ 52 h 453"/>
                <a:gd name="T30" fmla="*/ 175 w 291"/>
                <a:gd name="T31" fmla="*/ 51 h 453"/>
                <a:gd name="T32" fmla="*/ 187 w 291"/>
                <a:gd name="T33" fmla="*/ 47 h 453"/>
                <a:gd name="T34" fmla="*/ 192 w 291"/>
                <a:gd name="T35" fmla="*/ 46 h 453"/>
                <a:gd name="T36" fmla="*/ 198 w 291"/>
                <a:gd name="T37" fmla="*/ 44 h 453"/>
                <a:gd name="T38" fmla="*/ 185 w 291"/>
                <a:gd name="T39" fmla="*/ 0 h 453"/>
                <a:gd name="T40" fmla="*/ 175 w 291"/>
                <a:gd name="T41" fmla="*/ 3 h 453"/>
                <a:gd name="T42" fmla="*/ 171 w 291"/>
                <a:gd name="T43" fmla="*/ 4 h 453"/>
                <a:gd name="T44" fmla="*/ 80 w 291"/>
                <a:gd name="T45" fmla="*/ 31 h 453"/>
                <a:gd name="T46" fmla="*/ 79 w 291"/>
                <a:gd name="T47" fmla="*/ 31 h 453"/>
                <a:gd name="T48" fmla="*/ 64 w 291"/>
                <a:gd name="T49" fmla="*/ 36 h 453"/>
                <a:gd name="T50" fmla="*/ 62 w 291"/>
                <a:gd name="T51" fmla="*/ 36 h 453"/>
                <a:gd name="T52" fmla="*/ 47 w 291"/>
                <a:gd name="T53" fmla="*/ 41 h 453"/>
                <a:gd name="T54" fmla="*/ 45 w 291"/>
                <a:gd name="T55" fmla="*/ 41 h 453"/>
                <a:gd name="T56" fmla="*/ 31 w 291"/>
                <a:gd name="T57" fmla="*/ 45 h 453"/>
                <a:gd name="T58" fmla="*/ 28 w 291"/>
                <a:gd name="T59" fmla="*/ 46 h 453"/>
                <a:gd name="T60" fmla="*/ 14 w 291"/>
                <a:gd name="T61" fmla="*/ 50 h 453"/>
                <a:gd name="T62" fmla="*/ 7 w 291"/>
                <a:gd name="T63" fmla="*/ 52 h 453"/>
                <a:gd name="T64" fmla="*/ 0 w 291"/>
                <a:gd name="T65" fmla="*/ 54 h 453"/>
                <a:gd name="T66" fmla="*/ 13 w 291"/>
                <a:gd name="T67" fmla="*/ 98 h 453"/>
                <a:gd name="T68" fmla="*/ 139 w 291"/>
                <a:gd name="T69" fmla="*/ 61 h 453"/>
                <a:gd name="T70" fmla="*/ 141 w 291"/>
                <a:gd name="T71" fmla="*/ 61 h 453"/>
                <a:gd name="T72" fmla="*/ 126 w 291"/>
                <a:gd name="T73" fmla="*/ 65 h 453"/>
                <a:gd name="T74" fmla="*/ 139 w 291"/>
                <a:gd name="T75" fmla="*/ 61 h 453"/>
                <a:gd name="T76" fmla="*/ 123 w 291"/>
                <a:gd name="T77" fmla="*/ 66 h 453"/>
                <a:gd name="T78" fmla="*/ 124 w 291"/>
                <a:gd name="T79" fmla="*/ 66 h 453"/>
                <a:gd name="T80" fmla="*/ 110 w 291"/>
                <a:gd name="T81" fmla="*/ 70 h 453"/>
                <a:gd name="T82" fmla="*/ 123 w 291"/>
                <a:gd name="T83" fmla="*/ 66 h 453"/>
                <a:gd name="T84" fmla="*/ 108 w 291"/>
                <a:gd name="T85" fmla="*/ 71 h 453"/>
                <a:gd name="T86" fmla="*/ 108 w 291"/>
                <a:gd name="T87" fmla="*/ 71 h 453"/>
                <a:gd name="T88" fmla="*/ 106 w 291"/>
                <a:gd name="T89" fmla="*/ 71 h 453"/>
                <a:gd name="T90" fmla="*/ 108 w 291"/>
                <a:gd name="T91" fmla="*/ 71 h 453"/>
                <a:gd name="T92" fmla="*/ 158 w 291"/>
                <a:gd name="T93" fmla="*/ 56 h 453"/>
                <a:gd name="T94" fmla="*/ 142 w 291"/>
                <a:gd name="T95" fmla="*/ 60 h 453"/>
                <a:gd name="T96" fmla="*/ 155 w 291"/>
                <a:gd name="T97" fmla="*/ 57 h 453"/>
                <a:gd name="T98" fmla="*/ 158 w 291"/>
                <a:gd name="T99" fmla="*/ 56 h 4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291" h="453">
                  <a:moveTo>
                    <a:pt x="13" y="98"/>
                  </a:moveTo>
                  <a:cubicBezTo>
                    <a:pt x="20" y="96"/>
                    <a:pt x="20" y="96"/>
                    <a:pt x="20" y="96"/>
                  </a:cubicBezTo>
                  <a:cubicBezTo>
                    <a:pt x="24" y="95"/>
                    <a:pt x="24" y="95"/>
                    <a:pt x="24" y="95"/>
                  </a:cubicBezTo>
                  <a:cubicBezTo>
                    <a:pt x="29" y="114"/>
                    <a:pt x="29" y="114"/>
                    <a:pt x="29" y="114"/>
                  </a:cubicBezTo>
                  <a:cubicBezTo>
                    <a:pt x="124" y="437"/>
                    <a:pt x="124" y="437"/>
                    <a:pt x="124" y="437"/>
                  </a:cubicBezTo>
                  <a:cubicBezTo>
                    <a:pt x="127" y="447"/>
                    <a:pt x="137" y="453"/>
                    <a:pt x="147" y="450"/>
                  </a:cubicBezTo>
                  <a:cubicBezTo>
                    <a:pt x="276" y="412"/>
                    <a:pt x="276" y="412"/>
                    <a:pt x="276" y="412"/>
                  </a:cubicBezTo>
                  <a:cubicBezTo>
                    <a:pt x="285" y="409"/>
                    <a:pt x="291" y="399"/>
                    <a:pt x="288" y="389"/>
                  </a:cubicBezTo>
                  <a:cubicBezTo>
                    <a:pt x="280" y="362"/>
                    <a:pt x="280" y="362"/>
                    <a:pt x="280" y="362"/>
                  </a:cubicBezTo>
                  <a:cubicBezTo>
                    <a:pt x="248" y="252"/>
                    <a:pt x="248" y="252"/>
                    <a:pt x="248" y="252"/>
                  </a:cubicBezTo>
                  <a:cubicBezTo>
                    <a:pt x="211" y="125"/>
                    <a:pt x="211" y="125"/>
                    <a:pt x="211" y="125"/>
                  </a:cubicBezTo>
                  <a:cubicBezTo>
                    <a:pt x="193" y="66"/>
                    <a:pt x="193" y="66"/>
                    <a:pt x="193" y="66"/>
                  </a:cubicBezTo>
                  <a:cubicBezTo>
                    <a:pt x="188" y="47"/>
                    <a:pt x="188" y="47"/>
                    <a:pt x="188" y="47"/>
                  </a:cubicBezTo>
                  <a:cubicBezTo>
                    <a:pt x="159" y="56"/>
                    <a:pt x="159" y="56"/>
                    <a:pt x="159" y="56"/>
                  </a:cubicBezTo>
                  <a:cubicBezTo>
                    <a:pt x="172" y="52"/>
                    <a:pt x="172" y="52"/>
                    <a:pt x="172" y="52"/>
                  </a:cubicBezTo>
                  <a:cubicBezTo>
                    <a:pt x="175" y="51"/>
                    <a:pt x="175" y="51"/>
                    <a:pt x="175" y="51"/>
                  </a:cubicBezTo>
                  <a:cubicBezTo>
                    <a:pt x="187" y="47"/>
                    <a:pt x="187" y="47"/>
                    <a:pt x="187" y="47"/>
                  </a:cubicBezTo>
                  <a:cubicBezTo>
                    <a:pt x="192" y="46"/>
                    <a:pt x="192" y="46"/>
                    <a:pt x="192" y="46"/>
                  </a:cubicBezTo>
                  <a:cubicBezTo>
                    <a:pt x="198" y="44"/>
                    <a:pt x="198" y="44"/>
                    <a:pt x="198" y="44"/>
                  </a:cubicBezTo>
                  <a:cubicBezTo>
                    <a:pt x="185" y="0"/>
                    <a:pt x="185" y="0"/>
                    <a:pt x="185" y="0"/>
                  </a:cubicBezTo>
                  <a:cubicBezTo>
                    <a:pt x="175" y="3"/>
                    <a:pt x="175" y="3"/>
                    <a:pt x="175" y="3"/>
                  </a:cubicBezTo>
                  <a:cubicBezTo>
                    <a:pt x="171" y="4"/>
                    <a:pt x="171" y="4"/>
                    <a:pt x="171" y="4"/>
                  </a:cubicBezTo>
                  <a:cubicBezTo>
                    <a:pt x="80" y="31"/>
                    <a:pt x="80" y="31"/>
                    <a:pt x="80" y="31"/>
                  </a:cubicBezTo>
                  <a:cubicBezTo>
                    <a:pt x="79" y="31"/>
                    <a:pt x="79" y="31"/>
                    <a:pt x="79" y="31"/>
                  </a:cubicBezTo>
                  <a:cubicBezTo>
                    <a:pt x="64" y="36"/>
                    <a:pt x="64" y="36"/>
                    <a:pt x="64" y="36"/>
                  </a:cubicBezTo>
                  <a:cubicBezTo>
                    <a:pt x="62" y="36"/>
                    <a:pt x="62" y="36"/>
                    <a:pt x="62" y="36"/>
                  </a:cubicBezTo>
                  <a:cubicBezTo>
                    <a:pt x="47" y="41"/>
                    <a:pt x="47" y="41"/>
                    <a:pt x="47" y="41"/>
                  </a:cubicBezTo>
                  <a:cubicBezTo>
                    <a:pt x="45" y="41"/>
                    <a:pt x="45" y="41"/>
                    <a:pt x="45" y="41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14" y="50"/>
                    <a:pt x="14" y="50"/>
                    <a:pt x="14" y="50"/>
                  </a:cubicBezTo>
                  <a:cubicBezTo>
                    <a:pt x="7" y="52"/>
                    <a:pt x="7" y="52"/>
                    <a:pt x="7" y="52"/>
                  </a:cubicBezTo>
                  <a:cubicBezTo>
                    <a:pt x="0" y="54"/>
                    <a:pt x="0" y="54"/>
                    <a:pt x="0" y="54"/>
                  </a:cubicBezTo>
                  <a:lnTo>
                    <a:pt x="13" y="98"/>
                  </a:lnTo>
                  <a:close/>
                  <a:moveTo>
                    <a:pt x="139" y="61"/>
                  </a:moveTo>
                  <a:cubicBezTo>
                    <a:pt x="141" y="61"/>
                    <a:pt x="141" y="61"/>
                    <a:pt x="141" y="61"/>
                  </a:cubicBezTo>
                  <a:cubicBezTo>
                    <a:pt x="126" y="65"/>
                    <a:pt x="126" y="65"/>
                    <a:pt x="126" y="65"/>
                  </a:cubicBezTo>
                  <a:lnTo>
                    <a:pt x="139" y="61"/>
                  </a:lnTo>
                  <a:close/>
                  <a:moveTo>
                    <a:pt x="123" y="66"/>
                  </a:moveTo>
                  <a:cubicBezTo>
                    <a:pt x="124" y="66"/>
                    <a:pt x="124" y="66"/>
                    <a:pt x="124" y="66"/>
                  </a:cubicBezTo>
                  <a:cubicBezTo>
                    <a:pt x="110" y="70"/>
                    <a:pt x="110" y="70"/>
                    <a:pt x="110" y="70"/>
                  </a:cubicBezTo>
                  <a:lnTo>
                    <a:pt x="123" y="66"/>
                  </a:lnTo>
                  <a:close/>
                  <a:moveTo>
                    <a:pt x="108" y="71"/>
                  </a:moveTo>
                  <a:cubicBezTo>
                    <a:pt x="108" y="71"/>
                    <a:pt x="108" y="71"/>
                    <a:pt x="108" y="71"/>
                  </a:cubicBezTo>
                  <a:cubicBezTo>
                    <a:pt x="106" y="71"/>
                    <a:pt x="106" y="71"/>
                    <a:pt x="106" y="71"/>
                  </a:cubicBezTo>
                  <a:lnTo>
                    <a:pt x="108" y="71"/>
                  </a:lnTo>
                  <a:close/>
                  <a:moveTo>
                    <a:pt x="158" y="56"/>
                  </a:moveTo>
                  <a:cubicBezTo>
                    <a:pt x="142" y="60"/>
                    <a:pt x="142" y="60"/>
                    <a:pt x="142" y="60"/>
                  </a:cubicBezTo>
                  <a:cubicBezTo>
                    <a:pt x="155" y="57"/>
                    <a:pt x="155" y="57"/>
                    <a:pt x="155" y="57"/>
                  </a:cubicBezTo>
                  <a:lnTo>
                    <a:pt x="158" y="56"/>
                  </a:lnTo>
                  <a:close/>
                </a:path>
              </a:pathLst>
            </a:custGeom>
            <a:solidFill>
              <a:srgbClr val="E8E8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5" name="ïṩlidê">
              <a:extLst>
                <a:ext uri="{FF2B5EF4-FFF2-40B4-BE49-F238E27FC236}">
                  <a16:creationId xmlns:a16="http://schemas.microsoft.com/office/drawing/2014/main" id="{8C9351E9-4BF4-48F7-A3DC-120BA4C1163E}"/>
                </a:ext>
              </a:extLst>
            </p:cNvPr>
            <p:cNvSpPr/>
            <p:nvPr userDrawn="1"/>
          </p:nvSpPr>
          <p:spPr bwMode="auto">
            <a:xfrm>
              <a:off x="4876800" y="3859213"/>
              <a:ext cx="447675" cy="579438"/>
            </a:xfrm>
            <a:custGeom>
              <a:avLst/>
              <a:gdLst>
                <a:gd name="T0" fmla="*/ 221 w 265"/>
                <a:gd name="T1" fmla="*/ 29 h 343"/>
                <a:gd name="T2" fmla="*/ 221 w 265"/>
                <a:gd name="T3" fmla="*/ 29 h 343"/>
                <a:gd name="T4" fmla="*/ 213 w 265"/>
                <a:gd name="T5" fmla="*/ 27 h 343"/>
                <a:gd name="T6" fmla="*/ 213 w 265"/>
                <a:gd name="T7" fmla="*/ 27 h 343"/>
                <a:gd name="T8" fmla="*/ 205 w 265"/>
                <a:gd name="T9" fmla="*/ 26 h 343"/>
                <a:gd name="T10" fmla="*/ 197 w 265"/>
                <a:gd name="T11" fmla="*/ 24 h 343"/>
                <a:gd name="T12" fmla="*/ 189 w 265"/>
                <a:gd name="T13" fmla="*/ 23 h 343"/>
                <a:gd name="T14" fmla="*/ 181 w 265"/>
                <a:gd name="T15" fmla="*/ 21 h 343"/>
                <a:gd name="T16" fmla="*/ 172 w 265"/>
                <a:gd name="T17" fmla="*/ 19 h 343"/>
                <a:gd name="T18" fmla="*/ 165 w 265"/>
                <a:gd name="T19" fmla="*/ 18 h 343"/>
                <a:gd name="T20" fmla="*/ 165 w 265"/>
                <a:gd name="T21" fmla="*/ 18 h 343"/>
                <a:gd name="T22" fmla="*/ 156 w 265"/>
                <a:gd name="T23" fmla="*/ 16 h 343"/>
                <a:gd name="T24" fmla="*/ 149 w 265"/>
                <a:gd name="T25" fmla="*/ 15 h 343"/>
                <a:gd name="T26" fmla="*/ 140 w 265"/>
                <a:gd name="T27" fmla="*/ 13 h 343"/>
                <a:gd name="T28" fmla="*/ 138 w 265"/>
                <a:gd name="T29" fmla="*/ 12 h 343"/>
                <a:gd name="T30" fmla="*/ 124 w 265"/>
                <a:gd name="T31" fmla="*/ 10 h 343"/>
                <a:gd name="T32" fmla="*/ 124 w 265"/>
                <a:gd name="T33" fmla="*/ 10 h 343"/>
                <a:gd name="T34" fmla="*/ 117 w 265"/>
                <a:gd name="T35" fmla="*/ 8 h 343"/>
                <a:gd name="T36" fmla="*/ 108 w 265"/>
                <a:gd name="T37" fmla="*/ 6 h 343"/>
                <a:gd name="T38" fmla="*/ 101 w 265"/>
                <a:gd name="T39" fmla="*/ 5 h 343"/>
                <a:gd name="T40" fmla="*/ 92 w 265"/>
                <a:gd name="T41" fmla="*/ 3 h 343"/>
                <a:gd name="T42" fmla="*/ 85 w 265"/>
                <a:gd name="T43" fmla="*/ 2 h 343"/>
                <a:gd name="T44" fmla="*/ 78 w 265"/>
                <a:gd name="T45" fmla="*/ 0 h 343"/>
                <a:gd name="T46" fmla="*/ 70 w 265"/>
                <a:gd name="T47" fmla="*/ 43 h 343"/>
                <a:gd name="T48" fmla="*/ 81 w 265"/>
                <a:gd name="T49" fmla="*/ 46 h 343"/>
                <a:gd name="T50" fmla="*/ 79 w 265"/>
                <a:gd name="T51" fmla="*/ 59 h 343"/>
                <a:gd name="T52" fmla="*/ 38 w 265"/>
                <a:gd name="T53" fmla="*/ 91 h 343"/>
                <a:gd name="T54" fmla="*/ 32 w 265"/>
                <a:gd name="T55" fmla="*/ 122 h 343"/>
                <a:gd name="T56" fmla="*/ 29 w 265"/>
                <a:gd name="T57" fmla="*/ 140 h 343"/>
                <a:gd name="T58" fmla="*/ 13 w 265"/>
                <a:gd name="T59" fmla="*/ 221 h 343"/>
                <a:gd name="T60" fmla="*/ 4 w 265"/>
                <a:gd name="T61" fmla="*/ 263 h 343"/>
                <a:gd name="T62" fmla="*/ 43 w 265"/>
                <a:gd name="T63" fmla="*/ 313 h 343"/>
                <a:gd name="T64" fmla="*/ 173 w 265"/>
                <a:gd name="T65" fmla="*/ 338 h 343"/>
                <a:gd name="T66" fmla="*/ 228 w 265"/>
                <a:gd name="T67" fmla="*/ 307 h 343"/>
                <a:gd name="T68" fmla="*/ 233 w 265"/>
                <a:gd name="T69" fmla="*/ 279 h 343"/>
                <a:gd name="T70" fmla="*/ 236 w 265"/>
                <a:gd name="T71" fmla="*/ 265 h 343"/>
                <a:gd name="T72" fmla="*/ 236 w 265"/>
                <a:gd name="T73" fmla="*/ 265 h 343"/>
                <a:gd name="T74" fmla="*/ 256 w 265"/>
                <a:gd name="T75" fmla="*/ 166 h 343"/>
                <a:gd name="T76" fmla="*/ 262 w 265"/>
                <a:gd name="T77" fmla="*/ 135 h 343"/>
                <a:gd name="T78" fmla="*/ 236 w 265"/>
                <a:gd name="T79" fmla="*/ 90 h 343"/>
                <a:gd name="T80" fmla="*/ 237 w 265"/>
                <a:gd name="T81" fmla="*/ 85 h 343"/>
                <a:gd name="T82" fmla="*/ 239 w 265"/>
                <a:gd name="T83" fmla="*/ 77 h 343"/>
                <a:gd name="T84" fmla="*/ 250 w 265"/>
                <a:gd name="T85" fmla="*/ 80 h 343"/>
                <a:gd name="T86" fmla="*/ 259 w 265"/>
                <a:gd name="T87" fmla="*/ 37 h 343"/>
                <a:gd name="T88" fmla="*/ 253 w 265"/>
                <a:gd name="T89" fmla="*/ 35 h 343"/>
                <a:gd name="T90" fmla="*/ 245 w 265"/>
                <a:gd name="T91" fmla="*/ 34 h 343"/>
                <a:gd name="T92" fmla="*/ 221 w 265"/>
                <a:gd name="T93" fmla="*/ 29 h 3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65" h="343">
                  <a:moveTo>
                    <a:pt x="221" y="29"/>
                  </a:moveTo>
                  <a:cubicBezTo>
                    <a:pt x="221" y="29"/>
                    <a:pt x="221" y="29"/>
                    <a:pt x="221" y="29"/>
                  </a:cubicBezTo>
                  <a:cubicBezTo>
                    <a:pt x="213" y="27"/>
                    <a:pt x="213" y="27"/>
                    <a:pt x="213" y="27"/>
                  </a:cubicBezTo>
                  <a:cubicBezTo>
                    <a:pt x="213" y="27"/>
                    <a:pt x="213" y="27"/>
                    <a:pt x="213" y="27"/>
                  </a:cubicBezTo>
                  <a:cubicBezTo>
                    <a:pt x="205" y="26"/>
                    <a:pt x="205" y="26"/>
                    <a:pt x="205" y="26"/>
                  </a:cubicBezTo>
                  <a:cubicBezTo>
                    <a:pt x="197" y="24"/>
                    <a:pt x="197" y="24"/>
                    <a:pt x="197" y="24"/>
                  </a:cubicBezTo>
                  <a:cubicBezTo>
                    <a:pt x="189" y="23"/>
                    <a:pt x="189" y="23"/>
                    <a:pt x="189" y="23"/>
                  </a:cubicBezTo>
                  <a:cubicBezTo>
                    <a:pt x="181" y="21"/>
                    <a:pt x="181" y="21"/>
                    <a:pt x="181" y="21"/>
                  </a:cubicBezTo>
                  <a:cubicBezTo>
                    <a:pt x="172" y="19"/>
                    <a:pt x="172" y="19"/>
                    <a:pt x="172" y="19"/>
                  </a:cubicBezTo>
                  <a:cubicBezTo>
                    <a:pt x="165" y="18"/>
                    <a:pt x="165" y="18"/>
                    <a:pt x="165" y="18"/>
                  </a:cubicBezTo>
                  <a:cubicBezTo>
                    <a:pt x="165" y="18"/>
                    <a:pt x="165" y="18"/>
                    <a:pt x="165" y="18"/>
                  </a:cubicBezTo>
                  <a:cubicBezTo>
                    <a:pt x="156" y="16"/>
                    <a:pt x="156" y="16"/>
                    <a:pt x="156" y="16"/>
                  </a:cubicBezTo>
                  <a:cubicBezTo>
                    <a:pt x="149" y="15"/>
                    <a:pt x="149" y="15"/>
                    <a:pt x="149" y="15"/>
                  </a:cubicBezTo>
                  <a:cubicBezTo>
                    <a:pt x="140" y="13"/>
                    <a:pt x="140" y="13"/>
                    <a:pt x="140" y="13"/>
                  </a:cubicBezTo>
                  <a:cubicBezTo>
                    <a:pt x="138" y="12"/>
                    <a:pt x="138" y="12"/>
                    <a:pt x="138" y="12"/>
                  </a:cubicBezTo>
                  <a:cubicBezTo>
                    <a:pt x="124" y="10"/>
                    <a:pt x="124" y="10"/>
                    <a:pt x="124" y="10"/>
                  </a:cubicBezTo>
                  <a:cubicBezTo>
                    <a:pt x="124" y="10"/>
                    <a:pt x="124" y="10"/>
                    <a:pt x="124" y="10"/>
                  </a:cubicBezTo>
                  <a:cubicBezTo>
                    <a:pt x="117" y="8"/>
                    <a:pt x="117" y="8"/>
                    <a:pt x="117" y="8"/>
                  </a:cubicBezTo>
                  <a:cubicBezTo>
                    <a:pt x="108" y="6"/>
                    <a:pt x="108" y="6"/>
                    <a:pt x="108" y="6"/>
                  </a:cubicBezTo>
                  <a:cubicBezTo>
                    <a:pt x="101" y="5"/>
                    <a:pt x="101" y="5"/>
                    <a:pt x="101" y="5"/>
                  </a:cubicBezTo>
                  <a:cubicBezTo>
                    <a:pt x="92" y="3"/>
                    <a:pt x="92" y="3"/>
                    <a:pt x="92" y="3"/>
                  </a:cubicBezTo>
                  <a:cubicBezTo>
                    <a:pt x="85" y="2"/>
                    <a:pt x="85" y="2"/>
                    <a:pt x="85" y="2"/>
                  </a:cubicBezTo>
                  <a:cubicBezTo>
                    <a:pt x="78" y="0"/>
                    <a:pt x="78" y="0"/>
                    <a:pt x="78" y="0"/>
                  </a:cubicBezTo>
                  <a:cubicBezTo>
                    <a:pt x="70" y="43"/>
                    <a:pt x="70" y="43"/>
                    <a:pt x="70" y="43"/>
                  </a:cubicBezTo>
                  <a:cubicBezTo>
                    <a:pt x="81" y="46"/>
                    <a:pt x="81" y="46"/>
                    <a:pt x="81" y="46"/>
                  </a:cubicBezTo>
                  <a:cubicBezTo>
                    <a:pt x="79" y="59"/>
                    <a:pt x="79" y="59"/>
                    <a:pt x="79" y="59"/>
                  </a:cubicBezTo>
                  <a:cubicBezTo>
                    <a:pt x="59" y="61"/>
                    <a:pt x="42" y="73"/>
                    <a:pt x="38" y="91"/>
                  </a:cubicBezTo>
                  <a:cubicBezTo>
                    <a:pt x="32" y="122"/>
                    <a:pt x="32" y="122"/>
                    <a:pt x="32" y="122"/>
                  </a:cubicBezTo>
                  <a:cubicBezTo>
                    <a:pt x="29" y="140"/>
                    <a:pt x="29" y="140"/>
                    <a:pt x="29" y="140"/>
                  </a:cubicBezTo>
                  <a:cubicBezTo>
                    <a:pt x="13" y="221"/>
                    <a:pt x="13" y="221"/>
                    <a:pt x="13" y="221"/>
                  </a:cubicBezTo>
                  <a:cubicBezTo>
                    <a:pt x="4" y="263"/>
                    <a:pt x="4" y="263"/>
                    <a:pt x="4" y="263"/>
                  </a:cubicBezTo>
                  <a:cubicBezTo>
                    <a:pt x="0" y="285"/>
                    <a:pt x="18" y="308"/>
                    <a:pt x="43" y="313"/>
                  </a:cubicBezTo>
                  <a:cubicBezTo>
                    <a:pt x="173" y="338"/>
                    <a:pt x="173" y="338"/>
                    <a:pt x="173" y="338"/>
                  </a:cubicBezTo>
                  <a:cubicBezTo>
                    <a:pt x="199" y="343"/>
                    <a:pt x="223" y="329"/>
                    <a:pt x="228" y="307"/>
                  </a:cubicBezTo>
                  <a:cubicBezTo>
                    <a:pt x="233" y="279"/>
                    <a:pt x="233" y="279"/>
                    <a:pt x="233" y="279"/>
                  </a:cubicBezTo>
                  <a:cubicBezTo>
                    <a:pt x="236" y="265"/>
                    <a:pt x="236" y="265"/>
                    <a:pt x="236" y="265"/>
                  </a:cubicBezTo>
                  <a:cubicBezTo>
                    <a:pt x="236" y="265"/>
                    <a:pt x="236" y="265"/>
                    <a:pt x="236" y="265"/>
                  </a:cubicBezTo>
                  <a:cubicBezTo>
                    <a:pt x="256" y="166"/>
                    <a:pt x="256" y="166"/>
                    <a:pt x="256" y="166"/>
                  </a:cubicBezTo>
                  <a:cubicBezTo>
                    <a:pt x="262" y="135"/>
                    <a:pt x="262" y="135"/>
                    <a:pt x="262" y="135"/>
                  </a:cubicBezTo>
                  <a:cubicBezTo>
                    <a:pt x="265" y="117"/>
                    <a:pt x="254" y="99"/>
                    <a:pt x="236" y="90"/>
                  </a:cubicBezTo>
                  <a:cubicBezTo>
                    <a:pt x="237" y="85"/>
                    <a:pt x="237" y="85"/>
                    <a:pt x="237" y="85"/>
                  </a:cubicBezTo>
                  <a:cubicBezTo>
                    <a:pt x="239" y="77"/>
                    <a:pt x="239" y="77"/>
                    <a:pt x="239" y="77"/>
                  </a:cubicBezTo>
                  <a:cubicBezTo>
                    <a:pt x="250" y="80"/>
                    <a:pt x="250" y="80"/>
                    <a:pt x="250" y="80"/>
                  </a:cubicBezTo>
                  <a:cubicBezTo>
                    <a:pt x="259" y="37"/>
                    <a:pt x="259" y="37"/>
                    <a:pt x="259" y="37"/>
                  </a:cubicBezTo>
                  <a:cubicBezTo>
                    <a:pt x="253" y="35"/>
                    <a:pt x="253" y="35"/>
                    <a:pt x="253" y="35"/>
                  </a:cubicBezTo>
                  <a:cubicBezTo>
                    <a:pt x="245" y="34"/>
                    <a:pt x="245" y="34"/>
                    <a:pt x="245" y="34"/>
                  </a:cubicBezTo>
                  <a:lnTo>
                    <a:pt x="221" y="29"/>
                  </a:lnTo>
                  <a:close/>
                </a:path>
              </a:pathLst>
            </a:custGeom>
            <a:solidFill>
              <a:srgbClr val="E8E8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6" name="îṧľîḓé">
              <a:extLst>
                <a:ext uri="{FF2B5EF4-FFF2-40B4-BE49-F238E27FC236}">
                  <a16:creationId xmlns:a16="http://schemas.microsoft.com/office/drawing/2014/main" id="{A7357BBB-7635-4BE0-8D15-719CB5C1F26F}"/>
                </a:ext>
              </a:extLst>
            </p:cNvPr>
            <p:cNvSpPr/>
            <p:nvPr userDrawn="1"/>
          </p:nvSpPr>
          <p:spPr bwMode="auto">
            <a:xfrm>
              <a:off x="7123113" y="2182813"/>
              <a:ext cx="447675" cy="576263"/>
            </a:xfrm>
            <a:custGeom>
              <a:avLst/>
              <a:gdLst>
                <a:gd name="T0" fmla="*/ 236 w 265"/>
                <a:gd name="T1" fmla="*/ 90 h 342"/>
                <a:gd name="T2" fmla="*/ 237 w 265"/>
                <a:gd name="T3" fmla="*/ 84 h 342"/>
                <a:gd name="T4" fmla="*/ 239 w 265"/>
                <a:gd name="T5" fmla="*/ 76 h 342"/>
                <a:gd name="T6" fmla="*/ 250 w 265"/>
                <a:gd name="T7" fmla="*/ 79 h 342"/>
                <a:gd name="T8" fmla="*/ 259 w 265"/>
                <a:gd name="T9" fmla="*/ 36 h 342"/>
                <a:gd name="T10" fmla="*/ 188 w 265"/>
                <a:gd name="T11" fmla="*/ 22 h 342"/>
                <a:gd name="T12" fmla="*/ 181 w 265"/>
                <a:gd name="T13" fmla="*/ 20 h 342"/>
                <a:gd name="T14" fmla="*/ 140 w 265"/>
                <a:gd name="T15" fmla="*/ 12 h 342"/>
                <a:gd name="T16" fmla="*/ 138 w 265"/>
                <a:gd name="T17" fmla="*/ 12 h 342"/>
                <a:gd name="T18" fmla="*/ 92 w 265"/>
                <a:gd name="T19" fmla="*/ 2 h 342"/>
                <a:gd name="T20" fmla="*/ 84 w 265"/>
                <a:gd name="T21" fmla="*/ 1 h 342"/>
                <a:gd name="T22" fmla="*/ 78 w 265"/>
                <a:gd name="T23" fmla="*/ 0 h 342"/>
                <a:gd name="T24" fmla="*/ 70 w 265"/>
                <a:gd name="T25" fmla="*/ 43 h 342"/>
                <a:gd name="T26" fmla="*/ 81 w 265"/>
                <a:gd name="T27" fmla="*/ 45 h 342"/>
                <a:gd name="T28" fmla="*/ 78 w 265"/>
                <a:gd name="T29" fmla="*/ 59 h 342"/>
                <a:gd name="T30" fmla="*/ 38 w 265"/>
                <a:gd name="T31" fmla="*/ 90 h 342"/>
                <a:gd name="T32" fmla="*/ 31 w 265"/>
                <a:gd name="T33" fmla="*/ 125 h 342"/>
                <a:gd name="T34" fmla="*/ 29 w 265"/>
                <a:gd name="T35" fmla="*/ 139 h 342"/>
                <a:gd name="T36" fmla="*/ 13 w 265"/>
                <a:gd name="T37" fmla="*/ 220 h 342"/>
                <a:gd name="T38" fmla="*/ 4 w 265"/>
                <a:gd name="T39" fmla="*/ 262 h 342"/>
                <a:gd name="T40" fmla="*/ 43 w 265"/>
                <a:gd name="T41" fmla="*/ 312 h 342"/>
                <a:gd name="T42" fmla="*/ 173 w 265"/>
                <a:gd name="T43" fmla="*/ 337 h 342"/>
                <a:gd name="T44" fmla="*/ 227 w 265"/>
                <a:gd name="T45" fmla="*/ 306 h 342"/>
                <a:gd name="T46" fmla="*/ 233 w 265"/>
                <a:gd name="T47" fmla="*/ 278 h 342"/>
                <a:gd name="T48" fmla="*/ 233 w 265"/>
                <a:gd name="T49" fmla="*/ 278 h 342"/>
                <a:gd name="T50" fmla="*/ 236 w 265"/>
                <a:gd name="T51" fmla="*/ 264 h 342"/>
                <a:gd name="T52" fmla="*/ 252 w 265"/>
                <a:gd name="T53" fmla="*/ 183 h 342"/>
                <a:gd name="T54" fmla="*/ 261 w 265"/>
                <a:gd name="T55" fmla="*/ 134 h 342"/>
                <a:gd name="T56" fmla="*/ 236 w 265"/>
                <a:gd name="T57" fmla="*/ 90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65" h="342">
                  <a:moveTo>
                    <a:pt x="236" y="90"/>
                  </a:moveTo>
                  <a:cubicBezTo>
                    <a:pt x="237" y="84"/>
                    <a:pt x="237" y="84"/>
                    <a:pt x="237" y="84"/>
                  </a:cubicBezTo>
                  <a:cubicBezTo>
                    <a:pt x="239" y="76"/>
                    <a:pt x="239" y="76"/>
                    <a:pt x="239" y="76"/>
                  </a:cubicBezTo>
                  <a:cubicBezTo>
                    <a:pt x="250" y="79"/>
                    <a:pt x="250" y="79"/>
                    <a:pt x="250" y="79"/>
                  </a:cubicBezTo>
                  <a:cubicBezTo>
                    <a:pt x="259" y="36"/>
                    <a:pt x="259" y="36"/>
                    <a:pt x="259" y="36"/>
                  </a:cubicBezTo>
                  <a:cubicBezTo>
                    <a:pt x="188" y="22"/>
                    <a:pt x="188" y="22"/>
                    <a:pt x="188" y="22"/>
                  </a:cubicBezTo>
                  <a:cubicBezTo>
                    <a:pt x="181" y="20"/>
                    <a:pt x="181" y="20"/>
                    <a:pt x="181" y="20"/>
                  </a:cubicBezTo>
                  <a:cubicBezTo>
                    <a:pt x="140" y="12"/>
                    <a:pt x="140" y="12"/>
                    <a:pt x="140" y="12"/>
                  </a:cubicBezTo>
                  <a:cubicBezTo>
                    <a:pt x="138" y="12"/>
                    <a:pt x="138" y="12"/>
                    <a:pt x="138" y="12"/>
                  </a:cubicBezTo>
                  <a:cubicBezTo>
                    <a:pt x="92" y="2"/>
                    <a:pt x="92" y="2"/>
                    <a:pt x="92" y="2"/>
                  </a:cubicBezTo>
                  <a:cubicBezTo>
                    <a:pt x="84" y="1"/>
                    <a:pt x="84" y="1"/>
                    <a:pt x="84" y="1"/>
                  </a:cubicBezTo>
                  <a:cubicBezTo>
                    <a:pt x="78" y="0"/>
                    <a:pt x="78" y="0"/>
                    <a:pt x="78" y="0"/>
                  </a:cubicBezTo>
                  <a:cubicBezTo>
                    <a:pt x="70" y="43"/>
                    <a:pt x="70" y="43"/>
                    <a:pt x="70" y="43"/>
                  </a:cubicBezTo>
                  <a:cubicBezTo>
                    <a:pt x="81" y="45"/>
                    <a:pt x="81" y="45"/>
                    <a:pt x="81" y="45"/>
                  </a:cubicBezTo>
                  <a:cubicBezTo>
                    <a:pt x="78" y="59"/>
                    <a:pt x="78" y="59"/>
                    <a:pt x="78" y="59"/>
                  </a:cubicBezTo>
                  <a:cubicBezTo>
                    <a:pt x="58" y="60"/>
                    <a:pt x="42" y="72"/>
                    <a:pt x="38" y="90"/>
                  </a:cubicBezTo>
                  <a:cubicBezTo>
                    <a:pt x="31" y="125"/>
                    <a:pt x="31" y="125"/>
                    <a:pt x="31" y="125"/>
                  </a:cubicBezTo>
                  <a:cubicBezTo>
                    <a:pt x="29" y="139"/>
                    <a:pt x="29" y="139"/>
                    <a:pt x="29" y="139"/>
                  </a:cubicBezTo>
                  <a:cubicBezTo>
                    <a:pt x="13" y="220"/>
                    <a:pt x="13" y="220"/>
                    <a:pt x="13" y="220"/>
                  </a:cubicBezTo>
                  <a:cubicBezTo>
                    <a:pt x="4" y="262"/>
                    <a:pt x="4" y="262"/>
                    <a:pt x="4" y="262"/>
                  </a:cubicBezTo>
                  <a:cubicBezTo>
                    <a:pt x="0" y="285"/>
                    <a:pt x="17" y="307"/>
                    <a:pt x="43" y="312"/>
                  </a:cubicBezTo>
                  <a:cubicBezTo>
                    <a:pt x="173" y="337"/>
                    <a:pt x="173" y="337"/>
                    <a:pt x="173" y="337"/>
                  </a:cubicBezTo>
                  <a:cubicBezTo>
                    <a:pt x="199" y="342"/>
                    <a:pt x="223" y="329"/>
                    <a:pt x="227" y="306"/>
                  </a:cubicBezTo>
                  <a:cubicBezTo>
                    <a:pt x="233" y="278"/>
                    <a:pt x="233" y="278"/>
                    <a:pt x="233" y="278"/>
                  </a:cubicBezTo>
                  <a:cubicBezTo>
                    <a:pt x="233" y="278"/>
                    <a:pt x="233" y="278"/>
                    <a:pt x="233" y="278"/>
                  </a:cubicBezTo>
                  <a:cubicBezTo>
                    <a:pt x="236" y="264"/>
                    <a:pt x="236" y="264"/>
                    <a:pt x="236" y="264"/>
                  </a:cubicBezTo>
                  <a:cubicBezTo>
                    <a:pt x="252" y="183"/>
                    <a:pt x="252" y="183"/>
                    <a:pt x="252" y="183"/>
                  </a:cubicBezTo>
                  <a:cubicBezTo>
                    <a:pt x="261" y="134"/>
                    <a:pt x="261" y="134"/>
                    <a:pt x="261" y="134"/>
                  </a:cubicBezTo>
                  <a:cubicBezTo>
                    <a:pt x="265" y="116"/>
                    <a:pt x="254" y="98"/>
                    <a:pt x="236" y="90"/>
                  </a:cubicBezTo>
                  <a:close/>
                </a:path>
              </a:pathLst>
            </a:custGeom>
            <a:solidFill>
              <a:srgbClr val="E8E8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7" name="îṡlïḓé">
              <a:extLst>
                <a:ext uri="{FF2B5EF4-FFF2-40B4-BE49-F238E27FC236}">
                  <a16:creationId xmlns:a16="http://schemas.microsoft.com/office/drawing/2014/main" id="{6760BF62-A287-4346-8D7B-F234D83C5EB4}"/>
                </a:ext>
              </a:extLst>
            </p:cNvPr>
            <p:cNvSpPr/>
            <p:nvPr userDrawn="1"/>
          </p:nvSpPr>
          <p:spPr bwMode="auto">
            <a:xfrm>
              <a:off x="6788150" y="2946400"/>
              <a:ext cx="625475" cy="596900"/>
            </a:xfrm>
            <a:custGeom>
              <a:avLst/>
              <a:gdLst>
                <a:gd name="T0" fmla="*/ 296 w 370"/>
                <a:gd name="T1" fmla="*/ 0 h 353"/>
                <a:gd name="T2" fmla="*/ 269 w 370"/>
                <a:gd name="T3" fmla="*/ 25 h 353"/>
                <a:gd name="T4" fmla="*/ 269 w 370"/>
                <a:gd name="T5" fmla="*/ 25 h 353"/>
                <a:gd name="T6" fmla="*/ 258 w 370"/>
                <a:gd name="T7" fmla="*/ 35 h 353"/>
                <a:gd name="T8" fmla="*/ 265 w 370"/>
                <a:gd name="T9" fmla="*/ 43 h 353"/>
                <a:gd name="T10" fmla="*/ 18 w 370"/>
                <a:gd name="T11" fmla="*/ 272 h 353"/>
                <a:gd name="T12" fmla="*/ 16 w 370"/>
                <a:gd name="T13" fmla="*/ 334 h 353"/>
                <a:gd name="T14" fmla="*/ 78 w 370"/>
                <a:gd name="T15" fmla="*/ 336 h 353"/>
                <a:gd name="T16" fmla="*/ 325 w 370"/>
                <a:gd name="T17" fmla="*/ 108 h 353"/>
                <a:gd name="T18" fmla="*/ 332 w 370"/>
                <a:gd name="T19" fmla="*/ 115 h 353"/>
                <a:gd name="T20" fmla="*/ 343 w 370"/>
                <a:gd name="T21" fmla="*/ 104 h 353"/>
                <a:gd name="T22" fmla="*/ 343 w 370"/>
                <a:gd name="T23" fmla="*/ 104 h 353"/>
                <a:gd name="T24" fmla="*/ 370 w 370"/>
                <a:gd name="T25" fmla="*/ 79 h 353"/>
                <a:gd name="T26" fmla="*/ 296 w 370"/>
                <a:gd name="T27" fmla="*/ 0 h 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70" h="353">
                  <a:moveTo>
                    <a:pt x="296" y="0"/>
                  </a:moveTo>
                  <a:cubicBezTo>
                    <a:pt x="269" y="25"/>
                    <a:pt x="269" y="25"/>
                    <a:pt x="269" y="25"/>
                  </a:cubicBezTo>
                  <a:cubicBezTo>
                    <a:pt x="269" y="25"/>
                    <a:pt x="269" y="25"/>
                    <a:pt x="269" y="25"/>
                  </a:cubicBezTo>
                  <a:cubicBezTo>
                    <a:pt x="258" y="35"/>
                    <a:pt x="258" y="35"/>
                    <a:pt x="258" y="35"/>
                  </a:cubicBezTo>
                  <a:cubicBezTo>
                    <a:pt x="265" y="43"/>
                    <a:pt x="265" y="43"/>
                    <a:pt x="265" y="43"/>
                  </a:cubicBezTo>
                  <a:cubicBezTo>
                    <a:pt x="18" y="272"/>
                    <a:pt x="18" y="272"/>
                    <a:pt x="18" y="272"/>
                  </a:cubicBezTo>
                  <a:cubicBezTo>
                    <a:pt x="1" y="288"/>
                    <a:pt x="0" y="316"/>
                    <a:pt x="16" y="334"/>
                  </a:cubicBezTo>
                  <a:cubicBezTo>
                    <a:pt x="33" y="352"/>
                    <a:pt x="60" y="353"/>
                    <a:pt x="78" y="336"/>
                  </a:cubicBezTo>
                  <a:cubicBezTo>
                    <a:pt x="325" y="108"/>
                    <a:pt x="325" y="108"/>
                    <a:pt x="325" y="108"/>
                  </a:cubicBezTo>
                  <a:cubicBezTo>
                    <a:pt x="332" y="115"/>
                    <a:pt x="332" y="115"/>
                    <a:pt x="332" y="115"/>
                  </a:cubicBezTo>
                  <a:cubicBezTo>
                    <a:pt x="343" y="104"/>
                    <a:pt x="343" y="104"/>
                    <a:pt x="343" y="104"/>
                  </a:cubicBezTo>
                  <a:cubicBezTo>
                    <a:pt x="343" y="104"/>
                    <a:pt x="343" y="104"/>
                    <a:pt x="343" y="104"/>
                  </a:cubicBezTo>
                  <a:cubicBezTo>
                    <a:pt x="370" y="79"/>
                    <a:pt x="370" y="79"/>
                    <a:pt x="370" y="79"/>
                  </a:cubicBezTo>
                  <a:lnTo>
                    <a:pt x="296" y="0"/>
                  </a:lnTo>
                  <a:close/>
                </a:path>
              </a:pathLst>
            </a:custGeom>
            <a:solidFill>
              <a:srgbClr val="E8E8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8" name="ïs1ïḍé">
              <a:extLst>
                <a:ext uri="{FF2B5EF4-FFF2-40B4-BE49-F238E27FC236}">
                  <a16:creationId xmlns:a16="http://schemas.microsoft.com/office/drawing/2014/main" id="{B669FE5A-238D-43BF-89B4-DFDA472CA9E7}"/>
                </a:ext>
              </a:extLst>
            </p:cNvPr>
            <p:cNvSpPr/>
            <p:nvPr userDrawn="1"/>
          </p:nvSpPr>
          <p:spPr bwMode="auto">
            <a:xfrm>
              <a:off x="6229350" y="1406525"/>
              <a:ext cx="803275" cy="712788"/>
            </a:xfrm>
            <a:custGeom>
              <a:avLst/>
              <a:gdLst>
                <a:gd name="T0" fmla="*/ 366 w 475"/>
                <a:gd name="T1" fmla="*/ 176 h 423"/>
                <a:gd name="T2" fmla="*/ 390 w 475"/>
                <a:gd name="T3" fmla="*/ 155 h 423"/>
                <a:gd name="T4" fmla="*/ 368 w 475"/>
                <a:gd name="T5" fmla="*/ 130 h 423"/>
                <a:gd name="T6" fmla="*/ 377 w 475"/>
                <a:gd name="T7" fmla="*/ 122 h 423"/>
                <a:gd name="T8" fmla="*/ 453 w 475"/>
                <a:gd name="T9" fmla="*/ 55 h 423"/>
                <a:gd name="T10" fmla="*/ 460 w 475"/>
                <a:gd name="T11" fmla="*/ 63 h 423"/>
                <a:gd name="T12" fmla="*/ 475 w 475"/>
                <a:gd name="T13" fmla="*/ 49 h 423"/>
                <a:gd name="T14" fmla="*/ 432 w 475"/>
                <a:gd name="T15" fmla="*/ 0 h 423"/>
                <a:gd name="T16" fmla="*/ 417 w 475"/>
                <a:gd name="T17" fmla="*/ 13 h 423"/>
                <a:gd name="T18" fmla="*/ 423 w 475"/>
                <a:gd name="T19" fmla="*/ 21 h 423"/>
                <a:gd name="T20" fmla="*/ 338 w 475"/>
                <a:gd name="T21" fmla="*/ 96 h 423"/>
                <a:gd name="T22" fmla="*/ 317 w 475"/>
                <a:gd name="T23" fmla="*/ 72 h 423"/>
                <a:gd name="T24" fmla="*/ 293 w 475"/>
                <a:gd name="T25" fmla="*/ 93 h 423"/>
                <a:gd name="T26" fmla="*/ 294 w 475"/>
                <a:gd name="T27" fmla="*/ 93 h 423"/>
                <a:gd name="T28" fmla="*/ 123 w 475"/>
                <a:gd name="T29" fmla="*/ 243 h 423"/>
                <a:gd name="T30" fmla="*/ 110 w 475"/>
                <a:gd name="T31" fmla="*/ 297 h 423"/>
                <a:gd name="T32" fmla="*/ 96 w 475"/>
                <a:gd name="T33" fmla="*/ 309 h 423"/>
                <a:gd name="T34" fmla="*/ 102 w 475"/>
                <a:gd name="T35" fmla="*/ 327 h 423"/>
                <a:gd name="T36" fmla="*/ 97 w 475"/>
                <a:gd name="T37" fmla="*/ 331 h 423"/>
                <a:gd name="T38" fmla="*/ 0 w 475"/>
                <a:gd name="T39" fmla="*/ 416 h 423"/>
                <a:gd name="T40" fmla="*/ 6 w 475"/>
                <a:gd name="T41" fmla="*/ 423 h 423"/>
                <a:gd name="T42" fmla="*/ 103 w 475"/>
                <a:gd name="T43" fmla="*/ 338 h 423"/>
                <a:gd name="T44" fmla="*/ 108 w 475"/>
                <a:gd name="T45" fmla="*/ 334 h 423"/>
                <a:gd name="T46" fmla="*/ 125 w 475"/>
                <a:gd name="T47" fmla="*/ 342 h 423"/>
                <a:gd name="T48" fmla="*/ 140 w 475"/>
                <a:gd name="T49" fmla="*/ 330 h 423"/>
                <a:gd name="T50" fmla="*/ 194 w 475"/>
                <a:gd name="T51" fmla="*/ 324 h 423"/>
                <a:gd name="T52" fmla="*/ 365 w 475"/>
                <a:gd name="T53" fmla="*/ 174 h 423"/>
                <a:gd name="T54" fmla="*/ 366 w 475"/>
                <a:gd name="T55" fmla="*/ 176 h 4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475" h="423">
                  <a:moveTo>
                    <a:pt x="366" y="176"/>
                  </a:moveTo>
                  <a:cubicBezTo>
                    <a:pt x="390" y="155"/>
                    <a:pt x="390" y="155"/>
                    <a:pt x="390" y="155"/>
                  </a:cubicBezTo>
                  <a:cubicBezTo>
                    <a:pt x="368" y="130"/>
                    <a:pt x="368" y="130"/>
                    <a:pt x="368" y="130"/>
                  </a:cubicBezTo>
                  <a:cubicBezTo>
                    <a:pt x="377" y="122"/>
                    <a:pt x="377" y="122"/>
                    <a:pt x="377" y="122"/>
                  </a:cubicBezTo>
                  <a:cubicBezTo>
                    <a:pt x="453" y="55"/>
                    <a:pt x="453" y="55"/>
                    <a:pt x="453" y="55"/>
                  </a:cubicBezTo>
                  <a:cubicBezTo>
                    <a:pt x="460" y="63"/>
                    <a:pt x="460" y="63"/>
                    <a:pt x="460" y="63"/>
                  </a:cubicBezTo>
                  <a:cubicBezTo>
                    <a:pt x="475" y="49"/>
                    <a:pt x="475" y="49"/>
                    <a:pt x="475" y="49"/>
                  </a:cubicBezTo>
                  <a:cubicBezTo>
                    <a:pt x="432" y="0"/>
                    <a:pt x="432" y="0"/>
                    <a:pt x="432" y="0"/>
                  </a:cubicBezTo>
                  <a:cubicBezTo>
                    <a:pt x="417" y="13"/>
                    <a:pt x="417" y="13"/>
                    <a:pt x="417" y="13"/>
                  </a:cubicBezTo>
                  <a:cubicBezTo>
                    <a:pt x="423" y="21"/>
                    <a:pt x="423" y="21"/>
                    <a:pt x="423" y="21"/>
                  </a:cubicBezTo>
                  <a:cubicBezTo>
                    <a:pt x="338" y="96"/>
                    <a:pt x="338" y="96"/>
                    <a:pt x="338" y="96"/>
                  </a:cubicBezTo>
                  <a:cubicBezTo>
                    <a:pt x="317" y="72"/>
                    <a:pt x="317" y="72"/>
                    <a:pt x="317" y="72"/>
                  </a:cubicBezTo>
                  <a:cubicBezTo>
                    <a:pt x="293" y="93"/>
                    <a:pt x="293" y="93"/>
                    <a:pt x="293" y="93"/>
                  </a:cubicBezTo>
                  <a:cubicBezTo>
                    <a:pt x="294" y="93"/>
                    <a:pt x="294" y="93"/>
                    <a:pt x="294" y="93"/>
                  </a:cubicBezTo>
                  <a:cubicBezTo>
                    <a:pt x="123" y="243"/>
                    <a:pt x="123" y="243"/>
                    <a:pt x="123" y="243"/>
                  </a:cubicBezTo>
                  <a:cubicBezTo>
                    <a:pt x="110" y="297"/>
                    <a:pt x="110" y="297"/>
                    <a:pt x="110" y="297"/>
                  </a:cubicBezTo>
                  <a:cubicBezTo>
                    <a:pt x="96" y="309"/>
                    <a:pt x="96" y="309"/>
                    <a:pt x="96" y="309"/>
                  </a:cubicBezTo>
                  <a:cubicBezTo>
                    <a:pt x="96" y="309"/>
                    <a:pt x="95" y="317"/>
                    <a:pt x="102" y="327"/>
                  </a:cubicBezTo>
                  <a:cubicBezTo>
                    <a:pt x="97" y="331"/>
                    <a:pt x="97" y="331"/>
                    <a:pt x="97" y="331"/>
                  </a:cubicBezTo>
                  <a:cubicBezTo>
                    <a:pt x="0" y="416"/>
                    <a:pt x="0" y="416"/>
                    <a:pt x="0" y="416"/>
                  </a:cubicBezTo>
                  <a:cubicBezTo>
                    <a:pt x="6" y="423"/>
                    <a:pt x="6" y="423"/>
                    <a:pt x="6" y="423"/>
                  </a:cubicBezTo>
                  <a:cubicBezTo>
                    <a:pt x="103" y="338"/>
                    <a:pt x="103" y="338"/>
                    <a:pt x="103" y="338"/>
                  </a:cubicBezTo>
                  <a:cubicBezTo>
                    <a:pt x="108" y="334"/>
                    <a:pt x="108" y="334"/>
                    <a:pt x="108" y="334"/>
                  </a:cubicBezTo>
                  <a:cubicBezTo>
                    <a:pt x="117" y="342"/>
                    <a:pt x="125" y="342"/>
                    <a:pt x="125" y="342"/>
                  </a:cubicBezTo>
                  <a:cubicBezTo>
                    <a:pt x="140" y="330"/>
                    <a:pt x="140" y="330"/>
                    <a:pt x="140" y="330"/>
                  </a:cubicBezTo>
                  <a:cubicBezTo>
                    <a:pt x="194" y="324"/>
                    <a:pt x="194" y="324"/>
                    <a:pt x="194" y="324"/>
                  </a:cubicBezTo>
                  <a:cubicBezTo>
                    <a:pt x="365" y="174"/>
                    <a:pt x="365" y="174"/>
                    <a:pt x="365" y="174"/>
                  </a:cubicBezTo>
                  <a:lnTo>
                    <a:pt x="366" y="176"/>
                  </a:lnTo>
                  <a:close/>
                </a:path>
              </a:pathLst>
            </a:custGeom>
            <a:solidFill>
              <a:srgbClr val="E8E8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9" name="iŝľiďé">
              <a:extLst>
                <a:ext uri="{FF2B5EF4-FFF2-40B4-BE49-F238E27FC236}">
                  <a16:creationId xmlns:a16="http://schemas.microsoft.com/office/drawing/2014/main" id="{53E2E93C-D7F9-4EEA-80B3-8647D5C890D1}"/>
                </a:ext>
              </a:extLst>
            </p:cNvPr>
            <p:cNvSpPr/>
            <p:nvPr userDrawn="1"/>
          </p:nvSpPr>
          <p:spPr bwMode="auto">
            <a:xfrm>
              <a:off x="5610225" y="2008188"/>
              <a:ext cx="122238" cy="130175"/>
            </a:xfrm>
            <a:custGeom>
              <a:avLst/>
              <a:gdLst>
                <a:gd name="T0" fmla="*/ 0 w 72"/>
                <a:gd name="T1" fmla="*/ 45 h 77"/>
                <a:gd name="T2" fmla="*/ 0 w 72"/>
                <a:gd name="T3" fmla="*/ 46 h 77"/>
                <a:gd name="T4" fmla="*/ 1 w 72"/>
                <a:gd name="T5" fmla="*/ 50 h 77"/>
                <a:gd name="T6" fmla="*/ 1 w 72"/>
                <a:gd name="T7" fmla="*/ 50 h 77"/>
                <a:gd name="T8" fmla="*/ 3 w 72"/>
                <a:gd name="T9" fmla="*/ 55 h 77"/>
                <a:gd name="T10" fmla="*/ 4 w 72"/>
                <a:gd name="T11" fmla="*/ 56 h 77"/>
                <a:gd name="T12" fmla="*/ 6 w 72"/>
                <a:gd name="T13" fmla="*/ 60 h 77"/>
                <a:gd name="T14" fmla="*/ 6 w 72"/>
                <a:gd name="T15" fmla="*/ 60 h 77"/>
                <a:gd name="T16" fmla="*/ 9 w 72"/>
                <a:gd name="T17" fmla="*/ 63 h 77"/>
                <a:gd name="T18" fmla="*/ 9 w 72"/>
                <a:gd name="T19" fmla="*/ 64 h 77"/>
                <a:gd name="T20" fmla="*/ 13 w 72"/>
                <a:gd name="T21" fmla="*/ 67 h 77"/>
                <a:gd name="T22" fmla="*/ 13 w 72"/>
                <a:gd name="T23" fmla="*/ 68 h 77"/>
                <a:gd name="T24" fmla="*/ 17 w 72"/>
                <a:gd name="T25" fmla="*/ 70 h 77"/>
                <a:gd name="T26" fmla="*/ 18 w 72"/>
                <a:gd name="T27" fmla="*/ 71 h 77"/>
                <a:gd name="T28" fmla="*/ 22 w 72"/>
                <a:gd name="T29" fmla="*/ 73 h 77"/>
                <a:gd name="T30" fmla="*/ 43 w 72"/>
                <a:gd name="T31" fmla="*/ 75 h 77"/>
                <a:gd name="T32" fmla="*/ 49 w 72"/>
                <a:gd name="T33" fmla="*/ 73 h 77"/>
                <a:gd name="T34" fmla="*/ 58 w 72"/>
                <a:gd name="T35" fmla="*/ 68 h 77"/>
                <a:gd name="T36" fmla="*/ 67 w 72"/>
                <a:gd name="T37" fmla="*/ 58 h 77"/>
                <a:gd name="T38" fmla="*/ 67 w 72"/>
                <a:gd name="T39" fmla="*/ 58 h 77"/>
                <a:gd name="T40" fmla="*/ 67 w 72"/>
                <a:gd name="T41" fmla="*/ 58 h 77"/>
                <a:gd name="T42" fmla="*/ 67 w 72"/>
                <a:gd name="T43" fmla="*/ 57 h 77"/>
                <a:gd name="T44" fmla="*/ 68 w 72"/>
                <a:gd name="T45" fmla="*/ 56 h 77"/>
                <a:gd name="T46" fmla="*/ 68 w 72"/>
                <a:gd name="T47" fmla="*/ 56 h 77"/>
                <a:gd name="T48" fmla="*/ 68 w 72"/>
                <a:gd name="T49" fmla="*/ 56 h 77"/>
                <a:gd name="T50" fmla="*/ 68 w 72"/>
                <a:gd name="T51" fmla="*/ 55 h 77"/>
                <a:gd name="T52" fmla="*/ 68 w 72"/>
                <a:gd name="T53" fmla="*/ 55 h 77"/>
                <a:gd name="T54" fmla="*/ 68 w 72"/>
                <a:gd name="T55" fmla="*/ 55 h 77"/>
                <a:gd name="T56" fmla="*/ 69 w 72"/>
                <a:gd name="T57" fmla="*/ 54 h 77"/>
                <a:gd name="T58" fmla="*/ 70 w 72"/>
                <a:gd name="T59" fmla="*/ 52 h 77"/>
                <a:gd name="T60" fmla="*/ 70 w 72"/>
                <a:gd name="T61" fmla="*/ 52 h 77"/>
                <a:gd name="T62" fmla="*/ 70 w 72"/>
                <a:gd name="T63" fmla="*/ 51 h 77"/>
                <a:gd name="T64" fmla="*/ 70 w 72"/>
                <a:gd name="T65" fmla="*/ 50 h 77"/>
                <a:gd name="T66" fmla="*/ 71 w 72"/>
                <a:gd name="T67" fmla="*/ 48 h 77"/>
                <a:gd name="T68" fmla="*/ 71 w 72"/>
                <a:gd name="T69" fmla="*/ 47 h 77"/>
                <a:gd name="T70" fmla="*/ 71 w 72"/>
                <a:gd name="T71" fmla="*/ 44 h 77"/>
                <a:gd name="T72" fmla="*/ 71 w 72"/>
                <a:gd name="T73" fmla="*/ 43 h 77"/>
                <a:gd name="T74" fmla="*/ 72 w 72"/>
                <a:gd name="T75" fmla="*/ 40 h 77"/>
                <a:gd name="T76" fmla="*/ 71 w 72"/>
                <a:gd name="T77" fmla="*/ 39 h 77"/>
                <a:gd name="T78" fmla="*/ 71 w 72"/>
                <a:gd name="T79" fmla="*/ 37 h 77"/>
                <a:gd name="T80" fmla="*/ 71 w 72"/>
                <a:gd name="T81" fmla="*/ 36 h 77"/>
                <a:gd name="T82" fmla="*/ 71 w 72"/>
                <a:gd name="T83" fmla="*/ 34 h 77"/>
                <a:gd name="T84" fmla="*/ 71 w 72"/>
                <a:gd name="T85" fmla="*/ 33 h 77"/>
                <a:gd name="T86" fmla="*/ 71 w 72"/>
                <a:gd name="T87" fmla="*/ 32 h 77"/>
                <a:gd name="T88" fmla="*/ 71 w 72"/>
                <a:gd name="T89" fmla="*/ 32 h 77"/>
                <a:gd name="T90" fmla="*/ 50 w 72"/>
                <a:gd name="T91" fmla="*/ 7 h 77"/>
                <a:gd name="T92" fmla="*/ 4 w 72"/>
                <a:gd name="T93" fmla="*/ 24 h 77"/>
                <a:gd name="T94" fmla="*/ 4 w 72"/>
                <a:gd name="T95" fmla="*/ 24 h 77"/>
                <a:gd name="T96" fmla="*/ 3 w 72"/>
                <a:gd name="T97" fmla="*/ 26 h 77"/>
                <a:gd name="T98" fmla="*/ 2 w 72"/>
                <a:gd name="T99" fmla="*/ 27 h 77"/>
                <a:gd name="T100" fmla="*/ 2 w 72"/>
                <a:gd name="T101" fmla="*/ 28 h 77"/>
                <a:gd name="T102" fmla="*/ 2 w 72"/>
                <a:gd name="T103" fmla="*/ 28 h 77"/>
                <a:gd name="T104" fmla="*/ 2 w 72"/>
                <a:gd name="T105" fmla="*/ 28 h 77"/>
                <a:gd name="T106" fmla="*/ 2 w 72"/>
                <a:gd name="T107" fmla="*/ 28 h 77"/>
                <a:gd name="T108" fmla="*/ 2 w 72"/>
                <a:gd name="T109" fmla="*/ 29 h 77"/>
                <a:gd name="T110" fmla="*/ 1 w 72"/>
                <a:gd name="T111" fmla="*/ 30 h 77"/>
                <a:gd name="T112" fmla="*/ 1 w 72"/>
                <a:gd name="T113" fmla="*/ 31 h 77"/>
                <a:gd name="T114" fmla="*/ 1 w 72"/>
                <a:gd name="T115" fmla="*/ 31 h 77"/>
                <a:gd name="T116" fmla="*/ 0 w 72"/>
                <a:gd name="T117" fmla="*/ 40 h 77"/>
                <a:gd name="T118" fmla="*/ 0 w 72"/>
                <a:gd name="T119" fmla="*/ 40 h 77"/>
                <a:gd name="T120" fmla="*/ 0 w 72"/>
                <a:gd name="T121" fmla="*/ 40 h 77"/>
                <a:gd name="T122" fmla="*/ 0 w 72"/>
                <a:gd name="T123" fmla="*/ 4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72" h="77">
                  <a:moveTo>
                    <a:pt x="0" y="45"/>
                  </a:moveTo>
                  <a:cubicBezTo>
                    <a:pt x="0" y="45"/>
                    <a:pt x="0" y="46"/>
                    <a:pt x="0" y="46"/>
                  </a:cubicBezTo>
                  <a:cubicBezTo>
                    <a:pt x="1" y="47"/>
                    <a:pt x="1" y="49"/>
                    <a:pt x="1" y="50"/>
                  </a:cubicBezTo>
                  <a:cubicBezTo>
                    <a:pt x="1" y="50"/>
                    <a:pt x="1" y="50"/>
                    <a:pt x="1" y="50"/>
                  </a:cubicBezTo>
                  <a:cubicBezTo>
                    <a:pt x="2" y="52"/>
                    <a:pt x="2" y="53"/>
                    <a:pt x="3" y="55"/>
                  </a:cubicBezTo>
                  <a:cubicBezTo>
                    <a:pt x="4" y="56"/>
                    <a:pt x="4" y="56"/>
                    <a:pt x="4" y="56"/>
                  </a:cubicBezTo>
                  <a:cubicBezTo>
                    <a:pt x="4" y="57"/>
                    <a:pt x="5" y="58"/>
                    <a:pt x="6" y="60"/>
                  </a:cubicBezTo>
                  <a:cubicBezTo>
                    <a:pt x="6" y="60"/>
                    <a:pt x="6" y="60"/>
                    <a:pt x="6" y="60"/>
                  </a:cubicBezTo>
                  <a:cubicBezTo>
                    <a:pt x="7" y="61"/>
                    <a:pt x="8" y="62"/>
                    <a:pt x="9" y="63"/>
                  </a:cubicBezTo>
                  <a:cubicBezTo>
                    <a:pt x="9" y="64"/>
                    <a:pt x="9" y="64"/>
                    <a:pt x="9" y="64"/>
                  </a:cubicBezTo>
                  <a:cubicBezTo>
                    <a:pt x="10" y="65"/>
                    <a:pt x="11" y="66"/>
                    <a:pt x="13" y="67"/>
                  </a:cubicBezTo>
                  <a:cubicBezTo>
                    <a:pt x="13" y="68"/>
                    <a:pt x="13" y="68"/>
                    <a:pt x="13" y="68"/>
                  </a:cubicBezTo>
                  <a:cubicBezTo>
                    <a:pt x="14" y="69"/>
                    <a:pt x="15" y="69"/>
                    <a:pt x="17" y="70"/>
                  </a:cubicBezTo>
                  <a:cubicBezTo>
                    <a:pt x="18" y="71"/>
                    <a:pt x="18" y="71"/>
                    <a:pt x="18" y="71"/>
                  </a:cubicBezTo>
                  <a:cubicBezTo>
                    <a:pt x="19" y="72"/>
                    <a:pt x="20" y="72"/>
                    <a:pt x="22" y="73"/>
                  </a:cubicBezTo>
                  <a:cubicBezTo>
                    <a:pt x="29" y="76"/>
                    <a:pt x="36" y="77"/>
                    <a:pt x="43" y="75"/>
                  </a:cubicBezTo>
                  <a:cubicBezTo>
                    <a:pt x="45" y="75"/>
                    <a:pt x="47" y="74"/>
                    <a:pt x="49" y="73"/>
                  </a:cubicBezTo>
                  <a:cubicBezTo>
                    <a:pt x="52" y="72"/>
                    <a:pt x="55" y="70"/>
                    <a:pt x="58" y="68"/>
                  </a:cubicBezTo>
                  <a:cubicBezTo>
                    <a:pt x="61" y="65"/>
                    <a:pt x="64" y="62"/>
                    <a:pt x="67" y="58"/>
                  </a:cubicBezTo>
                  <a:cubicBezTo>
                    <a:pt x="67" y="58"/>
                    <a:pt x="67" y="58"/>
                    <a:pt x="67" y="58"/>
                  </a:cubicBezTo>
                  <a:cubicBezTo>
                    <a:pt x="67" y="58"/>
                    <a:pt x="67" y="58"/>
                    <a:pt x="67" y="58"/>
                  </a:cubicBezTo>
                  <a:cubicBezTo>
                    <a:pt x="67" y="57"/>
                    <a:pt x="67" y="57"/>
                    <a:pt x="67" y="57"/>
                  </a:cubicBezTo>
                  <a:cubicBezTo>
                    <a:pt x="67" y="57"/>
                    <a:pt x="68" y="57"/>
                    <a:pt x="68" y="56"/>
                  </a:cubicBezTo>
                  <a:cubicBezTo>
                    <a:pt x="68" y="56"/>
                    <a:pt x="68" y="56"/>
                    <a:pt x="68" y="56"/>
                  </a:cubicBezTo>
                  <a:cubicBezTo>
                    <a:pt x="68" y="56"/>
                    <a:pt x="68" y="56"/>
                    <a:pt x="68" y="56"/>
                  </a:cubicBezTo>
                  <a:cubicBezTo>
                    <a:pt x="68" y="55"/>
                    <a:pt x="68" y="55"/>
                    <a:pt x="68" y="55"/>
                  </a:cubicBezTo>
                  <a:cubicBezTo>
                    <a:pt x="68" y="55"/>
                    <a:pt x="68" y="55"/>
                    <a:pt x="68" y="55"/>
                  </a:cubicBezTo>
                  <a:cubicBezTo>
                    <a:pt x="68" y="55"/>
                    <a:pt x="68" y="55"/>
                    <a:pt x="68" y="55"/>
                  </a:cubicBezTo>
                  <a:cubicBezTo>
                    <a:pt x="68" y="55"/>
                    <a:pt x="69" y="54"/>
                    <a:pt x="69" y="54"/>
                  </a:cubicBezTo>
                  <a:cubicBezTo>
                    <a:pt x="69" y="53"/>
                    <a:pt x="69" y="53"/>
                    <a:pt x="70" y="52"/>
                  </a:cubicBezTo>
                  <a:cubicBezTo>
                    <a:pt x="70" y="52"/>
                    <a:pt x="70" y="52"/>
                    <a:pt x="70" y="52"/>
                  </a:cubicBezTo>
                  <a:cubicBezTo>
                    <a:pt x="70" y="51"/>
                    <a:pt x="70" y="51"/>
                    <a:pt x="70" y="51"/>
                  </a:cubicBezTo>
                  <a:cubicBezTo>
                    <a:pt x="70" y="50"/>
                    <a:pt x="70" y="50"/>
                    <a:pt x="70" y="50"/>
                  </a:cubicBezTo>
                  <a:cubicBezTo>
                    <a:pt x="70" y="49"/>
                    <a:pt x="71" y="48"/>
                    <a:pt x="71" y="48"/>
                  </a:cubicBezTo>
                  <a:cubicBezTo>
                    <a:pt x="71" y="47"/>
                    <a:pt x="71" y="47"/>
                    <a:pt x="71" y="47"/>
                  </a:cubicBezTo>
                  <a:cubicBezTo>
                    <a:pt x="71" y="46"/>
                    <a:pt x="71" y="45"/>
                    <a:pt x="71" y="44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42"/>
                    <a:pt x="72" y="41"/>
                    <a:pt x="72" y="40"/>
                  </a:cubicBezTo>
                  <a:cubicBezTo>
                    <a:pt x="72" y="40"/>
                    <a:pt x="71" y="40"/>
                    <a:pt x="71" y="39"/>
                  </a:cubicBezTo>
                  <a:cubicBezTo>
                    <a:pt x="71" y="38"/>
                    <a:pt x="71" y="38"/>
                    <a:pt x="71" y="37"/>
                  </a:cubicBezTo>
                  <a:cubicBezTo>
                    <a:pt x="71" y="37"/>
                    <a:pt x="71" y="36"/>
                    <a:pt x="71" y="36"/>
                  </a:cubicBezTo>
                  <a:cubicBezTo>
                    <a:pt x="71" y="35"/>
                    <a:pt x="71" y="35"/>
                    <a:pt x="71" y="34"/>
                  </a:cubicBezTo>
                  <a:cubicBezTo>
                    <a:pt x="71" y="34"/>
                    <a:pt x="71" y="33"/>
                    <a:pt x="71" y="33"/>
                  </a:cubicBezTo>
                  <a:cubicBezTo>
                    <a:pt x="71" y="32"/>
                    <a:pt x="71" y="32"/>
                    <a:pt x="71" y="32"/>
                  </a:cubicBezTo>
                  <a:cubicBezTo>
                    <a:pt x="71" y="32"/>
                    <a:pt x="71" y="32"/>
                    <a:pt x="71" y="32"/>
                  </a:cubicBezTo>
                  <a:cubicBezTo>
                    <a:pt x="68" y="21"/>
                    <a:pt x="61" y="12"/>
                    <a:pt x="50" y="7"/>
                  </a:cubicBezTo>
                  <a:cubicBezTo>
                    <a:pt x="32" y="0"/>
                    <a:pt x="12" y="7"/>
                    <a:pt x="4" y="24"/>
                  </a:cubicBezTo>
                  <a:cubicBezTo>
                    <a:pt x="4" y="24"/>
                    <a:pt x="4" y="24"/>
                    <a:pt x="4" y="24"/>
                  </a:cubicBezTo>
                  <a:cubicBezTo>
                    <a:pt x="3" y="25"/>
                    <a:pt x="3" y="26"/>
                    <a:pt x="3" y="26"/>
                  </a:cubicBezTo>
                  <a:cubicBezTo>
                    <a:pt x="3" y="27"/>
                    <a:pt x="3" y="27"/>
                    <a:pt x="2" y="27"/>
                  </a:cubicBezTo>
                  <a:cubicBezTo>
                    <a:pt x="2" y="28"/>
                    <a:pt x="2" y="28"/>
                    <a:pt x="2" y="28"/>
                  </a:cubicBezTo>
                  <a:cubicBezTo>
                    <a:pt x="2" y="28"/>
                    <a:pt x="2" y="28"/>
                    <a:pt x="2" y="28"/>
                  </a:cubicBezTo>
                  <a:cubicBezTo>
                    <a:pt x="2" y="28"/>
                    <a:pt x="2" y="28"/>
                    <a:pt x="2" y="28"/>
                  </a:cubicBezTo>
                  <a:cubicBezTo>
                    <a:pt x="2" y="28"/>
                    <a:pt x="2" y="28"/>
                    <a:pt x="2" y="28"/>
                  </a:cubicBezTo>
                  <a:cubicBezTo>
                    <a:pt x="2" y="29"/>
                    <a:pt x="2" y="29"/>
                    <a:pt x="2" y="29"/>
                  </a:cubicBezTo>
                  <a:cubicBezTo>
                    <a:pt x="2" y="29"/>
                    <a:pt x="2" y="30"/>
                    <a:pt x="1" y="30"/>
                  </a:cubicBezTo>
                  <a:cubicBezTo>
                    <a:pt x="1" y="31"/>
                    <a:pt x="1" y="31"/>
                    <a:pt x="1" y="31"/>
                  </a:cubicBezTo>
                  <a:cubicBezTo>
                    <a:pt x="1" y="31"/>
                    <a:pt x="1" y="31"/>
                    <a:pt x="1" y="31"/>
                  </a:cubicBezTo>
                  <a:cubicBezTo>
                    <a:pt x="0" y="34"/>
                    <a:pt x="0" y="37"/>
                    <a:pt x="0" y="4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0" y="42"/>
                    <a:pt x="0" y="43"/>
                    <a:pt x="0" y="45"/>
                  </a:cubicBezTo>
                  <a:close/>
                </a:path>
              </a:pathLst>
            </a:custGeom>
            <a:solidFill>
              <a:srgbClr val="E8E8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0" name="is1íḓe">
              <a:extLst>
                <a:ext uri="{FF2B5EF4-FFF2-40B4-BE49-F238E27FC236}">
                  <a16:creationId xmlns:a16="http://schemas.microsoft.com/office/drawing/2014/main" id="{CDDFA5D9-6E75-4EC6-BD58-6B490F38D2BE}"/>
                </a:ext>
              </a:extLst>
            </p:cNvPr>
            <p:cNvSpPr/>
            <p:nvPr userDrawn="1"/>
          </p:nvSpPr>
          <p:spPr bwMode="auto">
            <a:xfrm>
              <a:off x="5903913" y="2033588"/>
              <a:ext cx="122238" cy="131763"/>
            </a:xfrm>
            <a:custGeom>
              <a:avLst/>
              <a:gdLst>
                <a:gd name="T0" fmla="*/ 60 w 73"/>
                <a:gd name="T1" fmla="*/ 12 h 78"/>
                <a:gd name="T2" fmla="*/ 12 w 73"/>
                <a:gd name="T3" fmla="*/ 13 h 78"/>
                <a:gd name="T4" fmla="*/ 12 w 73"/>
                <a:gd name="T5" fmla="*/ 13 h 78"/>
                <a:gd name="T6" fmla="*/ 10 w 73"/>
                <a:gd name="T7" fmla="*/ 14 h 78"/>
                <a:gd name="T8" fmla="*/ 9 w 73"/>
                <a:gd name="T9" fmla="*/ 15 h 78"/>
                <a:gd name="T10" fmla="*/ 9 w 73"/>
                <a:gd name="T11" fmla="*/ 15 h 78"/>
                <a:gd name="T12" fmla="*/ 9 w 73"/>
                <a:gd name="T13" fmla="*/ 16 h 78"/>
                <a:gd name="T14" fmla="*/ 8 w 73"/>
                <a:gd name="T15" fmla="*/ 16 h 78"/>
                <a:gd name="T16" fmla="*/ 8 w 73"/>
                <a:gd name="T17" fmla="*/ 16 h 78"/>
                <a:gd name="T18" fmla="*/ 8 w 73"/>
                <a:gd name="T19" fmla="*/ 16 h 78"/>
                <a:gd name="T20" fmla="*/ 7 w 73"/>
                <a:gd name="T21" fmla="*/ 18 h 78"/>
                <a:gd name="T22" fmla="*/ 7 w 73"/>
                <a:gd name="T23" fmla="*/ 18 h 78"/>
                <a:gd name="T24" fmla="*/ 7 w 73"/>
                <a:gd name="T25" fmla="*/ 18 h 78"/>
                <a:gd name="T26" fmla="*/ 3 w 73"/>
                <a:gd name="T27" fmla="*/ 26 h 78"/>
                <a:gd name="T28" fmla="*/ 3 w 73"/>
                <a:gd name="T29" fmla="*/ 26 h 78"/>
                <a:gd name="T30" fmla="*/ 3 w 73"/>
                <a:gd name="T31" fmla="*/ 26 h 78"/>
                <a:gd name="T32" fmla="*/ 1 w 73"/>
                <a:gd name="T33" fmla="*/ 31 h 78"/>
                <a:gd name="T34" fmla="*/ 1 w 73"/>
                <a:gd name="T35" fmla="*/ 32 h 78"/>
                <a:gd name="T36" fmla="*/ 0 w 73"/>
                <a:gd name="T37" fmla="*/ 36 h 78"/>
                <a:gd name="T38" fmla="*/ 0 w 73"/>
                <a:gd name="T39" fmla="*/ 37 h 78"/>
                <a:gd name="T40" fmla="*/ 1 w 73"/>
                <a:gd name="T41" fmla="*/ 41 h 78"/>
                <a:gd name="T42" fmla="*/ 1 w 73"/>
                <a:gd name="T43" fmla="*/ 42 h 78"/>
                <a:gd name="T44" fmla="*/ 1 w 73"/>
                <a:gd name="T45" fmla="*/ 47 h 78"/>
                <a:gd name="T46" fmla="*/ 1 w 73"/>
                <a:gd name="T47" fmla="*/ 47 h 78"/>
                <a:gd name="T48" fmla="*/ 3 w 73"/>
                <a:gd name="T49" fmla="*/ 51 h 78"/>
                <a:gd name="T50" fmla="*/ 3 w 73"/>
                <a:gd name="T51" fmla="*/ 52 h 78"/>
                <a:gd name="T52" fmla="*/ 5 w 73"/>
                <a:gd name="T53" fmla="*/ 56 h 78"/>
                <a:gd name="T54" fmla="*/ 5 w 73"/>
                <a:gd name="T55" fmla="*/ 56 h 78"/>
                <a:gd name="T56" fmla="*/ 8 w 73"/>
                <a:gd name="T57" fmla="*/ 60 h 78"/>
                <a:gd name="T58" fmla="*/ 9 w 73"/>
                <a:gd name="T59" fmla="*/ 61 h 78"/>
                <a:gd name="T60" fmla="*/ 12 w 73"/>
                <a:gd name="T61" fmla="*/ 65 h 78"/>
                <a:gd name="T62" fmla="*/ 59 w 73"/>
                <a:gd name="T63" fmla="*/ 66 h 78"/>
                <a:gd name="T64" fmla="*/ 59 w 73"/>
                <a:gd name="T65" fmla="*/ 66 h 78"/>
                <a:gd name="T66" fmla="*/ 59 w 73"/>
                <a:gd name="T67" fmla="*/ 66 h 78"/>
                <a:gd name="T68" fmla="*/ 61 w 73"/>
                <a:gd name="T69" fmla="*/ 65 h 78"/>
                <a:gd name="T70" fmla="*/ 61 w 73"/>
                <a:gd name="T71" fmla="*/ 65 h 78"/>
                <a:gd name="T72" fmla="*/ 61 w 73"/>
                <a:gd name="T73" fmla="*/ 65 h 78"/>
                <a:gd name="T74" fmla="*/ 61 w 73"/>
                <a:gd name="T75" fmla="*/ 64 h 78"/>
                <a:gd name="T76" fmla="*/ 61 w 73"/>
                <a:gd name="T77" fmla="*/ 64 h 78"/>
                <a:gd name="T78" fmla="*/ 62 w 73"/>
                <a:gd name="T79" fmla="*/ 64 h 78"/>
                <a:gd name="T80" fmla="*/ 62 w 73"/>
                <a:gd name="T81" fmla="*/ 63 h 78"/>
                <a:gd name="T82" fmla="*/ 64 w 73"/>
                <a:gd name="T83" fmla="*/ 61 h 78"/>
                <a:gd name="T84" fmla="*/ 64 w 73"/>
                <a:gd name="T85" fmla="*/ 61 h 78"/>
                <a:gd name="T86" fmla="*/ 66 w 73"/>
                <a:gd name="T87" fmla="*/ 59 h 78"/>
                <a:gd name="T88" fmla="*/ 66 w 73"/>
                <a:gd name="T89" fmla="*/ 58 h 78"/>
                <a:gd name="T90" fmla="*/ 69 w 73"/>
                <a:gd name="T91" fmla="*/ 54 h 78"/>
                <a:gd name="T92" fmla="*/ 69 w 73"/>
                <a:gd name="T93" fmla="*/ 53 h 78"/>
                <a:gd name="T94" fmla="*/ 70 w 73"/>
                <a:gd name="T95" fmla="*/ 49 h 78"/>
                <a:gd name="T96" fmla="*/ 71 w 73"/>
                <a:gd name="T97" fmla="*/ 48 h 78"/>
                <a:gd name="T98" fmla="*/ 72 w 73"/>
                <a:gd name="T99" fmla="*/ 44 h 78"/>
                <a:gd name="T100" fmla="*/ 72 w 73"/>
                <a:gd name="T101" fmla="*/ 43 h 78"/>
                <a:gd name="T102" fmla="*/ 72 w 73"/>
                <a:gd name="T103" fmla="*/ 43 h 78"/>
                <a:gd name="T104" fmla="*/ 60 w 73"/>
                <a:gd name="T105" fmla="*/ 12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73" h="78">
                  <a:moveTo>
                    <a:pt x="60" y="12"/>
                  </a:moveTo>
                  <a:cubicBezTo>
                    <a:pt x="47" y="0"/>
                    <a:pt x="25" y="0"/>
                    <a:pt x="12" y="13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1" y="13"/>
                    <a:pt x="10" y="14"/>
                    <a:pt x="10" y="14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16"/>
                    <a:pt x="9" y="16"/>
                    <a:pt x="9" y="16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8" y="17"/>
                    <a:pt x="8" y="17"/>
                    <a:pt x="7" y="18"/>
                  </a:cubicBezTo>
                  <a:cubicBezTo>
                    <a:pt x="7" y="18"/>
                    <a:pt x="7" y="18"/>
                    <a:pt x="7" y="18"/>
                  </a:cubicBezTo>
                  <a:cubicBezTo>
                    <a:pt x="7" y="18"/>
                    <a:pt x="7" y="18"/>
                    <a:pt x="7" y="18"/>
                  </a:cubicBezTo>
                  <a:cubicBezTo>
                    <a:pt x="5" y="21"/>
                    <a:pt x="4" y="23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2" y="28"/>
                    <a:pt x="2" y="29"/>
                    <a:pt x="1" y="31"/>
                  </a:cubicBezTo>
                  <a:cubicBezTo>
                    <a:pt x="1" y="32"/>
                    <a:pt x="1" y="32"/>
                    <a:pt x="1" y="32"/>
                  </a:cubicBezTo>
                  <a:cubicBezTo>
                    <a:pt x="1" y="33"/>
                    <a:pt x="1" y="35"/>
                    <a:pt x="0" y="36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0" y="38"/>
                    <a:pt x="0" y="40"/>
                    <a:pt x="1" y="41"/>
                  </a:cubicBezTo>
                  <a:cubicBezTo>
                    <a:pt x="1" y="42"/>
                    <a:pt x="1" y="42"/>
                    <a:pt x="1" y="42"/>
                  </a:cubicBezTo>
                  <a:cubicBezTo>
                    <a:pt x="1" y="44"/>
                    <a:pt x="1" y="45"/>
                    <a:pt x="1" y="47"/>
                  </a:cubicBezTo>
                  <a:cubicBezTo>
                    <a:pt x="1" y="47"/>
                    <a:pt x="1" y="47"/>
                    <a:pt x="1" y="47"/>
                  </a:cubicBezTo>
                  <a:cubicBezTo>
                    <a:pt x="2" y="48"/>
                    <a:pt x="2" y="50"/>
                    <a:pt x="3" y="51"/>
                  </a:cubicBezTo>
                  <a:cubicBezTo>
                    <a:pt x="3" y="52"/>
                    <a:pt x="3" y="52"/>
                    <a:pt x="3" y="52"/>
                  </a:cubicBezTo>
                  <a:cubicBezTo>
                    <a:pt x="4" y="54"/>
                    <a:pt x="4" y="55"/>
                    <a:pt x="5" y="56"/>
                  </a:cubicBezTo>
                  <a:cubicBezTo>
                    <a:pt x="5" y="56"/>
                    <a:pt x="5" y="56"/>
                    <a:pt x="5" y="56"/>
                  </a:cubicBezTo>
                  <a:cubicBezTo>
                    <a:pt x="6" y="58"/>
                    <a:pt x="7" y="59"/>
                    <a:pt x="8" y="60"/>
                  </a:cubicBezTo>
                  <a:cubicBezTo>
                    <a:pt x="9" y="61"/>
                    <a:pt x="9" y="61"/>
                    <a:pt x="9" y="61"/>
                  </a:cubicBezTo>
                  <a:cubicBezTo>
                    <a:pt x="10" y="63"/>
                    <a:pt x="11" y="64"/>
                    <a:pt x="12" y="65"/>
                  </a:cubicBezTo>
                  <a:cubicBezTo>
                    <a:pt x="25" y="77"/>
                    <a:pt x="45" y="78"/>
                    <a:pt x="59" y="66"/>
                  </a:cubicBezTo>
                  <a:cubicBezTo>
                    <a:pt x="59" y="66"/>
                    <a:pt x="59" y="66"/>
                    <a:pt x="59" y="66"/>
                  </a:cubicBezTo>
                  <a:cubicBezTo>
                    <a:pt x="59" y="66"/>
                    <a:pt x="59" y="66"/>
                    <a:pt x="59" y="66"/>
                  </a:cubicBezTo>
                  <a:cubicBezTo>
                    <a:pt x="60" y="66"/>
                    <a:pt x="60" y="65"/>
                    <a:pt x="61" y="65"/>
                  </a:cubicBezTo>
                  <a:cubicBezTo>
                    <a:pt x="61" y="65"/>
                    <a:pt x="61" y="65"/>
                    <a:pt x="61" y="65"/>
                  </a:cubicBezTo>
                  <a:cubicBezTo>
                    <a:pt x="61" y="65"/>
                    <a:pt x="61" y="65"/>
                    <a:pt x="61" y="65"/>
                  </a:cubicBezTo>
                  <a:cubicBezTo>
                    <a:pt x="61" y="64"/>
                    <a:pt x="61" y="64"/>
                    <a:pt x="61" y="64"/>
                  </a:cubicBezTo>
                  <a:cubicBezTo>
                    <a:pt x="61" y="64"/>
                    <a:pt x="61" y="64"/>
                    <a:pt x="61" y="64"/>
                  </a:cubicBezTo>
                  <a:cubicBezTo>
                    <a:pt x="62" y="64"/>
                    <a:pt x="62" y="64"/>
                    <a:pt x="62" y="64"/>
                  </a:cubicBezTo>
                  <a:cubicBezTo>
                    <a:pt x="62" y="63"/>
                    <a:pt x="62" y="63"/>
                    <a:pt x="62" y="63"/>
                  </a:cubicBezTo>
                  <a:cubicBezTo>
                    <a:pt x="63" y="62"/>
                    <a:pt x="63" y="62"/>
                    <a:pt x="64" y="61"/>
                  </a:cubicBezTo>
                  <a:cubicBezTo>
                    <a:pt x="64" y="61"/>
                    <a:pt x="64" y="61"/>
                    <a:pt x="64" y="61"/>
                  </a:cubicBezTo>
                  <a:cubicBezTo>
                    <a:pt x="64" y="61"/>
                    <a:pt x="65" y="60"/>
                    <a:pt x="66" y="59"/>
                  </a:cubicBezTo>
                  <a:cubicBezTo>
                    <a:pt x="66" y="58"/>
                    <a:pt x="66" y="58"/>
                    <a:pt x="66" y="58"/>
                  </a:cubicBezTo>
                  <a:cubicBezTo>
                    <a:pt x="67" y="57"/>
                    <a:pt x="68" y="55"/>
                    <a:pt x="69" y="54"/>
                  </a:cubicBezTo>
                  <a:cubicBezTo>
                    <a:pt x="69" y="53"/>
                    <a:pt x="69" y="53"/>
                    <a:pt x="69" y="53"/>
                  </a:cubicBezTo>
                  <a:cubicBezTo>
                    <a:pt x="69" y="52"/>
                    <a:pt x="70" y="50"/>
                    <a:pt x="70" y="49"/>
                  </a:cubicBezTo>
                  <a:cubicBezTo>
                    <a:pt x="71" y="48"/>
                    <a:pt x="71" y="48"/>
                    <a:pt x="71" y="48"/>
                  </a:cubicBezTo>
                  <a:cubicBezTo>
                    <a:pt x="71" y="47"/>
                    <a:pt x="71" y="45"/>
                    <a:pt x="72" y="44"/>
                  </a:cubicBezTo>
                  <a:cubicBezTo>
                    <a:pt x="72" y="43"/>
                    <a:pt x="72" y="43"/>
                    <a:pt x="72" y="43"/>
                  </a:cubicBezTo>
                  <a:cubicBezTo>
                    <a:pt x="72" y="43"/>
                    <a:pt x="72" y="43"/>
                    <a:pt x="72" y="43"/>
                  </a:cubicBezTo>
                  <a:cubicBezTo>
                    <a:pt x="73" y="32"/>
                    <a:pt x="69" y="21"/>
                    <a:pt x="60" y="12"/>
                  </a:cubicBezTo>
                  <a:close/>
                </a:path>
              </a:pathLst>
            </a:custGeom>
            <a:solidFill>
              <a:srgbClr val="E8E8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1" name="i$ḷidé">
              <a:extLst>
                <a:ext uri="{FF2B5EF4-FFF2-40B4-BE49-F238E27FC236}">
                  <a16:creationId xmlns:a16="http://schemas.microsoft.com/office/drawing/2014/main" id="{E4986C3C-4B9A-4C05-B9FF-44F2AF7E5745}"/>
                </a:ext>
              </a:extLst>
            </p:cNvPr>
            <p:cNvSpPr/>
            <p:nvPr userDrawn="1"/>
          </p:nvSpPr>
          <p:spPr bwMode="auto">
            <a:xfrm>
              <a:off x="5776913" y="2249488"/>
              <a:ext cx="128588" cy="123825"/>
            </a:xfrm>
            <a:custGeom>
              <a:avLst/>
              <a:gdLst>
                <a:gd name="T0" fmla="*/ 30 w 76"/>
                <a:gd name="T1" fmla="*/ 3 h 73"/>
                <a:gd name="T2" fmla="*/ 3 w 76"/>
                <a:gd name="T3" fmla="*/ 43 h 73"/>
                <a:gd name="T4" fmla="*/ 3 w 76"/>
                <a:gd name="T5" fmla="*/ 43 h 73"/>
                <a:gd name="T6" fmla="*/ 4 w 76"/>
                <a:gd name="T7" fmla="*/ 46 h 73"/>
                <a:gd name="T8" fmla="*/ 4 w 76"/>
                <a:gd name="T9" fmla="*/ 47 h 73"/>
                <a:gd name="T10" fmla="*/ 4 w 76"/>
                <a:gd name="T11" fmla="*/ 47 h 73"/>
                <a:gd name="T12" fmla="*/ 4 w 76"/>
                <a:gd name="T13" fmla="*/ 47 h 73"/>
                <a:gd name="T14" fmla="*/ 4 w 76"/>
                <a:gd name="T15" fmla="*/ 48 h 73"/>
                <a:gd name="T16" fmla="*/ 4 w 76"/>
                <a:gd name="T17" fmla="*/ 48 h 73"/>
                <a:gd name="T18" fmla="*/ 4 w 76"/>
                <a:gd name="T19" fmla="*/ 48 h 73"/>
                <a:gd name="T20" fmla="*/ 5 w 76"/>
                <a:gd name="T21" fmla="*/ 50 h 73"/>
                <a:gd name="T22" fmla="*/ 5 w 76"/>
                <a:gd name="T23" fmla="*/ 50 h 73"/>
                <a:gd name="T24" fmla="*/ 5 w 76"/>
                <a:gd name="T25" fmla="*/ 50 h 73"/>
                <a:gd name="T26" fmla="*/ 9 w 76"/>
                <a:gd name="T27" fmla="*/ 59 h 73"/>
                <a:gd name="T28" fmla="*/ 9 w 76"/>
                <a:gd name="T29" fmla="*/ 59 h 73"/>
                <a:gd name="T30" fmla="*/ 9 w 76"/>
                <a:gd name="T31" fmla="*/ 59 h 73"/>
                <a:gd name="T32" fmla="*/ 12 w 76"/>
                <a:gd name="T33" fmla="*/ 62 h 73"/>
                <a:gd name="T34" fmla="*/ 13 w 76"/>
                <a:gd name="T35" fmla="*/ 63 h 73"/>
                <a:gd name="T36" fmla="*/ 17 w 76"/>
                <a:gd name="T37" fmla="*/ 66 h 73"/>
                <a:gd name="T38" fmla="*/ 17 w 76"/>
                <a:gd name="T39" fmla="*/ 66 h 73"/>
                <a:gd name="T40" fmla="*/ 21 w 76"/>
                <a:gd name="T41" fmla="*/ 68 h 73"/>
                <a:gd name="T42" fmla="*/ 22 w 76"/>
                <a:gd name="T43" fmla="*/ 69 h 73"/>
                <a:gd name="T44" fmla="*/ 26 w 76"/>
                <a:gd name="T45" fmla="*/ 71 h 73"/>
                <a:gd name="T46" fmla="*/ 26 w 76"/>
                <a:gd name="T47" fmla="*/ 71 h 73"/>
                <a:gd name="T48" fmla="*/ 30 w 76"/>
                <a:gd name="T49" fmla="*/ 72 h 73"/>
                <a:gd name="T50" fmla="*/ 31 w 76"/>
                <a:gd name="T51" fmla="*/ 72 h 73"/>
                <a:gd name="T52" fmla="*/ 36 w 76"/>
                <a:gd name="T53" fmla="*/ 73 h 73"/>
                <a:gd name="T54" fmla="*/ 36 w 76"/>
                <a:gd name="T55" fmla="*/ 73 h 73"/>
                <a:gd name="T56" fmla="*/ 41 w 76"/>
                <a:gd name="T57" fmla="*/ 73 h 73"/>
                <a:gd name="T58" fmla="*/ 42 w 76"/>
                <a:gd name="T59" fmla="*/ 73 h 73"/>
                <a:gd name="T60" fmla="*/ 47 w 76"/>
                <a:gd name="T61" fmla="*/ 72 h 73"/>
                <a:gd name="T62" fmla="*/ 74 w 76"/>
                <a:gd name="T63" fmla="*/ 34 h 73"/>
                <a:gd name="T64" fmla="*/ 74 w 76"/>
                <a:gd name="T65" fmla="*/ 34 h 73"/>
                <a:gd name="T66" fmla="*/ 74 w 76"/>
                <a:gd name="T67" fmla="*/ 33 h 73"/>
                <a:gd name="T68" fmla="*/ 74 w 76"/>
                <a:gd name="T69" fmla="*/ 31 h 73"/>
                <a:gd name="T70" fmla="*/ 74 w 76"/>
                <a:gd name="T71" fmla="*/ 31 h 73"/>
                <a:gd name="T72" fmla="*/ 74 w 76"/>
                <a:gd name="T73" fmla="*/ 31 h 73"/>
                <a:gd name="T74" fmla="*/ 73 w 76"/>
                <a:gd name="T75" fmla="*/ 31 h 73"/>
                <a:gd name="T76" fmla="*/ 73 w 76"/>
                <a:gd name="T77" fmla="*/ 30 h 73"/>
                <a:gd name="T78" fmla="*/ 73 w 76"/>
                <a:gd name="T79" fmla="*/ 30 h 73"/>
                <a:gd name="T80" fmla="*/ 73 w 76"/>
                <a:gd name="T81" fmla="*/ 29 h 73"/>
                <a:gd name="T82" fmla="*/ 72 w 76"/>
                <a:gd name="T83" fmla="*/ 27 h 73"/>
                <a:gd name="T84" fmla="*/ 72 w 76"/>
                <a:gd name="T85" fmla="*/ 27 h 73"/>
                <a:gd name="T86" fmla="*/ 72 w 76"/>
                <a:gd name="T87" fmla="*/ 24 h 73"/>
                <a:gd name="T88" fmla="*/ 71 w 76"/>
                <a:gd name="T89" fmla="*/ 23 h 73"/>
                <a:gd name="T90" fmla="*/ 69 w 76"/>
                <a:gd name="T91" fmla="*/ 19 h 73"/>
                <a:gd name="T92" fmla="*/ 69 w 76"/>
                <a:gd name="T93" fmla="*/ 18 h 73"/>
                <a:gd name="T94" fmla="*/ 66 w 76"/>
                <a:gd name="T95" fmla="*/ 15 h 73"/>
                <a:gd name="T96" fmla="*/ 65 w 76"/>
                <a:gd name="T97" fmla="*/ 14 h 73"/>
                <a:gd name="T98" fmla="*/ 62 w 76"/>
                <a:gd name="T99" fmla="*/ 11 h 73"/>
                <a:gd name="T100" fmla="*/ 62 w 76"/>
                <a:gd name="T101" fmla="*/ 10 h 73"/>
                <a:gd name="T102" fmla="*/ 62 w 76"/>
                <a:gd name="T103" fmla="*/ 11 h 73"/>
                <a:gd name="T104" fmla="*/ 30 w 76"/>
                <a:gd name="T105" fmla="*/ 3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76" h="73">
                  <a:moveTo>
                    <a:pt x="30" y="3"/>
                  </a:moveTo>
                  <a:cubicBezTo>
                    <a:pt x="12" y="7"/>
                    <a:pt x="0" y="25"/>
                    <a:pt x="3" y="43"/>
                  </a:cubicBezTo>
                  <a:cubicBezTo>
                    <a:pt x="3" y="43"/>
                    <a:pt x="3" y="43"/>
                    <a:pt x="3" y="43"/>
                  </a:cubicBezTo>
                  <a:cubicBezTo>
                    <a:pt x="3" y="44"/>
                    <a:pt x="3" y="45"/>
                    <a:pt x="4" y="46"/>
                  </a:cubicBezTo>
                  <a:cubicBezTo>
                    <a:pt x="4" y="46"/>
                    <a:pt x="4" y="46"/>
                    <a:pt x="4" y="47"/>
                  </a:cubicBezTo>
                  <a:cubicBezTo>
                    <a:pt x="4" y="47"/>
                    <a:pt x="4" y="47"/>
                    <a:pt x="4" y="47"/>
                  </a:cubicBezTo>
                  <a:cubicBezTo>
                    <a:pt x="4" y="47"/>
                    <a:pt x="4" y="47"/>
                    <a:pt x="4" y="47"/>
                  </a:cubicBezTo>
                  <a:cubicBezTo>
                    <a:pt x="4" y="48"/>
                    <a:pt x="4" y="48"/>
                    <a:pt x="4" y="48"/>
                  </a:cubicBezTo>
                  <a:cubicBezTo>
                    <a:pt x="4" y="48"/>
                    <a:pt x="4" y="48"/>
                    <a:pt x="4" y="48"/>
                  </a:cubicBezTo>
                  <a:cubicBezTo>
                    <a:pt x="4" y="48"/>
                    <a:pt x="4" y="48"/>
                    <a:pt x="4" y="48"/>
                  </a:cubicBezTo>
                  <a:cubicBezTo>
                    <a:pt x="4" y="49"/>
                    <a:pt x="5" y="49"/>
                    <a:pt x="5" y="50"/>
                  </a:cubicBezTo>
                  <a:cubicBezTo>
                    <a:pt x="5" y="50"/>
                    <a:pt x="5" y="50"/>
                    <a:pt x="5" y="50"/>
                  </a:cubicBezTo>
                  <a:cubicBezTo>
                    <a:pt x="5" y="50"/>
                    <a:pt x="5" y="50"/>
                    <a:pt x="5" y="50"/>
                  </a:cubicBezTo>
                  <a:cubicBezTo>
                    <a:pt x="6" y="53"/>
                    <a:pt x="8" y="56"/>
                    <a:pt x="9" y="59"/>
                  </a:cubicBezTo>
                  <a:cubicBezTo>
                    <a:pt x="9" y="59"/>
                    <a:pt x="9" y="59"/>
                    <a:pt x="9" y="59"/>
                  </a:cubicBezTo>
                  <a:cubicBezTo>
                    <a:pt x="9" y="59"/>
                    <a:pt x="9" y="59"/>
                    <a:pt x="9" y="59"/>
                  </a:cubicBezTo>
                  <a:cubicBezTo>
                    <a:pt x="10" y="60"/>
                    <a:pt x="11" y="61"/>
                    <a:pt x="12" y="62"/>
                  </a:cubicBezTo>
                  <a:cubicBezTo>
                    <a:pt x="13" y="63"/>
                    <a:pt x="13" y="63"/>
                    <a:pt x="13" y="63"/>
                  </a:cubicBezTo>
                  <a:cubicBezTo>
                    <a:pt x="14" y="64"/>
                    <a:pt x="15" y="65"/>
                    <a:pt x="17" y="66"/>
                  </a:cubicBezTo>
                  <a:cubicBezTo>
                    <a:pt x="17" y="66"/>
                    <a:pt x="17" y="66"/>
                    <a:pt x="17" y="66"/>
                  </a:cubicBezTo>
                  <a:cubicBezTo>
                    <a:pt x="18" y="67"/>
                    <a:pt x="19" y="68"/>
                    <a:pt x="21" y="68"/>
                  </a:cubicBezTo>
                  <a:cubicBezTo>
                    <a:pt x="22" y="69"/>
                    <a:pt x="22" y="69"/>
                    <a:pt x="22" y="69"/>
                  </a:cubicBezTo>
                  <a:cubicBezTo>
                    <a:pt x="23" y="70"/>
                    <a:pt x="24" y="70"/>
                    <a:pt x="26" y="71"/>
                  </a:cubicBezTo>
                  <a:cubicBezTo>
                    <a:pt x="26" y="71"/>
                    <a:pt x="26" y="71"/>
                    <a:pt x="26" y="71"/>
                  </a:cubicBezTo>
                  <a:cubicBezTo>
                    <a:pt x="27" y="71"/>
                    <a:pt x="29" y="72"/>
                    <a:pt x="30" y="72"/>
                  </a:cubicBezTo>
                  <a:cubicBezTo>
                    <a:pt x="31" y="72"/>
                    <a:pt x="31" y="72"/>
                    <a:pt x="31" y="72"/>
                  </a:cubicBezTo>
                  <a:cubicBezTo>
                    <a:pt x="33" y="73"/>
                    <a:pt x="34" y="73"/>
                    <a:pt x="36" y="73"/>
                  </a:cubicBezTo>
                  <a:cubicBezTo>
                    <a:pt x="36" y="73"/>
                    <a:pt x="36" y="73"/>
                    <a:pt x="36" y="73"/>
                  </a:cubicBezTo>
                  <a:cubicBezTo>
                    <a:pt x="37" y="73"/>
                    <a:pt x="39" y="73"/>
                    <a:pt x="41" y="73"/>
                  </a:cubicBezTo>
                  <a:cubicBezTo>
                    <a:pt x="41" y="73"/>
                    <a:pt x="41" y="73"/>
                    <a:pt x="42" y="73"/>
                  </a:cubicBezTo>
                  <a:cubicBezTo>
                    <a:pt x="43" y="73"/>
                    <a:pt x="45" y="73"/>
                    <a:pt x="47" y="72"/>
                  </a:cubicBezTo>
                  <a:cubicBezTo>
                    <a:pt x="64" y="68"/>
                    <a:pt x="76" y="51"/>
                    <a:pt x="74" y="34"/>
                  </a:cubicBezTo>
                  <a:cubicBezTo>
                    <a:pt x="74" y="34"/>
                    <a:pt x="74" y="34"/>
                    <a:pt x="74" y="34"/>
                  </a:cubicBezTo>
                  <a:cubicBezTo>
                    <a:pt x="74" y="33"/>
                    <a:pt x="74" y="33"/>
                    <a:pt x="74" y="33"/>
                  </a:cubicBezTo>
                  <a:cubicBezTo>
                    <a:pt x="74" y="33"/>
                    <a:pt x="74" y="32"/>
                    <a:pt x="74" y="31"/>
                  </a:cubicBezTo>
                  <a:cubicBezTo>
                    <a:pt x="74" y="31"/>
                    <a:pt x="74" y="31"/>
                    <a:pt x="74" y="31"/>
                  </a:cubicBezTo>
                  <a:cubicBezTo>
                    <a:pt x="74" y="31"/>
                    <a:pt x="74" y="31"/>
                    <a:pt x="74" y="31"/>
                  </a:cubicBezTo>
                  <a:cubicBezTo>
                    <a:pt x="73" y="31"/>
                    <a:pt x="73" y="31"/>
                    <a:pt x="73" y="31"/>
                  </a:cubicBezTo>
                  <a:cubicBezTo>
                    <a:pt x="73" y="30"/>
                    <a:pt x="73" y="30"/>
                    <a:pt x="73" y="30"/>
                  </a:cubicBezTo>
                  <a:cubicBezTo>
                    <a:pt x="73" y="30"/>
                    <a:pt x="73" y="30"/>
                    <a:pt x="73" y="30"/>
                  </a:cubicBezTo>
                  <a:cubicBezTo>
                    <a:pt x="73" y="30"/>
                    <a:pt x="73" y="29"/>
                    <a:pt x="73" y="29"/>
                  </a:cubicBezTo>
                  <a:cubicBezTo>
                    <a:pt x="73" y="28"/>
                    <a:pt x="73" y="28"/>
                    <a:pt x="72" y="27"/>
                  </a:cubicBezTo>
                  <a:cubicBezTo>
                    <a:pt x="72" y="27"/>
                    <a:pt x="72" y="27"/>
                    <a:pt x="72" y="27"/>
                  </a:cubicBezTo>
                  <a:cubicBezTo>
                    <a:pt x="72" y="26"/>
                    <a:pt x="72" y="25"/>
                    <a:pt x="72" y="24"/>
                  </a:cubicBezTo>
                  <a:cubicBezTo>
                    <a:pt x="71" y="23"/>
                    <a:pt x="71" y="23"/>
                    <a:pt x="71" y="23"/>
                  </a:cubicBezTo>
                  <a:cubicBezTo>
                    <a:pt x="70" y="22"/>
                    <a:pt x="70" y="20"/>
                    <a:pt x="69" y="19"/>
                  </a:cubicBezTo>
                  <a:cubicBezTo>
                    <a:pt x="69" y="18"/>
                    <a:pt x="69" y="18"/>
                    <a:pt x="69" y="18"/>
                  </a:cubicBezTo>
                  <a:cubicBezTo>
                    <a:pt x="68" y="17"/>
                    <a:pt x="67" y="16"/>
                    <a:pt x="66" y="15"/>
                  </a:cubicBezTo>
                  <a:cubicBezTo>
                    <a:pt x="65" y="14"/>
                    <a:pt x="65" y="14"/>
                    <a:pt x="65" y="14"/>
                  </a:cubicBezTo>
                  <a:cubicBezTo>
                    <a:pt x="64" y="13"/>
                    <a:pt x="63" y="12"/>
                    <a:pt x="62" y="11"/>
                  </a:cubicBezTo>
                  <a:cubicBezTo>
                    <a:pt x="62" y="10"/>
                    <a:pt x="62" y="10"/>
                    <a:pt x="62" y="10"/>
                  </a:cubicBezTo>
                  <a:cubicBezTo>
                    <a:pt x="62" y="11"/>
                    <a:pt x="62" y="11"/>
                    <a:pt x="62" y="11"/>
                  </a:cubicBezTo>
                  <a:cubicBezTo>
                    <a:pt x="53" y="3"/>
                    <a:pt x="42" y="0"/>
                    <a:pt x="30" y="3"/>
                  </a:cubicBezTo>
                  <a:close/>
                </a:path>
              </a:pathLst>
            </a:custGeom>
            <a:solidFill>
              <a:srgbClr val="E8E8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2" name="ïṥļïḑe">
              <a:extLst>
                <a:ext uri="{FF2B5EF4-FFF2-40B4-BE49-F238E27FC236}">
                  <a16:creationId xmlns:a16="http://schemas.microsoft.com/office/drawing/2014/main" id="{82C245B8-3C7A-4D35-BE0F-702D12573C00}"/>
                </a:ext>
              </a:extLst>
            </p:cNvPr>
            <p:cNvSpPr/>
            <p:nvPr userDrawn="1"/>
          </p:nvSpPr>
          <p:spPr bwMode="auto">
            <a:xfrm>
              <a:off x="6743700" y="3362325"/>
              <a:ext cx="1446213" cy="1695450"/>
            </a:xfrm>
            <a:custGeom>
              <a:avLst/>
              <a:gdLst>
                <a:gd name="T0" fmla="*/ 911 w 911"/>
                <a:gd name="T1" fmla="*/ 206 h 1068"/>
                <a:gd name="T2" fmla="*/ 288 w 911"/>
                <a:gd name="T3" fmla="*/ 0 h 1068"/>
                <a:gd name="T4" fmla="*/ 288 w 911"/>
                <a:gd name="T5" fmla="*/ 0 h 1068"/>
                <a:gd name="T6" fmla="*/ 0 w 911"/>
                <a:gd name="T7" fmla="*/ 860 h 1068"/>
                <a:gd name="T8" fmla="*/ 624 w 911"/>
                <a:gd name="T9" fmla="*/ 1068 h 1068"/>
                <a:gd name="T10" fmla="*/ 911 w 911"/>
                <a:gd name="T11" fmla="*/ 206 h 10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11" h="1068">
                  <a:moveTo>
                    <a:pt x="911" y="206"/>
                  </a:moveTo>
                  <a:lnTo>
                    <a:pt x="288" y="0"/>
                  </a:lnTo>
                  <a:lnTo>
                    <a:pt x="288" y="0"/>
                  </a:lnTo>
                  <a:lnTo>
                    <a:pt x="0" y="860"/>
                  </a:lnTo>
                  <a:lnTo>
                    <a:pt x="624" y="1068"/>
                  </a:lnTo>
                  <a:lnTo>
                    <a:pt x="911" y="206"/>
                  </a:lnTo>
                  <a:close/>
                </a:path>
              </a:pathLst>
            </a:custGeom>
            <a:solidFill>
              <a:srgbClr val="E8E8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3" name="i$ľîḓé">
              <a:extLst>
                <a:ext uri="{FF2B5EF4-FFF2-40B4-BE49-F238E27FC236}">
                  <a16:creationId xmlns:a16="http://schemas.microsoft.com/office/drawing/2014/main" id="{5FC0758B-C7DD-49EA-90B2-C2F3127C6276}"/>
                </a:ext>
              </a:extLst>
            </p:cNvPr>
            <p:cNvSpPr/>
            <p:nvPr userDrawn="1"/>
          </p:nvSpPr>
          <p:spPr bwMode="auto">
            <a:xfrm>
              <a:off x="6743700" y="3362325"/>
              <a:ext cx="1446213" cy="1695450"/>
            </a:xfrm>
            <a:custGeom>
              <a:avLst/>
              <a:gdLst>
                <a:gd name="T0" fmla="*/ 911 w 911"/>
                <a:gd name="T1" fmla="*/ 206 h 1068"/>
                <a:gd name="T2" fmla="*/ 288 w 911"/>
                <a:gd name="T3" fmla="*/ 0 h 1068"/>
                <a:gd name="T4" fmla="*/ 288 w 911"/>
                <a:gd name="T5" fmla="*/ 0 h 1068"/>
                <a:gd name="T6" fmla="*/ 0 w 911"/>
                <a:gd name="T7" fmla="*/ 860 h 1068"/>
                <a:gd name="T8" fmla="*/ 624 w 911"/>
                <a:gd name="T9" fmla="*/ 1068 h 1068"/>
                <a:gd name="T10" fmla="*/ 911 w 911"/>
                <a:gd name="T11" fmla="*/ 206 h 10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11" h="1068">
                  <a:moveTo>
                    <a:pt x="911" y="206"/>
                  </a:moveTo>
                  <a:lnTo>
                    <a:pt x="288" y="0"/>
                  </a:lnTo>
                  <a:lnTo>
                    <a:pt x="288" y="0"/>
                  </a:lnTo>
                  <a:lnTo>
                    <a:pt x="0" y="860"/>
                  </a:lnTo>
                  <a:lnTo>
                    <a:pt x="624" y="1068"/>
                  </a:lnTo>
                  <a:lnTo>
                    <a:pt x="911" y="206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4" name="íS1îďè">
              <a:extLst>
                <a:ext uri="{FF2B5EF4-FFF2-40B4-BE49-F238E27FC236}">
                  <a16:creationId xmlns:a16="http://schemas.microsoft.com/office/drawing/2014/main" id="{B87B3FD8-A0A7-487C-8D51-2B06C872BBCA}"/>
                </a:ext>
              </a:extLst>
            </p:cNvPr>
            <p:cNvSpPr/>
            <p:nvPr userDrawn="1"/>
          </p:nvSpPr>
          <p:spPr bwMode="auto">
            <a:xfrm>
              <a:off x="6694488" y="3325813"/>
              <a:ext cx="1446213" cy="1693863"/>
            </a:xfrm>
            <a:custGeom>
              <a:avLst/>
              <a:gdLst>
                <a:gd name="T0" fmla="*/ 624 w 911"/>
                <a:gd name="T1" fmla="*/ 1067 h 1067"/>
                <a:gd name="T2" fmla="*/ 0 w 911"/>
                <a:gd name="T3" fmla="*/ 860 h 1067"/>
                <a:gd name="T4" fmla="*/ 288 w 911"/>
                <a:gd name="T5" fmla="*/ 0 h 1067"/>
                <a:gd name="T6" fmla="*/ 911 w 911"/>
                <a:gd name="T7" fmla="*/ 207 h 1067"/>
                <a:gd name="T8" fmla="*/ 624 w 911"/>
                <a:gd name="T9" fmla="*/ 1067 h 10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11" h="1067">
                  <a:moveTo>
                    <a:pt x="624" y="1067"/>
                  </a:moveTo>
                  <a:lnTo>
                    <a:pt x="0" y="860"/>
                  </a:lnTo>
                  <a:lnTo>
                    <a:pt x="288" y="0"/>
                  </a:lnTo>
                  <a:lnTo>
                    <a:pt x="911" y="207"/>
                  </a:lnTo>
                  <a:lnTo>
                    <a:pt x="624" y="106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5" name="îṥḻîḑé">
              <a:extLst>
                <a:ext uri="{FF2B5EF4-FFF2-40B4-BE49-F238E27FC236}">
                  <a16:creationId xmlns:a16="http://schemas.microsoft.com/office/drawing/2014/main" id="{2843A949-B6D6-4426-A370-AFA890CB175A}"/>
                </a:ext>
              </a:extLst>
            </p:cNvPr>
            <p:cNvSpPr/>
            <p:nvPr userDrawn="1"/>
          </p:nvSpPr>
          <p:spPr bwMode="auto">
            <a:xfrm>
              <a:off x="6694488" y="3325813"/>
              <a:ext cx="1446213" cy="1693863"/>
            </a:xfrm>
            <a:custGeom>
              <a:avLst/>
              <a:gdLst>
                <a:gd name="T0" fmla="*/ 624 w 911"/>
                <a:gd name="T1" fmla="*/ 1067 h 1067"/>
                <a:gd name="T2" fmla="*/ 0 w 911"/>
                <a:gd name="T3" fmla="*/ 860 h 1067"/>
                <a:gd name="T4" fmla="*/ 288 w 911"/>
                <a:gd name="T5" fmla="*/ 0 h 1067"/>
                <a:gd name="T6" fmla="*/ 911 w 911"/>
                <a:gd name="T7" fmla="*/ 207 h 1067"/>
                <a:gd name="T8" fmla="*/ 624 w 911"/>
                <a:gd name="T9" fmla="*/ 1067 h 10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11" h="1067">
                  <a:moveTo>
                    <a:pt x="624" y="1067"/>
                  </a:moveTo>
                  <a:lnTo>
                    <a:pt x="0" y="860"/>
                  </a:lnTo>
                  <a:lnTo>
                    <a:pt x="288" y="0"/>
                  </a:lnTo>
                  <a:lnTo>
                    <a:pt x="911" y="207"/>
                  </a:lnTo>
                  <a:lnTo>
                    <a:pt x="624" y="1067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6" name="îśļiďè">
              <a:extLst>
                <a:ext uri="{FF2B5EF4-FFF2-40B4-BE49-F238E27FC236}">
                  <a16:creationId xmlns:a16="http://schemas.microsoft.com/office/drawing/2014/main" id="{02CBD0A7-F34B-43C2-B813-3C266CC66E15}"/>
                </a:ext>
              </a:extLst>
            </p:cNvPr>
            <p:cNvSpPr/>
            <p:nvPr userDrawn="1"/>
          </p:nvSpPr>
          <p:spPr bwMode="auto">
            <a:xfrm>
              <a:off x="6694488" y="3325813"/>
              <a:ext cx="1446213" cy="1365250"/>
            </a:xfrm>
            <a:custGeom>
              <a:avLst/>
              <a:gdLst>
                <a:gd name="T0" fmla="*/ 288 w 911"/>
                <a:gd name="T1" fmla="*/ 0 h 860"/>
                <a:gd name="T2" fmla="*/ 0 w 911"/>
                <a:gd name="T3" fmla="*/ 860 h 860"/>
                <a:gd name="T4" fmla="*/ 911 w 911"/>
                <a:gd name="T5" fmla="*/ 207 h 860"/>
                <a:gd name="T6" fmla="*/ 288 w 911"/>
                <a:gd name="T7" fmla="*/ 0 h 8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11" h="860">
                  <a:moveTo>
                    <a:pt x="288" y="0"/>
                  </a:moveTo>
                  <a:lnTo>
                    <a:pt x="0" y="860"/>
                  </a:lnTo>
                  <a:lnTo>
                    <a:pt x="911" y="207"/>
                  </a:lnTo>
                  <a:lnTo>
                    <a:pt x="288" y="0"/>
                  </a:lnTo>
                  <a:close/>
                </a:path>
              </a:pathLst>
            </a:custGeom>
            <a:solidFill>
              <a:srgbClr val="FAFD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7" name="ïṧ1íḋê">
              <a:extLst>
                <a:ext uri="{FF2B5EF4-FFF2-40B4-BE49-F238E27FC236}">
                  <a16:creationId xmlns:a16="http://schemas.microsoft.com/office/drawing/2014/main" id="{73C4EC69-EB18-4CA6-B4E2-866F11F6798D}"/>
                </a:ext>
              </a:extLst>
            </p:cNvPr>
            <p:cNvSpPr/>
            <p:nvPr userDrawn="1"/>
          </p:nvSpPr>
          <p:spPr bwMode="auto">
            <a:xfrm>
              <a:off x="6694488" y="3325813"/>
              <a:ext cx="1446213" cy="1365250"/>
            </a:xfrm>
            <a:custGeom>
              <a:avLst/>
              <a:gdLst>
                <a:gd name="T0" fmla="*/ 288 w 911"/>
                <a:gd name="T1" fmla="*/ 0 h 860"/>
                <a:gd name="T2" fmla="*/ 0 w 911"/>
                <a:gd name="T3" fmla="*/ 860 h 860"/>
                <a:gd name="T4" fmla="*/ 911 w 911"/>
                <a:gd name="T5" fmla="*/ 207 h 860"/>
                <a:gd name="T6" fmla="*/ 288 w 911"/>
                <a:gd name="T7" fmla="*/ 0 h 8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11" h="860">
                  <a:moveTo>
                    <a:pt x="288" y="0"/>
                  </a:moveTo>
                  <a:lnTo>
                    <a:pt x="0" y="860"/>
                  </a:lnTo>
                  <a:lnTo>
                    <a:pt x="911" y="207"/>
                  </a:lnTo>
                  <a:lnTo>
                    <a:pt x="288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8" name="ï$1ídé">
              <a:extLst>
                <a:ext uri="{FF2B5EF4-FFF2-40B4-BE49-F238E27FC236}">
                  <a16:creationId xmlns:a16="http://schemas.microsoft.com/office/drawing/2014/main" id="{CEC53871-6DF6-4A3D-AAD4-2048F22746CC}"/>
                </a:ext>
              </a:extLst>
            </p:cNvPr>
            <p:cNvSpPr/>
            <p:nvPr userDrawn="1"/>
          </p:nvSpPr>
          <p:spPr bwMode="auto">
            <a:xfrm>
              <a:off x="7183438" y="3589338"/>
              <a:ext cx="257175" cy="107950"/>
            </a:xfrm>
            <a:custGeom>
              <a:avLst/>
              <a:gdLst>
                <a:gd name="T0" fmla="*/ 158 w 162"/>
                <a:gd name="T1" fmla="*/ 68 h 68"/>
                <a:gd name="T2" fmla="*/ 0 w 162"/>
                <a:gd name="T3" fmla="*/ 16 h 68"/>
                <a:gd name="T4" fmla="*/ 5 w 162"/>
                <a:gd name="T5" fmla="*/ 0 h 68"/>
                <a:gd name="T6" fmla="*/ 162 w 162"/>
                <a:gd name="T7" fmla="*/ 52 h 68"/>
                <a:gd name="T8" fmla="*/ 158 w 162"/>
                <a:gd name="T9" fmla="*/ 68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2" h="68">
                  <a:moveTo>
                    <a:pt x="158" y="68"/>
                  </a:moveTo>
                  <a:lnTo>
                    <a:pt x="0" y="16"/>
                  </a:lnTo>
                  <a:lnTo>
                    <a:pt x="5" y="0"/>
                  </a:lnTo>
                  <a:lnTo>
                    <a:pt x="162" y="52"/>
                  </a:lnTo>
                  <a:lnTo>
                    <a:pt x="158" y="68"/>
                  </a:lnTo>
                  <a:close/>
                </a:path>
              </a:pathLst>
            </a:custGeom>
            <a:solidFill>
              <a:srgbClr val="E8E8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9" name="íṩľíďé">
              <a:extLst>
                <a:ext uri="{FF2B5EF4-FFF2-40B4-BE49-F238E27FC236}">
                  <a16:creationId xmlns:a16="http://schemas.microsoft.com/office/drawing/2014/main" id="{5D8164D2-FADF-4C53-B452-FEE5A9E7C998}"/>
                </a:ext>
              </a:extLst>
            </p:cNvPr>
            <p:cNvSpPr/>
            <p:nvPr userDrawn="1"/>
          </p:nvSpPr>
          <p:spPr bwMode="auto">
            <a:xfrm>
              <a:off x="7162800" y="3652838"/>
              <a:ext cx="260350" cy="107950"/>
            </a:xfrm>
            <a:custGeom>
              <a:avLst/>
              <a:gdLst>
                <a:gd name="T0" fmla="*/ 159 w 164"/>
                <a:gd name="T1" fmla="*/ 68 h 68"/>
                <a:gd name="T2" fmla="*/ 0 w 164"/>
                <a:gd name="T3" fmla="*/ 15 h 68"/>
                <a:gd name="T4" fmla="*/ 6 w 164"/>
                <a:gd name="T5" fmla="*/ 0 h 68"/>
                <a:gd name="T6" fmla="*/ 164 w 164"/>
                <a:gd name="T7" fmla="*/ 52 h 68"/>
                <a:gd name="T8" fmla="*/ 159 w 164"/>
                <a:gd name="T9" fmla="*/ 68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4" h="68">
                  <a:moveTo>
                    <a:pt x="159" y="68"/>
                  </a:moveTo>
                  <a:lnTo>
                    <a:pt x="0" y="15"/>
                  </a:lnTo>
                  <a:lnTo>
                    <a:pt x="6" y="0"/>
                  </a:lnTo>
                  <a:lnTo>
                    <a:pt x="164" y="52"/>
                  </a:lnTo>
                  <a:lnTo>
                    <a:pt x="159" y="68"/>
                  </a:lnTo>
                  <a:close/>
                </a:path>
              </a:pathLst>
            </a:custGeom>
            <a:solidFill>
              <a:srgbClr val="E8E8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0" name="iṡlíḑé">
              <a:extLst>
                <a:ext uri="{FF2B5EF4-FFF2-40B4-BE49-F238E27FC236}">
                  <a16:creationId xmlns:a16="http://schemas.microsoft.com/office/drawing/2014/main" id="{6CE9B92B-575F-491D-A579-F2906FFF98B4}"/>
                </a:ext>
              </a:extLst>
            </p:cNvPr>
            <p:cNvSpPr/>
            <p:nvPr userDrawn="1"/>
          </p:nvSpPr>
          <p:spPr bwMode="auto">
            <a:xfrm>
              <a:off x="7162800" y="3652838"/>
              <a:ext cx="260350" cy="107950"/>
            </a:xfrm>
            <a:custGeom>
              <a:avLst/>
              <a:gdLst>
                <a:gd name="T0" fmla="*/ 159 w 164"/>
                <a:gd name="T1" fmla="*/ 68 h 68"/>
                <a:gd name="T2" fmla="*/ 0 w 164"/>
                <a:gd name="T3" fmla="*/ 15 h 68"/>
                <a:gd name="T4" fmla="*/ 6 w 164"/>
                <a:gd name="T5" fmla="*/ 0 h 68"/>
                <a:gd name="T6" fmla="*/ 164 w 164"/>
                <a:gd name="T7" fmla="*/ 52 h 68"/>
                <a:gd name="T8" fmla="*/ 159 w 164"/>
                <a:gd name="T9" fmla="*/ 68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4" h="68">
                  <a:moveTo>
                    <a:pt x="159" y="68"/>
                  </a:moveTo>
                  <a:lnTo>
                    <a:pt x="0" y="15"/>
                  </a:lnTo>
                  <a:lnTo>
                    <a:pt x="6" y="0"/>
                  </a:lnTo>
                  <a:lnTo>
                    <a:pt x="164" y="52"/>
                  </a:lnTo>
                  <a:lnTo>
                    <a:pt x="159" y="68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1" name="ïs1iḋè">
              <a:extLst>
                <a:ext uri="{FF2B5EF4-FFF2-40B4-BE49-F238E27FC236}">
                  <a16:creationId xmlns:a16="http://schemas.microsoft.com/office/drawing/2014/main" id="{7071AC2C-B450-4B98-95EA-229980FC041E}"/>
                </a:ext>
              </a:extLst>
            </p:cNvPr>
            <p:cNvSpPr/>
            <p:nvPr userDrawn="1"/>
          </p:nvSpPr>
          <p:spPr bwMode="auto">
            <a:xfrm>
              <a:off x="7137400" y="3729038"/>
              <a:ext cx="517525" cy="193675"/>
            </a:xfrm>
            <a:custGeom>
              <a:avLst/>
              <a:gdLst>
                <a:gd name="T0" fmla="*/ 321 w 326"/>
                <a:gd name="T1" fmla="*/ 122 h 122"/>
                <a:gd name="T2" fmla="*/ 0 w 326"/>
                <a:gd name="T3" fmla="*/ 16 h 122"/>
                <a:gd name="T4" fmla="*/ 6 w 326"/>
                <a:gd name="T5" fmla="*/ 0 h 122"/>
                <a:gd name="T6" fmla="*/ 326 w 326"/>
                <a:gd name="T7" fmla="*/ 106 h 122"/>
                <a:gd name="T8" fmla="*/ 321 w 326"/>
                <a:gd name="T9" fmla="*/ 122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6" h="122">
                  <a:moveTo>
                    <a:pt x="321" y="122"/>
                  </a:moveTo>
                  <a:lnTo>
                    <a:pt x="0" y="16"/>
                  </a:lnTo>
                  <a:lnTo>
                    <a:pt x="6" y="0"/>
                  </a:lnTo>
                  <a:lnTo>
                    <a:pt x="326" y="106"/>
                  </a:lnTo>
                  <a:lnTo>
                    <a:pt x="321" y="122"/>
                  </a:lnTo>
                  <a:close/>
                </a:path>
              </a:pathLst>
            </a:custGeom>
            <a:solidFill>
              <a:srgbClr val="E8E8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2" name="íşlïďê">
              <a:extLst>
                <a:ext uri="{FF2B5EF4-FFF2-40B4-BE49-F238E27FC236}">
                  <a16:creationId xmlns:a16="http://schemas.microsoft.com/office/drawing/2014/main" id="{56E271F4-3D96-4029-981F-D6904ABB67AE}"/>
                </a:ext>
              </a:extLst>
            </p:cNvPr>
            <p:cNvSpPr/>
            <p:nvPr userDrawn="1"/>
          </p:nvSpPr>
          <p:spPr bwMode="auto">
            <a:xfrm>
              <a:off x="7137400" y="3729038"/>
              <a:ext cx="517525" cy="193675"/>
            </a:xfrm>
            <a:custGeom>
              <a:avLst/>
              <a:gdLst>
                <a:gd name="T0" fmla="*/ 321 w 326"/>
                <a:gd name="T1" fmla="*/ 122 h 122"/>
                <a:gd name="T2" fmla="*/ 0 w 326"/>
                <a:gd name="T3" fmla="*/ 16 h 122"/>
                <a:gd name="T4" fmla="*/ 6 w 326"/>
                <a:gd name="T5" fmla="*/ 0 h 122"/>
                <a:gd name="T6" fmla="*/ 326 w 326"/>
                <a:gd name="T7" fmla="*/ 106 h 122"/>
                <a:gd name="T8" fmla="*/ 321 w 326"/>
                <a:gd name="T9" fmla="*/ 122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6" h="122">
                  <a:moveTo>
                    <a:pt x="321" y="122"/>
                  </a:moveTo>
                  <a:lnTo>
                    <a:pt x="0" y="16"/>
                  </a:lnTo>
                  <a:lnTo>
                    <a:pt x="6" y="0"/>
                  </a:lnTo>
                  <a:lnTo>
                    <a:pt x="326" y="106"/>
                  </a:lnTo>
                  <a:lnTo>
                    <a:pt x="321" y="122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3" name="îşḷíḑé">
              <a:extLst>
                <a:ext uri="{FF2B5EF4-FFF2-40B4-BE49-F238E27FC236}">
                  <a16:creationId xmlns:a16="http://schemas.microsoft.com/office/drawing/2014/main" id="{1ACD37DB-4F6E-4188-8952-2A03191EF827}"/>
                </a:ext>
              </a:extLst>
            </p:cNvPr>
            <p:cNvSpPr/>
            <p:nvPr userDrawn="1"/>
          </p:nvSpPr>
          <p:spPr bwMode="auto">
            <a:xfrm>
              <a:off x="6908800" y="4446588"/>
              <a:ext cx="785813" cy="280988"/>
            </a:xfrm>
            <a:custGeom>
              <a:avLst/>
              <a:gdLst>
                <a:gd name="T0" fmla="*/ 489 w 495"/>
                <a:gd name="T1" fmla="*/ 177 h 177"/>
                <a:gd name="T2" fmla="*/ 0 w 495"/>
                <a:gd name="T3" fmla="*/ 15 h 177"/>
                <a:gd name="T4" fmla="*/ 6 w 495"/>
                <a:gd name="T5" fmla="*/ 0 h 177"/>
                <a:gd name="T6" fmla="*/ 495 w 495"/>
                <a:gd name="T7" fmla="*/ 163 h 177"/>
                <a:gd name="T8" fmla="*/ 489 w 495"/>
                <a:gd name="T9" fmla="*/ 177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5" h="177">
                  <a:moveTo>
                    <a:pt x="489" y="177"/>
                  </a:moveTo>
                  <a:lnTo>
                    <a:pt x="0" y="15"/>
                  </a:lnTo>
                  <a:lnTo>
                    <a:pt x="6" y="0"/>
                  </a:lnTo>
                  <a:lnTo>
                    <a:pt x="495" y="163"/>
                  </a:lnTo>
                  <a:lnTo>
                    <a:pt x="489" y="177"/>
                  </a:lnTo>
                  <a:close/>
                </a:path>
              </a:pathLst>
            </a:custGeom>
            <a:solidFill>
              <a:srgbClr val="E8E8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4" name="i$ľíḍe">
              <a:extLst>
                <a:ext uri="{FF2B5EF4-FFF2-40B4-BE49-F238E27FC236}">
                  <a16:creationId xmlns:a16="http://schemas.microsoft.com/office/drawing/2014/main" id="{EF69696F-9DFF-4200-B553-1F7A936D607F}"/>
                </a:ext>
              </a:extLst>
            </p:cNvPr>
            <p:cNvSpPr/>
            <p:nvPr userDrawn="1"/>
          </p:nvSpPr>
          <p:spPr bwMode="auto">
            <a:xfrm>
              <a:off x="6908800" y="4446588"/>
              <a:ext cx="785813" cy="280988"/>
            </a:xfrm>
            <a:custGeom>
              <a:avLst/>
              <a:gdLst>
                <a:gd name="T0" fmla="*/ 489 w 495"/>
                <a:gd name="T1" fmla="*/ 177 h 177"/>
                <a:gd name="T2" fmla="*/ 0 w 495"/>
                <a:gd name="T3" fmla="*/ 15 h 177"/>
                <a:gd name="T4" fmla="*/ 6 w 495"/>
                <a:gd name="T5" fmla="*/ 0 h 177"/>
                <a:gd name="T6" fmla="*/ 495 w 495"/>
                <a:gd name="T7" fmla="*/ 163 h 177"/>
                <a:gd name="T8" fmla="*/ 489 w 495"/>
                <a:gd name="T9" fmla="*/ 177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5" h="177">
                  <a:moveTo>
                    <a:pt x="489" y="177"/>
                  </a:moveTo>
                  <a:lnTo>
                    <a:pt x="0" y="15"/>
                  </a:lnTo>
                  <a:lnTo>
                    <a:pt x="6" y="0"/>
                  </a:lnTo>
                  <a:lnTo>
                    <a:pt x="495" y="163"/>
                  </a:lnTo>
                  <a:lnTo>
                    <a:pt x="489" y="177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5" name="iṡľïḋé">
              <a:extLst>
                <a:ext uri="{FF2B5EF4-FFF2-40B4-BE49-F238E27FC236}">
                  <a16:creationId xmlns:a16="http://schemas.microsoft.com/office/drawing/2014/main" id="{52D4F8C7-4CEA-4081-B321-9D3E371EAAEC}"/>
                </a:ext>
              </a:extLst>
            </p:cNvPr>
            <p:cNvSpPr/>
            <p:nvPr userDrawn="1"/>
          </p:nvSpPr>
          <p:spPr bwMode="auto">
            <a:xfrm>
              <a:off x="6926263" y="4364038"/>
              <a:ext cx="784225" cy="282575"/>
            </a:xfrm>
            <a:custGeom>
              <a:avLst/>
              <a:gdLst>
                <a:gd name="T0" fmla="*/ 489 w 494"/>
                <a:gd name="T1" fmla="*/ 178 h 178"/>
                <a:gd name="T2" fmla="*/ 0 w 494"/>
                <a:gd name="T3" fmla="*/ 16 h 178"/>
                <a:gd name="T4" fmla="*/ 5 w 494"/>
                <a:gd name="T5" fmla="*/ 0 h 178"/>
                <a:gd name="T6" fmla="*/ 494 w 494"/>
                <a:gd name="T7" fmla="*/ 162 h 178"/>
                <a:gd name="T8" fmla="*/ 489 w 494"/>
                <a:gd name="T9" fmla="*/ 178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4" h="178">
                  <a:moveTo>
                    <a:pt x="489" y="178"/>
                  </a:moveTo>
                  <a:lnTo>
                    <a:pt x="0" y="16"/>
                  </a:lnTo>
                  <a:lnTo>
                    <a:pt x="5" y="0"/>
                  </a:lnTo>
                  <a:lnTo>
                    <a:pt x="494" y="162"/>
                  </a:lnTo>
                  <a:lnTo>
                    <a:pt x="489" y="178"/>
                  </a:lnTo>
                  <a:close/>
                </a:path>
              </a:pathLst>
            </a:custGeom>
            <a:solidFill>
              <a:srgbClr val="E8E8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6" name="iṩlîḑe">
              <a:extLst>
                <a:ext uri="{FF2B5EF4-FFF2-40B4-BE49-F238E27FC236}">
                  <a16:creationId xmlns:a16="http://schemas.microsoft.com/office/drawing/2014/main" id="{D74CF644-11FD-4D45-A1E0-DA86BC43423B}"/>
                </a:ext>
              </a:extLst>
            </p:cNvPr>
            <p:cNvSpPr/>
            <p:nvPr userDrawn="1"/>
          </p:nvSpPr>
          <p:spPr bwMode="auto">
            <a:xfrm>
              <a:off x="6926263" y="4364038"/>
              <a:ext cx="784225" cy="282575"/>
            </a:xfrm>
            <a:custGeom>
              <a:avLst/>
              <a:gdLst>
                <a:gd name="T0" fmla="*/ 489 w 494"/>
                <a:gd name="T1" fmla="*/ 178 h 178"/>
                <a:gd name="T2" fmla="*/ 0 w 494"/>
                <a:gd name="T3" fmla="*/ 16 h 178"/>
                <a:gd name="T4" fmla="*/ 5 w 494"/>
                <a:gd name="T5" fmla="*/ 0 h 178"/>
                <a:gd name="T6" fmla="*/ 494 w 494"/>
                <a:gd name="T7" fmla="*/ 162 h 178"/>
                <a:gd name="T8" fmla="*/ 489 w 494"/>
                <a:gd name="T9" fmla="*/ 178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4" h="178">
                  <a:moveTo>
                    <a:pt x="489" y="178"/>
                  </a:moveTo>
                  <a:lnTo>
                    <a:pt x="0" y="16"/>
                  </a:lnTo>
                  <a:lnTo>
                    <a:pt x="5" y="0"/>
                  </a:lnTo>
                  <a:lnTo>
                    <a:pt x="494" y="162"/>
                  </a:lnTo>
                  <a:lnTo>
                    <a:pt x="489" y="178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7" name="îşḻïďe">
              <a:extLst>
                <a:ext uri="{FF2B5EF4-FFF2-40B4-BE49-F238E27FC236}">
                  <a16:creationId xmlns:a16="http://schemas.microsoft.com/office/drawing/2014/main" id="{C4433141-2F0A-4A08-AA20-6AE8197707F9}"/>
                </a:ext>
              </a:extLst>
            </p:cNvPr>
            <p:cNvSpPr/>
            <p:nvPr userDrawn="1"/>
          </p:nvSpPr>
          <p:spPr bwMode="auto">
            <a:xfrm>
              <a:off x="7085013" y="3883025"/>
              <a:ext cx="787400" cy="282575"/>
            </a:xfrm>
            <a:custGeom>
              <a:avLst/>
              <a:gdLst>
                <a:gd name="T0" fmla="*/ 490 w 496"/>
                <a:gd name="T1" fmla="*/ 178 h 178"/>
                <a:gd name="T2" fmla="*/ 0 w 496"/>
                <a:gd name="T3" fmla="*/ 16 h 178"/>
                <a:gd name="T4" fmla="*/ 6 w 496"/>
                <a:gd name="T5" fmla="*/ 0 h 178"/>
                <a:gd name="T6" fmla="*/ 496 w 496"/>
                <a:gd name="T7" fmla="*/ 162 h 178"/>
                <a:gd name="T8" fmla="*/ 490 w 496"/>
                <a:gd name="T9" fmla="*/ 178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6" h="178">
                  <a:moveTo>
                    <a:pt x="490" y="178"/>
                  </a:moveTo>
                  <a:lnTo>
                    <a:pt x="0" y="16"/>
                  </a:lnTo>
                  <a:lnTo>
                    <a:pt x="6" y="0"/>
                  </a:lnTo>
                  <a:lnTo>
                    <a:pt x="496" y="162"/>
                  </a:lnTo>
                  <a:lnTo>
                    <a:pt x="490" y="178"/>
                  </a:lnTo>
                  <a:close/>
                </a:path>
              </a:pathLst>
            </a:custGeom>
            <a:solidFill>
              <a:srgbClr val="E8E8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8" name="íṡļîḓê">
              <a:extLst>
                <a:ext uri="{FF2B5EF4-FFF2-40B4-BE49-F238E27FC236}">
                  <a16:creationId xmlns:a16="http://schemas.microsoft.com/office/drawing/2014/main" id="{F9AC19AA-07AC-4DBD-96D3-2AD2B3D8E6AE}"/>
                </a:ext>
              </a:extLst>
            </p:cNvPr>
            <p:cNvSpPr/>
            <p:nvPr userDrawn="1"/>
          </p:nvSpPr>
          <p:spPr bwMode="auto">
            <a:xfrm>
              <a:off x="7085013" y="3883025"/>
              <a:ext cx="787400" cy="282575"/>
            </a:xfrm>
            <a:custGeom>
              <a:avLst/>
              <a:gdLst>
                <a:gd name="T0" fmla="*/ 490 w 496"/>
                <a:gd name="T1" fmla="*/ 178 h 178"/>
                <a:gd name="T2" fmla="*/ 0 w 496"/>
                <a:gd name="T3" fmla="*/ 16 h 178"/>
                <a:gd name="T4" fmla="*/ 6 w 496"/>
                <a:gd name="T5" fmla="*/ 0 h 178"/>
                <a:gd name="T6" fmla="*/ 496 w 496"/>
                <a:gd name="T7" fmla="*/ 162 h 178"/>
                <a:gd name="T8" fmla="*/ 490 w 496"/>
                <a:gd name="T9" fmla="*/ 178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6" h="178">
                  <a:moveTo>
                    <a:pt x="490" y="178"/>
                  </a:moveTo>
                  <a:lnTo>
                    <a:pt x="0" y="16"/>
                  </a:lnTo>
                  <a:lnTo>
                    <a:pt x="6" y="0"/>
                  </a:lnTo>
                  <a:lnTo>
                    <a:pt x="496" y="162"/>
                  </a:lnTo>
                  <a:lnTo>
                    <a:pt x="490" y="178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9" name="ïŝḷîḋè">
              <a:extLst>
                <a:ext uri="{FF2B5EF4-FFF2-40B4-BE49-F238E27FC236}">
                  <a16:creationId xmlns:a16="http://schemas.microsoft.com/office/drawing/2014/main" id="{1E8169E6-2D50-4149-A0AC-45147534D9ED}"/>
                </a:ext>
              </a:extLst>
            </p:cNvPr>
            <p:cNvSpPr/>
            <p:nvPr userDrawn="1"/>
          </p:nvSpPr>
          <p:spPr bwMode="auto">
            <a:xfrm>
              <a:off x="6883400" y="4522788"/>
              <a:ext cx="785813" cy="280988"/>
            </a:xfrm>
            <a:custGeom>
              <a:avLst/>
              <a:gdLst>
                <a:gd name="T0" fmla="*/ 491 w 495"/>
                <a:gd name="T1" fmla="*/ 177 h 177"/>
                <a:gd name="T2" fmla="*/ 0 w 495"/>
                <a:gd name="T3" fmla="*/ 15 h 177"/>
                <a:gd name="T4" fmla="*/ 6 w 495"/>
                <a:gd name="T5" fmla="*/ 0 h 177"/>
                <a:gd name="T6" fmla="*/ 495 w 495"/>
                <a:gd name="T7" fmla="*/ 161 h 177"/>
                <a:gd name="T8" fmla="*/ 491 w 495"/>
                <a:gd name="T9" fmla="*/ 177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5" h="177">
                  <a:moveTo>
                    <a:pt x="491" y="177"/>
                  </a:moveTo>
                  <a:lnTo>
                    <a:pt x="0" y="15"/>
                  </a:lnTo>
                  <a:lnTo>
                    <a:pt x="6" y="0"/>
                  </a:lnTo>
                  <a:lnTo>
                    <a:pt x="495" y="161"/>
                  </a:lnTo>
                  <a:lnTo>
                    <a:pt x="491" y="177"/>
                  </a:lnTo>
                  <a:close/>
                </a:path>
              </a:pathLst>
            </a:custGeom>
            <a:solidFill>
              <a:srgbClr val="E8E8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0" name="iṩḷïďê">
              <a:extLst>
                <a:ext uri="{FF2B5EF4-FFF2-40B4-BE49-F238E27FC236}">
                  <a16:creationId xmlns:a16="http://schemas.microsoft.com/office/drawing/2014/main" id="{BB9CCA1F-06A2-44C5-B317-12B864BD8B24}"/>
                </a:ext>
              </a:extLst>
            </p:cNvPr>
            <p:cNvSpPr/>
            <p:nvPr userDrawn="1"/>
          </p:nvSpPr>
          <p:spPr bwMode="auto">
            <a:xfrm>
              <a:off x="6883400" y="4522788"/>
              <a:ext cx="785813" cy="280988"/>
            </a:xfrm>
            <a:custGeom>
              <a:avLst/>
              <a:gdLst>
                <a:gd name="T0" fmla="*/ 491 w 495"/>
                <a:gd name="T1" fmla="*/ 177 h 177"/>
                <a:gd name="T2" fmla="*/ 0 w 495"/>
                <a:gd name="T3" fmla="*/ 15 h 177"/>
                <a:gd name="T4" fmla="*/ 6 w 495"/>
                <a:gd name="T5" fmla="*/ 0 h 177"/>
                <a:gd name="T6" fmla="*/ 495 w 495"/>
                <a:gd name="T7" fmla="*/ 161 h 177"/>
                <a:gd name="T8" fmla="*/ 491 w 495"/>
                <a:gd name="T9" fmla="*/ 177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5" h="177">
                  <a:moveTo>
                    <a:pt x="491" y="177"/>
                  </a:moveTo>
                  <a:lnTo>
                    <a:pt x="0" y="15"/>
                  </a:lnTo>
                  <a:lnTo>
                    <a:pt x="6" y="0"/>
                  </a:lnTo>
                  <a:lnTo>
                    <a:pt x="495" y="161"/>
                  </a:lnTo>
                  <a:lnTo>
                    <a:pt x="491" y="177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1" name="ïṩḷïḓè">
              <a:extLst>
                <a:ext uri="{FF2B5EF4-FFF2-40B4-BE49-F238E27FC236}">
                  <a16:creationId xmlns:a16="http://schemas.microsoft.com/office/drawing/2014/main" id="{81B567C8-ADA6-4E35-B7F2-21407B13A8A0}"/>
                </a:ext>
              </a:extLst>
            </p:cNvPr>
            <p:cNvSpPr/>
            <p:nvPr userDrawn="1"/>
          </p:nvSpPr>
          <p:spPr bwMode="auto">
            <a:xfrm>
              <a:off x="7059613" y="3967163"/>
              <a:ext cx="787400" cy="280988"/>
            </a:xfrm>
            <a:custGeom>
              <a:avLst/>
              <a:gdLst>
                <a:gd name="T0" fmla="*/ 490 w 496"/>
                <a:gd name="T1" fmla="*/ 177 h 177"/>
                <a:gd name="T2" fmla="*/ 0 w 496"/>
                <a:gd name="T3" fmla="*/ 15 h 177"/>
                <a:gd name="T4" fmla="*/ 6 w 496"/>
                <a:gd name="T5" fmla="*/ 0 h 177"/>
                <a:gd name="T6" fmla="*/ 496 w 496"/>
                <a:gd name="T7" fmla="*/ 163 h 177"/>
                <a:gd name="T8" fmla="*/ 490 w 496"/>
                <a:gd name="T9" fmla="*/ 177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6" h="177">
                  <a:moveTo>
                    <a:pt x="490" y="177"/>
                  </a:moveTo>
                  <a:lnTo>
                    <a:pt x="0" y="15"/>
                  </a:lnTo>
                  <a:lnTo>
                    <a:pt x="6" y="0"/>
                  </a:lnTo>
                  <a:lnTo>
                    <a:pt x="496" y="163"/>
                  </a:lnTo>
                  <a:lnTo>
                    <a:pt x="490" y="177"/>
                  </a:lnTo>
                  <a:close/>
                </a:path>
              </a:pathLst>
            </a:custGeom>
            <a:solidFill>
              <a:srgbClr val="E8E8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2" name="îSlîḑé">
              <a:extLst>
                <a:ext uri="{FF2B5EF4-FFF2-40B4-BE49-F238E27FC236}">
                  <a16:creationId xmlns:a16="http://schemas.microsoft.com/office/drawing/2014/main" id="{54DE1199-A5EC-4893-A311-01A4E2AD64E9}"/>
                </a:ext>
              </a:extLst>
            </p:cNvPr>
            <p:cNvSpPr/>
            <p:nvPr userDrawn="1"/>
          </p:nvSpPr>
          <p:spPr bwMode="auto">
            <a:xfrm>
              <a:off x="7059613" y="3967163"/>
              <a:ext cx="787400" cy="280988"/>
            </a:xfrm>
            <a:custGeom>
              <a:avLst/>
              <a:gdLst>
                <a:gd name="T0" fmla="*/ 490 w 496"/>
                <a:gd name="T1" fmla="*/ 177 h 177"/>
                <a:gd name="T2" fmla="*/ 0 w 496"/>
                <a:gd name="T3" fmla="*/ 15 h 177"/>
                <a:gd name="T4" fmla="*/ 6 w 496"/>
                <a:gd name="T5" fmla="*/ 0 h 177"/>
                <a:gd name="T6" fmla="*/ 496 w 496"/>
                <a:gd name="T7" fmla="*/ 163 h 177"/>
                <a:gd name="T8" fmla="*/ 490 w 496"/>
                <a:gd name="T9" fmla="*/ 177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6" h="177">
                  <a:moveTo>
                    <a:pt x="490" y="177"/>
                  </a:moveTo>
                  <a:lnTo>
                    <a:pt x="0" y="15"/>
                  </a:lnTo>
                  <a:lnTo>
                    <a:pt x="6" y="0"/>
                  </a:lnTo>
                  <a:lnTo>
                    <a:pt x="496" y="163"/>
                  </a:lnTo>
                  <a:lnTo>
                    <a:pt x="490" y="177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3" name="ïślíďê">
              <a:extLst>
                <a:ext uri="{FF2B5EF4-FFF2-40B4-BE49-F238E27FC236}">
                  <a16:creationId xmlns:a16="http://schemas.microsoft.com/office/drawing/2014/main" id="{C9DCA9C5-0E62-4082-B390-3D00BF16AEC5}"/>
                </a:ext>
              </a:extLst>
            </p:cNvPr>
            <p:cNvSpPr/>
            <p:nvPr userDrawn="1"/>
          </p:nvSpPr>
          <p:spPr bwMode="auto">
            <a:xfrm>
              <a:off x="7034213" y="4043363"/>
              <a:ext cx="787400" cy="280988"/>
            </a:xfrm>
            <a:custGeom>
              <a:avLst/>
              <a:gdLst>
                <a:gd name="T0" fmla="*/ 490 w 496"/>
                <a:gd name="T1" fmla="*/ 177 h 177"/>
                <a:gd name="T2" fmla="*/ 0 w 496"/>
                <a:gd name="T3" fmla="*/ 15 h 177"/>
                <a:gd name="T4" fmla="*/ 6 w 496"/>
                <a:gd name="T5" fmla="*/ 0 h 177"/>
                <a:gd name="T6" fmla="*/ 496 w 496"/>
                <a:gd name="T7" fmla="*/ 161 h 177"/>
                <a:gd name="T8" fmla="*/ 490 w 496"/>
                <a:gd name="T9" fmla="*/ 177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6" h="177">
                  <a:moveTo>
                    <a:pt x="490" y="177"/>
                  </a:moveTo>
                  <a:lnTo>
                    <a:pt x="0" y="15"/>
                  </a:lnTo>
                  <a:lnTo>
                    <a:pt x="6" y="0"/>
                  </a:lnTo>
                  <a:lnTo>
                    <a:pt x="496" y="161"/>
                  </a:lnTo>
                  <a:lnTo>
                    <a:pt x="490" y="177"/>
                  </a:lnTo>
                  <a:close/>
                </a:path>
              </a:pathLst>
            </a:custGeom>
            <a:solidFill>
              <a:srgbClr val="E8E8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4" name="íṥļíďè">
              <a:extLst>
                <a:ext uri="{FF2B5EF4-FFF2-40B4-BE49-F238E27FC236}">
                  <a16:creationId xmlns:a16="http://schemas.microsoft.com/office/drawing/2014/main" id="{7F77F130-D555-4A29-97A6-0D574E2CC112}"/>
                </a:ext>
              </a:extLst>
            </p:cNvPr>
            <p:cNvSpPr/>
            <p:nvPr userDrawn="1"/>
          </p:nvSpPr>
          <p:spPr bwMode="auto">
            <a:xfrm>
              <a:off x="7034213" y="4043363"/>
              <a:ext cx="787400" cy="280988"/>
            </a:xfrm>
            <a:custGeom>
              <a:avLst/>
              <a:gdLst>
                <a:gd name="T0" fmla="*/ 490 w 496"/>
                <a:gd name="T1" fmla="*/ 177 h 177"/>
                <a:gd name="T2" fmla="*/ 0 w 496"/>
                <a:gd name="T3" fmla="*/ 15 h 177"/>
                <a:gd name="T4" fmla="*/ 6 w 496"/>
                <a:gd name="T5" fmla="*/ 0 h 177"/>
                <a:gd name="T6" fmla="*/ 496 w 496"/>
                <a:gd name="T7" fmla="*/ 161 h 177"/>
                <a:gd name="T8" fmla="*/ 490 w 496"/>
                <a:gd name="T9" fmla="*/ 177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6" h="177">
                  <a:moveTo>
                    <a:pt x="490" y="177"/>
                  </a:moveTo>
                  <a:lnTo>
                    <a:pt x="0" y="15"/>
                  </a:lnTo>
                  <a:lnTo>
                    <a:pt x="6" y="0"/>
                  </a:lnTo>
                  <a:lnTo>
                    <a:pt x="496" y="161"/>
                  </a:lnTo>
                  <a:lnTo>
                    <a:pt x="490" y="177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5" name="ïŝlïḍe">
              <a:extLst>
                <a:ext uri="{FF2B5EF4-FFF2-40B4-BE49-F238E27FC236}">
                  <a16:creationId xmlns:a16="http://schemas.microsoft.com/office/drawing/2014/main" id="{4883D671-1529-4142-B368-7ED9CF0ABE41}"/>
                </a:ext>
              </a:extLst>
            </p:cNvPr>
            <p:cNvSpPr/>
            <p:nvPr userDrawn="1"/>
          </p:nvSpPr>
          <p:spPr bwMode="auto">
            <a:xfrm>
              <a:off x="7004050" y="4122738"/>
              <a:ext cx="784225" cy="282575"/>
            </a:xfrm>
            <a:custGeom>
              <a:avLst/>
              <a:gdLst>
                <a:gd name="T0" fmla="*/ 490 w 494"/>
                <a:gd name="T1" fmla="*/ 178 h 178"/>
                <a:gd name="T2" fmla="*/ 0 w 494"/>
                <a:gd name="T3" fmla="*/ 16 h 178"/>
                <a:gd name="T4" fmla="*/ 5 w 494"/>
                <a:gd name="T5" fmla="*/ 0 h 178"/>
                <a:gd name="T6" fmla="*/ 494 w 494"/>
                <a:gd name="T7" fmla="*/ 162 h 178"/>
                <a:gd name="T8" fmla="*/ 490 w 494"/>
                <a:gd name="T9" fmla="*/ 178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4" h="178">
                  <a:moveTo>
                    <a:pt x="490" y="178"/>
                  </a:moveTo>
                  <a:lnTo>
                    <a:pt x="0" y="16"/>
                  </a:lnTo>
                  <a:lnTo>
                    <a:pt x="5" y="0"/>
                  </a:lnTo>
                  <a:lnTo>
                    <a:pt x="494" y="162"/>
                  </a:lnTo>
                  <a:lnTo>
                    <a:pt x="490" y="178"/>
                  </a:lnTo>
                  <a:close/>
                </a:path>
              </a:pathLst>
            </a:custGeom>
            <a:solidFill>
              <a:srgbClr val="E8E8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6" name="íŝ1ïdè">
              <a:extLst>
                <a:ext uri="{FF2B5EF4-FFF2-40B4-BE49-F238E27FC236}">
                  <a16:creationId xmlns:a16="http://schemas.microsoft.com/office/drawing/2014/main" id="{9D12CB55-3357-4473-9A7E-0C67345DD0B6}"/>
                </a:ext>
              </a:extLst>
            </p:cNvPr>
            <p:cNvSpPr/>
            <p:nvPr userDrawn="1"/>
          </p:nvSpPr>
          <p:spPr bwMode="auto">
            <a:xfrm>
              <a:off x="7004050" y="4122738"/>
              <a:ext cx="784225" cy="282575"/>
            </a:xfrm>
            <a:custGeom>
              <a:avLst/>
              <a:gdLst>
                <a:gd name="T0" fmla="*/ 490 w 494"/>
                <a:gd name="T1" fmla="*/ 178 h 178"/>
                <a:gd name="T2" fmla="*/ 0 w 494"/>
                <a:gd name="T3" fmla="*/ 16 h 178"/>
                <a:gd name="T4" fmla="*/ 5 w 494"/>
                <a:gd name="T5" fmla="*/ 0 h 178"/>
                <a:gd name="T6" fmla="*/ 494 w 494"/>
                <a:gd name="T7" fmla="*/ 162 h 178"/>
                <a:gd name="T8" fmla="*/ 490 w 494"/>
                <a:gd name="T9" fmla="*/ 178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4" h="178">
                  <a:moveTo>
                    <a:pt x="490" y="178"/>
                  </a:moveTo>
                  <a:lnTo>
                    <a:pt x="0" y="16"/>
                  </a:lnTo>
                  <a:lnTo>
                    <a:pt x="5" y="0"/>
                  </a:lnTo>
                  <a:lnTo>
                    <a:pt x="494" y="162"/>
                  </a:lnTo>
                  <a:lnTo>
                    <a:pt x="490" y="178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7" name="íṣļiďé">
              <a:extLst>
                <a:ext uri="{FF2B5EF4-FFF2-40B4-BE49-F238E27FC236}">
                  <a16:creationId xmlns:a16="http://schemas.microsoft.com/office/drawing/2014/main" id="{E5AC3897-EA28-4557-9194-CD9F26C8C050}"/>
                </a:ext>
              </a:extLst>
            </p:cNvPr>
            <p:cNvSpPr/>
            <p:nvPr userDrawn="1"/>
          </p:nvSpPr>
          <p:spPr bwMode="auto">
            <a:xfrm>
              <a:off x="6978650" y="4206875"/>
              <a:ext cx="784225" cy="280988"/>
            </a:xfrm>
            <a:custGeom>
              <a:avLst/>
              <a:gdLst>
                <a:gd name="T0" fmla="*/ 489 w 494"/>
                <a:gd name="T1" fmla="*/ 177 h 177"/>
                <a:gd name="T2" fmla="*/ 0 w 494"/>
                <a:gd name="T3" fmla="*/ 15 h 177"/>
                <a:gd name="T4" fmla="*/ 5 w 494"/>
                <a:gd name="T5" fmla="*/ 0 h 177"/>
                <a:gd name="T6" fmla="*/ 494 w 494"/>
                <a:gd name="T7" fmla="*/ 163 h 177"/>
                <a:gd name="T8" fmla="*/ 489 w 494"/>
                <a:gd name="T9" fmla="*/ 177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4" h="177">
                  <a:moveTo>
                    <a:pt x="489" y="177"/>
                  </a:moveTo>
                  <a:lnTo>
                    <a:pt x="0" y="15"/>
                  </a:lnTo>
                  <a:lnTo>
                    <a:pt x="5" y="0"/>
                  </a:lnTo>
                  <a:lnTo>
                    <a:pt x="494" y="163"/>
                  </a:lnTo>
                  <a:lnTo>
                    <a:pt x="489" y="177"/>
                  </a:lnTo>
                  <a:close/>
                </a:path>
              </a:pathLst>
            </a:custGeom>
            <a:solidFill>
              <a:srgbClr val="E8E8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8" name="îṡliḓê">
              <a:extLst>
                <a:ext uri="{FF2B5EF4-FFF2-40B4-BE49-F238E27FC236}">
                  <a16:creationId xmlns:a16="http://schemas.microsoft.com/office/drawing/2014/main" id="{C7CAB1AE-42AB-414B-855C-8EDD00118707}"/>
                </a:ext>
              </a:extLst>
            </p:cNvPr>
            <p:cNvSpPr/>
            <p:nvPr userDrawn="1"/>
          </p:nvSpPr>
          <p:spPr bwMode="auto">
            <a:xfrm>
              <a:off x="6978650" y="4206875"/>
              <a:ext cx="784225" cy="280988"/>
            </a:xfrm>
            <a:custGeom>
              <a:avLst/>
              <a:gdLst>
                <a:gd name="T0" fmla="*/ 489 w 494"/>
                <a:gd name="T1" fmla="*/ 177 h 177"/>
                <a:gd name="T2" fmla="*/ 0 w 494"/>
                <a:gd name="T3" fmla="*/ 15 h 177"/>
                <a:gd name="T4" fmla="*/ 5 w 494"/>
                <a:gd name="T5" fmla="*/ 0 h 177"/>
                <a:gd name="T6" fmla="*/ 494 w 494"/>
                <a:gd name="T7" fmla="*/ 163 h 177"/>
                <a:gd name="T8" fmla="*/ 489 w 494"/>
                <a:gd name="T9" fmla="*/ 177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4" h="177">
                  <a:moveTo>
                    <a:pt x="489" y="177"/>
                  </a:moveTo>
                  <a:lnTo>
                    <a:pt x="0" y="15"/>
                  </a:lnTo>
                  <a:lnTo>
                    <a:pt x="5" y="0"/>
                  </a:lnTo>
                  <a:lnTo>
                    <a:pt x="494" y="163"/>
                  </a:lnTo>
                  <a:lnTo>
                    <a:pt x="489" y="177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9" name="iṣļïḑè">
              <a:extLst>
                <a:ext uri="{FF2B5EF4-FFF2-40B4-BE49-F238E27FC236}">
                  <a16:creationId xmlns:a16="http://schemas.microsoft.com/office/drawing/2014/main" id="{93958652-1237-4D78-A38D-1EC810318A8F}"/>
                </a:ext>
              </a:extLst>
            </p:cNvPr>
            <p:cNvSpPr/>
            <p:nvPr userDrawn="1"/>
          </p:nvSpPr>
          <p:spPr bwMode="auto">
            <a:xfrm>
              <a:off x="6953250" y="4281488"/>
              <a:ext cx="784225" cy="282575"/>
            </a:xfrm>
            <a:custGeom>
              <a:avLst/>
              <a:gdLst>
                <a:gd name="T0" fmla="*/ 490 w 494"/>
                <a:gd name="T1" fmla="*/ 178 h 178"/>
                <a:gd name="T2" fmla="*/ 0 w 494"/>
                <a:gd name="T3" fmla="*/ 16 h 178"/>
                <a:gd name="T4" fmla="*/ 5 w 494"/>
                <a:gd name="T5" fmla="*/ 0 h 178"/>
                <a:gd name="T6" fmla="*/ 494 w 494"/>
                <a:gd name="T7" fmla="*/ 162 h 178"/>
                <a:gd name="T8" fmla="*/ 490 w 494"/>
                <a:gd name="T9" fmla="*/ 178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4" h="178">
                  <a:moveTo>
                    <a:pt x="490" y="178"/>
                  </a:moveTo>
                  <a:lnTo>
                    <a:pt x="0" y="16"/>
                  </a:lnTo>
                  <a:lnTo>
                    <a:pt x="5" y="0"/>
                  </a:lnTo>
                  <a:lnTo>
                    <a:pt x="494" y="162"/>
                  </a:lnTo>
                  <a:lnTo>
                    <a:pt x="490" y="178"/>
                  </a:lnTo>
                  <a:close/>
                </a:path>
              </a:pathLst>
            </a:custGeom>
            <a:solidFill>
              <a:srgbClr val="E8E8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0" name="íṡļide">
              <a:extLst>
                <a:ext uri="{FF2B5EF4-FFF2-40B4-BE49-F238E27FC236}">
                  <a16:creationId xmlns:a16="http://schemas.microsoft.com/office/drawing/2014/main" id="{1472E238-340F-476C-9AEA-919E5EBB29B8}"/>
                </a:ext>
              </a:extLst>
            </p:cNvPr>
            <p:cNvSpPr/>
            <p:nvPr userDrawn="1"/>
          </p:nvSpPr>
          <p:spPr bwMode="auto">
            <a:xfrm>
              <a:off x="6953250" y="4281488"/>
              <a:ext cx="784225" cy="282575"/>
            </a:xfrm>
            <a:custGeom>
              <a:avLst/>
              <a:gdLst>
                <a:gd name="T0" fmla="*/ 490 w 494"/>
                <a:gd name="T1" fmla="*/ 178 h 178"/>
                <a:gd name="T2" fmla="*/ 0 w 494"/>
                <a:gd name="T3" fmla="*/ 16 h 178"/>
                <a:gd name="T4" fmla="*/ 5 w 494"/>
                <a:gd name="T5" fmla="*/ 0 h 178"/>
                <a:gd name="T6" fmla="*/ 494 w 494"/>
                <a:gd name="T7" fmla="*/ 162 h 178"/>
                <a:gd name="T8" fmla="*/ 490 w 494"/>
                <a:gd name="T9" fmla="*/ 178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4" h="178">
                  <a:moveTo>
                    <a:pt x="490" y="178"/>
                  </a:moveTo>
                  <a:lnTo>
                    <a:pt x="0" y="16"/>
                  </a:lnTo>
                  <a:lnTo>
                    <a:pt x="5" y="0"/>
                  </a:lnTo>
                  <a:lnTo>
                    <a:pt x="494" y="162"/>
                  </a:lnTo>
                  <a:lnTo>
                    <a:pt x="490" y="178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1" name="iṧļiḋê">
              <a:extLst>
                <a:ext uri="{FF2B5EF4-FFF2-40B4-BE49-F238E27FC236}">
                  <a16:creationId xmlns:a16="http://schemas.microsoft.com/office/drawing/2014/main" id="{9307DC00-A505-4B55-A66C-CA5DF020C2CD}"/>
                </a:ext>
              </a:extLst>
            </p:cNvPr>
            <p:cNvSpPr/>
            <p:nvPr userDrawn="1"/>
          </p:nvSpPr>
          <p:spPr bwMode="auto">
            <a:xfrm>
              <a:off x="7112000" y="3803650"/>
              <a:ext cx="517525" cy="193675"/>
            </a:xfrm>
            <a:custGeom>
              <a:avLst/>
              <a:gdLst>
                <a:gd name="T0" fmla="*/ 321 w 326"/>
                <a:gd name="T1" fmla="*/ 122 h 122"/>
                <a:gd name="T2" fmla="*/ 0 w 326"/>
                <a:gd name="T3" fmla="*/ 16 h 122"/>
                <a:gd name="T4" fmla="*/ 6 w 326"/>
                <a:gd name="T5" fmla="*/ 0 h 122"/>
                <a:gd name="T6" fmla="*/ 326 w 326"/>
                <a:gd name="T7" fmla="*/ 106 h 122"/>
                <a:gd name="T8" fmla="*/ 321 w 326"/>
                <a:gd name="T9" fmla="*/ 122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6" h="122">
                  <a:moveTo>
                    <a:pt x="321" y="122"/>
                  </a:moveTo>
                  <a:lnTo>
                    <a:pt x="0" y="16"/>
                  </a:lnTo>
                  <a:lnTo>
                    <a:pt x="6" y="0"/>
                  </a:lnTo>
                  <a:lnTo>
                    <a:pt x="326" y="106"/>
                  </a:lnTo>
                  <a:lnTo>
                    <a:pt x="321" y="122"/>
                  </a:lnTo>
                  <a:close/>
                </a:path>
              </a:pathLst>
            </a:custGeom>
            <a:solidFill>
              <a:srgbClr val="E8E8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2" name="îşlïdè">
              <a:extLst>
                <a:ext uri="{FF2B5EF4-FFF2-40B4-BE49-F238E27FC236}">
                  <a16:creationId xmlns:a16="http://schemas.microsoft.com/office/drawing/2014/main" id="{546A47B5-C57F-418F-ABEA-6D967EA5CE5E}"/>
                </a:ext>
              </a:extLst>
            </p:cNvPr>
            <p:cNvSpPr/>
            <p:nvPr userDrawn="1"/>
          </p:nvSpPr>
          <p:spPr bwMode="auto">
            <a:xfrm>
              <a:off x="7112000" y="3803650"/>
              <a:ext cx="517525" cy="193675"/>
            </a:xfrm>
            <a:custGeom>
              <a:avLst/>
              <a:gdLst>
                <a:gd name="T0" fmla="*/ 321 w 326"/>
                <a:gd name="T1" fmla="*/ 122 h 122"/>
                <a:gd name="T2" fmla="*/ 0 w 326"/>
                <a:gd name="T3" fmla="*/ 16 h 122"/>
                <a:gd name="T4" fmla="*/ 6 w 326"/>
                <a:gd name="T5" fmla="*/ 0 h 122"/>
                <a:gd name="T6" fmla="*/ 326 w 326"/>
                <a:gd name="T7" fmla="*/ 106 h 122"/>
                <a:gd name="T8" fmla="*/ 321 w 326"/>
                <a:gd name="T9" fmla="*/ 122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6" h="122">
                  <a:moveTo>
                    <a:pt x="321" y="122"/>
                  </a:moveTo>
                  <a:lnTo>
                    <a:pt x="0" y="16"/>
                  </a:lnTo>
                  <a:lnTo>
                    <a:pt x="6" y="0"/>
                  </a:lnTo>
                  <a:lnTo>
                    <a:pt x="326" y="106"/>
                  </a:lnTo>
                  <a:lnTo>
                    <a:pt x="321" y="122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3" name="íśļïḓé">
              <a:extLst>
                <a:ext uri="{FF2B5EF4-FFF2-40B4-BE49-F238E27FC236}">
                  <a16:creationId xmlns:a16="http://schemas.microsoft.com/office/drawing/2014/main" id="{B8E899B4-2779-49B6-AF61-E8EEC0B9861D}"/>
                </a:ext>
              </a:extLst>
            </p:cNvPr>
            <p:cNvSpPr/>
            <p:nvPr userDrawn="1"/>
          </p:nvSpPr>
          <p:spPr bwMode="auto">
            <a:xfrm>
              <a:off x="5326063" y="1279525"/>
              <a:ext cx="925513" cy="652463"/>
            </a:xfrm>
            <a:custGeom>
              <a:avLst/>
              <a:gdLst>
                <a:gd name="T0" fmla="*/ 518 w 547"/>
                <a:gd name="T1" fmla="*/ 176 h 387"/>
                <a:gd name="T2" fmla="*/ 112 w 547"/>
                <a:gd name="T3" fmla="*/ 8 h 387"/>
                <a:gd name="T4" fmla="*/ 63 w 547"/>
                <a:gd name="T5" fmla="*/ 28 h 387"/>
                <a:gd name="T6" fmla="*/ 7 w 547"/>
                <a:gd name="T7" fmla="*/ 162 h 387"/>
                <a:gd name="T8" fmla="*/ 28 w 547"/>
                <a:gd name="T9" fmla="*/ 211 h 387"/>
                <a:gd name="T10" fmla="*/ 434 w 547"/>
                <a:gd name="T11" fmla="*/ 379 h 387"/>
                <a:gd name="T12" fmla="*/ 483 w 547"/>
                <a:gd name="T13" fmla="*/ 359 h 387"/>
                <a:gd name="T14" fmla="*/ 539 w 547"/>
                <a:gd name="T15" fmla="*/ 225 h 387"/>
                <a:gd name="T16" fmla="*/ 518 w 547"/>
                <a:gd name="T17" fmla="*/ 176 h 3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7" h="387">
                  <a:moveTo>
                    <a:pt x="518" y="176"/>
                  </a:moveTo>
                  <a:cubicBezTo>
                    <a:pt x="112" y="8"/>
                    <a:pt x="112" y="8"/>
                    <a:pt x="112" y="8"/>
                  </a:cubicBezTo>
                  <a:cubicBezTo>
                    <a:pt x="93" y="0"/>
                    <a:pt x="71" y="9"/>
                    <a:pt x="63" y="28"/>
                  </a:cubicBezTo>
                  <a:cubicBezTo>
                    <a:pt x="7" y="162"/>
                    <a:pt x="7" y="162"/>
                    <a:pt x="7" y="162"/>
                  </a:cubicBezTo>
                  <a:cubicBezTo>
                    <a:pt x="0" y="181"/>
                    <a:pt x="9" y="203"/>
                    <a:pt x="28" y="211"/>
                  </a:cubicBezTo>
                  <a:cubicBezTo>
                    <a:pt x="434" y="379"/>
                    <a:pt x="434" y="379"/>
                    <a:pt x="434" y="379"/>
                  </a:cubicBezTo>
                  <a:cubicBezTo>
                    <a:pt x="454" y="387"/>
                    <a:pt x="475" y="378"/>
                    <a:pt x="483" y="359"/>
                  </a:cubicBezTo>
                  <a:cubicBezTo>
                    <a:pt x="539" y="225"/>
                    <a:pt x="539" y="225"/>
                    <a:pt x="539" y="225"/>
                  </a:cubicBezTo>
                  <a:cubicBezTo>
                    <a:pt x="547" y="206"/>
                    <a:pt x="537" y="184"/>
                    <a:pt x="518" y="176"/>
                  </a:cubicBezTo>
                  <a:close/>
                </a:path>
              </a:pathLst>
            </a:custGeom>
            <a:solidFill>
              <a:srgbClr val="F1F0E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4" name="íṣ1íḓê">
              <a:extLst>
                <a:ext uri="{FF2B5EF4-FFF2-40B4-BE49-F238E27FC236}">
                  <a16:creationId xmlns:a16="http://schemas.microsoft.com/office/drawing/2014/main" id="{707901AA-7FA2-4572-A4E5-54863FB42FDE}"/>
                </a:ext>
              </a:extLst>
            </p:cNvPr>
            <p:cNvSpPr/>
            <p:nvPr userDrawn="1"/>
          </p:nvSpPr>
          <p:spPr bwMode="auto">
            <a:xfrm>
              <a:off x="5464175" y="1349375"/>
              <a:ext cx="123825" cy="128588"/>
            </a:xfrm>
            <a:custGeom>
              <a:avLst/>
              <a:gdLst>
                <a:gd name="T0" fmla="*/ 61 w 74"/>
                <a:gd name="T1" fmla="*/ 66 h 76"/>
                <a:gd name="T2" fmla="*/ 64 w 74"/>
                <a:gd name="T3" fmla="*/ 63 h 76"/>
                <a:gd name="T4" fmla="*/ 66 w 74"/>
                <a:gd name="T5" fmla="*/ 60 h 76"/>
                <a:gd name="T6" fmla="*/ 68 w 74"/>
                <a:gd name="T7" fmla="*/ 57 h 76"/>
                <a:gd name="T8" fmla="*/ 69 w 74"/>
                <a:gd name="T9" fmla="*/ 54 h 76"/>
                <a:gd name="T10" fmla="*/ 70 w 74"/>
                <a:gd name="T11" fmla="*/ 53 h 76"/>
                <a:gd name="T12" fmla="*/ 66 w 74"/>
                <a:gd name="T13" fmla="*/ 20 h 76"/>
                <a:gd name="T14" fmla="*/ 18 w 74"/>
                <a:gd name="T15" fmla="*/ 9 h 76"/>
                <a:gd name="T16" fmla="*/ 15 w 74"/>
                <a:gd name="T17" fmla="*/ 11 h 76"/>
                <a:gd name="T18" fmla="*/ 15 w 74"/>
                <a:gd name="T19" fmla="*/ 12 h 76"/>
                <a:gd name="T20" fmla="*/ 14 w 74"/>
                <a:gd name="T21" fmla="*/ 12 h 76"/>
                <a:gd name="T22" fmla="*/ 13 w 74"/>
                <a:gd name="T23" fmla="*/ 13 h 76"/>
                <a:gd name="T24" fmla="*/ 12 w 74"/>
                <a:gd name="T25" fmla="*/ 14 h 76"/>
                <a:gd name="T26" fmla="*/ 6 w 74"/>
                <a:gd name="T27" fmla="*/ 21 h 76"/>
                <a:gd name="T28" fmla="*/ 6 w 74"/>
                <a:gd name="T29" fmla="*/ 21 h 76"/>
                <a:gd name="T30" fmla="*/ 4 w 74"/>
                <a:gd name="T31" fmla="*/ 24 h 76"/>
                <a:gd name="T32" fmla="*/ 3 w 74"/>
                <a:gd name="T33" fmla="*/ 27 h 76"/>
                <a:gd name="T34" fmla="*/ 2 w 74"/>
                <a:gd name="T35" fmla="*/ 31 h 76"/>
                <a:gd name="T36" fmla="*/ 1 w 74"/>
                <a:gd name="T37" fmla="*/ 34 h 76"/>
                <a:gd name="T38" fmla="*/ 1 w 74"/>
                <a:gd name="T39" fmla="*/ 37 h 76"/>
                <a:gd name="T40" fmla="*/ 0 w 74"/>
                <a:gd name="T41" fmla="*/ 41 h 76"/>
                <a:gd name="T42" fmla="*/ 1 w 74"/>
                <a:gd name="T43" fmla="*/ 44 h 76"/>
                <a:gd name="T44" fmla="*/ 1 w 74"/>
                <a:gd name="T45" fmla="*/ 48 h 76"/>
                <a:gd name="T46" fmla="*/ 2 w 74"/>
                <a:gd name="T47" fmla="*/ 51 h 76"/>
                <a:gd name="T48" fmla="*/ 3 w 74"/>
                <a:gd name="T49" fmla="*/ 55 h 76"/>
                <a:gd name="T50" fmla="*/ 5 w 74"/>
                <a:gd name="T51" fmla="*/ 58 h 76"/>
                <a:gd name="T52" fmla="*/ 20 w 74"/>
                <a:gd name="T53" fmla="*/ 72 h 76"/>
                <a:gd name="T54" fmla="*/ 26 w 74"/>
                <a:gd name="T55" fmla="*/ 75 h 76"/>
                <a:gd name="T56" fmla="*/ 36 w 74"/>
                <a:gd name="T57" fmla="*/ 76 h 76"/>
                <a:gd name="T58" fmla="*/ 52 w 74"/>
                <a:gd name="T59" fmla="*/ 72 h 76"/>
                <a:gd name="T60" fmla="*/ 54 w 74"/>
                <a:gd name="T61" fmla="*/ 71 h 76"/>
                <a:gd name="T62" fmla="*/ 54 w 74"/>
                <a:gd name="T63" fmla="*/ 71 h 76"/>
                <a:gd name="T64" fmla="*/ 55 w 74"/>
                <a:gd name="T65" fmla="*/ 71 h 76"/>
                <a:gd name="T66" fmla="*/ 56 w 74"/>
                <a:gd name="T67" fmla="*/ 70 h 76"/>
                <a:gd name="T68" fmla="*/ 58 w 74"/>
                <a:gd name="T69" fmla="*/ 68 h 76"/>
                <a:gd name="T70" fmla="*/ 60 w 74"/>
                <a:gd name="T71" fmla="*/ 67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74" h="76">
                  <a:moveTo>
                    <a:pt x="60" y="67"/>
                  </a:moveTo>
                  <a:cubicBezTo>
                    <a:pt x="60" y="67"/>
                    <a:pt x="61" y="66"/>
                    <a:pt x="61" y="66"/>
                  </a:cubicBezTo>
                  <a:cubicBezTo>
                    <a:pt x="62" y="65"/>
                    <a:pt x="62" y="65"/>
                    <a:pt x="62" y="65"/>
                  </a:cubicBezTo>
                  <a:cubicBezTo>
                    <a:pt x="63" y="64"/>
                    <a:pt x="63" y="64"/>
                    <a:pt x="64" y="63"/>
                  </a:cubicBezTo>
                  <a:cubicBezTo>
                    <a:pt x="64" y="62"/>
                    <a:pt x="64" y="62"/>
                    <a:pt x="64" y="62"/>
                  </a:cubicBezTo>
                  <a:cubicBezTo>
                    <a:pt x="65" y="62"/>
                    <a:pt x="66" y="61"/>
                    <a:pt x="66" y="60"/>
                  </a:cubicBezTo>
                  <a:cubicBezTo>
                    <a:pt x="67" y="59"/>
                    <a:pt x="67" y="59"/>
                    <a:pt x="67" y="59"/>
                  </a:cubicBezTo>
                  <a:cubicBezTo>
                    <a:pt x="67" y="58"/>
                    <a:pt x="67" y="58"/>
                    <a:pt x="68" y="57"/>
                  </a:cubicBezTo>
                  <a:cubicBezTo>
                    <a:pt x="68" y="57"/>
                    <a:pt x="68" y="56"/>
                    <a:pt x="68" y="56"/>
                  </a:cubicBezTo>
                  <a:cubicBezTo>
                    <a:pt x="69" y="55"/>
                    <a:pt x="69" y="55"/>
                    <a:pt x="69" y="54"/>
                  </a:cubicBezTo>
                  <a:cubicBezTo>
                    <a:pt x="69" y="54"/>
                    <a:pt x="69" y="53"/>
                    <a:pt x="70" y="53"/>
                  </a:cubicBezTo>
                  <a:cubicBezTo>
                    <a:pt x="70" y="53"/>
                    <a:pt x="70" y="53"/>
                    <a:pt x="70" y="53"/>
                  </a:cubicBezTo>
                  <a:cubicBezTo>
                    <a:pt x="70" y="53"/>
                    <a:pt x="70" y="53"/>
                    <a:pt x="70" y="53"/>
                  </a:cubicBezTo>
                  <a:cubicBezTo>
                    <a:pt x="74" y="42"/>
                    <a:pt x="72" y="30"/>
                    <a:pt x="66" y="20"/>
                  </a:cubicBezTo>
                  <a:cubicBezTo>
                    <a:pt x="55" y="4"/>
                    <a:pt x="34" y="0"/>
                    <a:pt x="18" y="9"/>
                  </a:cubicBezTo>
                  <a:cubicBezTo>
                    <a:pt x="18" y="9"/>
                    <a:pt x="18" y="9"/>
                    <a:pt x="18" y="9"/>
                  </a:cubicBezTo>
                  <a:cubicBezTo>
                    <a:pt x="17" y="10"/>
                    <a:pt x="17" y="10"/>
                    <a:pt x="16" y="11"/>
                  </a:cubicBezTo>
                  <a:cubicBezTo>
                    <a:pt x="15" y="11"/>
                    <a:pt x="15" y="11"/>
                    <a:pt x="15" y="11"/>
                  </a:cubicBezTo>
                  <a:cubicBezTo>
                    <a:pt x="15" y="12"/>
                    <a:pt x="15" y="12"/>
                    <a:pt x="15" y="12"/>
                  </a:cubicBezTo>
                  <a:cubicBezTo>
                    <a:pt x="15" y="12"/>
                    <a:pt x="15" y="12"/>
                    <a:pt x="15" y="12"/>
                  </a:cubicBezTo>
                  <a:cubicBezTo>
                    <a:pt x="14" y="12"/>
                    <a:pt x="14" y="12"/>
                    <a:pt x="14" y="12"/>
                  </a:cubicBezTo>
                  <a:cubicBezTo>
                    <a:pt x="14" y="12"/>
                    <a:pt x="14" y="12"/>
                    <a:pt x="14" y="12"/>
                  </a:cubicBezTo>
                  <a:cubicBezTo>
                    <a:pt x="14" y="12"/>
                    <a:pt x="14" y="12"/>
                    <a:pt x="14" y="12"/>
                  </a:cubicBezTo>
                  <a:cubicBezTo>
                    <a:pt x="14" y="13"/>
                    <a:pt x="13" y="13"/>
                    <a:pt x="13" y="13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0" y="16"/>
                    <a:pt x="8" y="18"/>
                    <a:pt x="6" y="21"/>
                  </a:cubicBezTo>
                  <a:cubicBezTo>
                    <a:pt x="6" y="21"/>
                    <a:pt x="6" y="21"/>
                    <a:pt x="6" y="21"/>
                  </a:cubicBezTo>
                  <a:cubicBezTo>
                    <a:pt x="6" y="21"/>
                    <a:pt x="6" y="21"/>
                    <a:pt x="6" y="21"/>
                  </a:cubicBezTo>
                  <a:cubicBezTo>
                    <a:pt x="6" y="21"/>
                    <a:pt x="6" y="21"/>
                    <a:pt x="6" y="21"/>
                  </a:cubicBezTo>
                  <a:cubicBezTo>
                    <a:pt x="5" y="22"/>
                    <a:pt x="5" y="23"/>
                    <a:pt x="5" y="24"/>
                  </a:cubicBezTo>
                  <a:cubicBezTo>
                    <a:pt x="4" y="24"/>
                    <a:pt x="4" y="24"/>
                    <a:pt x="4" y="24"/>
                  </a:cubicBezTo>
                  <a:cubicBezTo>
                    <a:pt x="4" y="25"/>
                    <a:pt x="3" y="26"/>
                    <a:pt x="3" y="26"/>
                  </a:cubicBezTo>
                  <a:cubicBezTo>
                    <a:pt x="3" y="27"/>
                    <a:pt x="3" y="27"/>
                    <a:pt x="3" y="27"/>
                  </a:cubicBezTo>
                  <a:cubicBezTo>
                    <a:pt x="2" y="28"/>
                    <a:pt x="2" y="29"/>
                    <a:pt x="2" y="30"/>
                  </a:cubicBezTo>
                  <a:cubicBezTo>
                    <a:pt x="2" y="31"/>
                    <a:pt x="2" y="31"/>
                    <a:pt x="2" y="31"/>
                  </a:cubicBezTo>
                  <a:cubicBezTo>
                    <a:pt x="1" y="31"/>
                    <a:pt x="1" y="32"/>
                    <a:pt x="1" y="33"/>
                  </a:cubicBezTo>
                  <a:cubicBezTo>
                    <a:pt x="1" y="34"/>
                    <a:pt x="1" y="34"/>
                    <a:pt x="1" y="34"/>
                  </a:cubicBezTo>
                  <a:cubicBezTo>
                    <a:pt x="1" y="35"/>
                    <a:pt x="1" y="36"/>
                    <a:pt x="1" y="36"/>
                  </a:cubicBezTo>
                  <a:cubicBezTo>
                    <a:pt x="1" y="37"/>
                    <a:pt x="1" y="37"/>
                    <a:pt x="1" y="37"/>
                  </a:cubicBezTo>
                  <a:cubicBezTo>
                    <a:pt x="0" y="38"/>
                    <a:pt x="0" y="39"/>
                    <a:pt x="0" y="40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42"/>
                    <a:pt x="0" y="43"/>
                    <a:pt x="1" y="44"/>
                  </a:cubicBezTo>
                  <a:cubicBezTo>
                    <a:pt x="1" y="44"/>
                    <a:pt x="1" y="44"/>
                    <a:pt x="1" y="44"/>
                  </a:cubicBezTo>
                  <a:cubicBezTo>
                    <a:pt x="1" y="45"/>
                    <a:pt x="1" y="46"/>
                    <a:pt x="1" y="47"/>
                  </a:cubicBezTo>
                  <a:cubicBezTo>
                    <a:pt x="1" y="48"/>
                    <a:pt x="1" y="48"/>
                    <a:pt x="1" y="48"/>
                  </a:cubicBezTo>
                  <a:cubicBezTo>
                    <a:pt x="1" y="49"/>
                    <a:pt x="2" y="50"/>
                    <a:pt x="2" y="51"/>
                  </a:cubicBezTo>
                  <a:cubicBezTo>
                    <a:pt x="2" y="51"/>
                    <a:pt x="2" y="51"/>
                    <a:pt x="2" y="51"/>
                  </a:cubicBezTo>
                  <a:cubicBezTo>
                    <a:pt x="2" y="52"/>
                    <a:pt x="3" y="53"/>
                    <a:pt x="3" y="54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4" y="55"/>
                    <a:pt x="4" y="56"/>
                    <a:pt x="4" y="57"/>
                  </a:cubicBezTo>
                  <a:cubicBezTo>
                    <a:pt x="5" y="58"/>
                    <a:pt x="5" y="58"/>
                    <a:pt x="5" y="58"/>
                  </a:cubicBezTo>
                  <a:cubicBezTo>
                    <a:pt x="5" y="59"/>
                    <a:pt x="6" y="59"/>
                    <a:pt x="7" y="60"/>
                  </a:cubicBezTo>
                  <a:cubicBezTo>
                    <a:pt x="10" y="66"/>
                    <a:pt x="15" y="69"/>
                    <a:pt x="20" y="72"/>
                  </a:cubicBezTo>
                  <a:cubicBezTo>
                    <a:pt x="21" y="73"/>
                    <a:pt x="22" y="73"/>
                    <a:pt x="23" y="73"/>
                  </a:cubicBezTo>
                  <a:cubicBezTo>
                    <a:pt x="24" y="74"/>
                    <a:pt x="25" y="74"/>
                    <a:pt x="26" y="75"/>
                  </a:cubicBezTo>
                  <a:cubicBezTo>
                    <a:pt x="27" y="75"/>
                    <a:pt x="28" y="75"/>
                    <a:pt x="29" y="75"/>
                  </a:cubicBezTo>
                  <a:cubicBezTo>
                    <a:pt x="32" y="76"/>
                    <a:pt x="34" y="76"/>
                    <a:pt x="36" y="76"/>
                  </a:cubicBezTo>
                  <a:cubicBezTo>
                    <a:pt x="42" y="76"/>
                    <a:pt x="47" y="75"/>
                    <a:pt x="52" y="72"/>
                  </a:cubicBezTo>
                  <a:cubicBezTo>
                    <a:pt x="52" y="72"/>
                    <a:pt x="52" y="72"/>
                    <a:pt x="52" y="72"/>
                  </a:cubicBezTo>
                  <a:cubicBezTo>
                    <a:pt x="53" y="72"/>
                    <a:pt x="53" y="72"/>
                    <a:pt x="53" y="72"/>
                  </a:cubicBezTo>
                  <a:cubicBezTo>
                    <a:pt x="53" y="72"/>
                    <a:pt x="54" y="71"/>
                    <a:pt x="54" y="71"/>
                  </a:cubicBezTo>
                  <a:cubicBezTo>
                    <a:pt x="54" y="71"/>
                    <a:pt x="54" y="71"/>
                    <a:pt x="54" y="71"/>
                  </a:cubicBezTo>
                  <a:cubicBezTo>
                    <a:pt x="54" y="71"/>
                    <a:pt x="54" y="71"/>
                    <a:pt x="54" y="71"/>
                  </a:cubicBezTo>
                  <a:cubicBezTo>
                    <a:pt x="55" y="71"/>
                    <a:pt x="55" y="71"/>
                    <a:pt x="55" y="71"/>
                  </a:cubicBezTo>
                  <a:cubicBezTo>
                    <a:pt x="55" y="71"/>
                    <a:pt x="55" y="71"/>
                    <a:pt x="55" y="71"/>
                  </a:cubicBezTo>
                  <a:cubicBezTo>
                    <a:pt x="55" y="70"/>
                    <a:pt x="55" y="70"/>
                    <a:pt x="55" y="70"/>
                  </a:cubicBezTo>
                  <a:cubicBezTo>
                    <a:pt x="56" y="70"/>
                    <a:pt x="56" y="70"/>
                    <a:pt x="56" y="70"/>
                  </a:cubicBezTo>
                  <a:cubicBezTo>
                    <a:pt x="57" y="69"/>
                    <a:pt x="58" y="69"/>
                    <a:pt x="58" y="68"/>
                  </a:cubicBezTo>
                  <a:cubicBezTo>
                    <a:pt x="58" y="68"/>
                    <a:pt x="58" y="68"/>
                    <a:pt x="58" y="68"/>
                  </a:cubicBezTo>
                  <a:cubicBezTo>
                    <a:pt x="59" y="68"/>
                    <a:pt x="59" y="68"/>
                    <a:pt x="59" y="68"/>
                  </a:cubicBezTo>
                  <a:lnTo>
                    <a:pt x="60" y="67"/>
                  </a:lnTo>
                  <a:close/>
                </a:path>
              </a:pathLst>
            </a:custGeom>
            <a:solidFill>
              <a:srgbClr val="D9D8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5" name="îṣlîḑé">
              <a:extLst>
                <a:ext uri="{FF2B5EF4-FFF2-40B4-BE49-F238E27FC236}">
                  <a16:creationId xmlns:a16="http://schemas.microsoft.com/office/drawing/2014/main" id="{3DDF9517-FE1B-4398-8260-13098AE04FA5}"/>
                </a:ext>
              </a:extLst>
            </p:cNvPr>
            <p:cNvSpPr/>
            <p:nvPr userDrawn="1"/>
          </p:nvSpPr>
          <p:spPr bwMode="auto">
            <a:xfrm>
              <a:off x="5449888" y="1338263"/>
              <a:ext cx="136525" cy="136525"/>
            </a:xfrm>
            <a:custGeom>
              <a:avLst/>
              <a:gdLst>
                <a:gd name="T0" fmla="*/ 74 w 81"/>
                <a:gd name="T1" fmla="*/ 54 h 81"/>
                <a:gd name="T2" fmla="*/ 27 w 81"/>
                <a:gd name="T3" fmla="*/ 73 h 81"/>
                <a:gd name="T4" fmla="*/ 8 w 81"/>
                <a:gd name="T5" fmla="*/ 27 h 81"/>
                <a:gd name="T6" fmla="*/ 54 w 81"/>
                <a:gd name="T7" fmla="*/ 7 h 81"/>
                <a:gd name="T8" fmla="*/ 74 w 81"/>
                <a:gd name="T9" fmla="*/ 54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1" h="81">
                  <a:moveTo>
                    <a:pt x="74" y="54"/>
                  </a:moveTo>
                  <a:cubicBezTo>
                    <a:pt x="66" y="72"/>
                    <a:pt x="45" y="81"/>
                    <a:pt x="27" y="73"/>
                  </a:cubicBezTo>
                  <a:cubicBezTo>
                    <a:pt x="9" y="66"/>
                    <a:pt x="0" y="45"/>
                    <a:pt x="8" y="27"/>
                  </a:cubicBezTo>
                  <a:cubicBezTo>
                    <a:pt x="15" y="8"/>
                    <a:pt x="36" y="0"/>
                    <a:pt x="54" y="7"/>
                  </a:cubicBezTo>
                  <a:cubicBezTo>
                    <a:pt x="73" y="15"/>
                    <a:pt x="81" y="36"/>
                    <a:pt x="74" y="54"/>
                  </a:cubicBezTo>
                  <a:close/>
                </a:path>
              </a:pathLst>
            </a:custGeom>
            <a:solidFill>
              <a:srgbClr val="FF787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6" name="ïsļîde">
              <a:extLst>
                <a:ext uri="{FF2B5EF4-FFF2-40B4-BE49-F238E27FC236}">
                  <a16:creationId xmlns:a16="http://schemas.microsoft.com/office/drawing/2014/main" id="{9367FE11-29D6-413B-929E-148115832D7D}"/>
                </a:ext>
              </a:extLst>
            </p:cNvPr>
            <p:cNvSpPr/>
            <p:nvPr userDrawn="1"/>
          </p:nvSpPr>
          <p:spPr bwMode="auto">
            <a:xfrm>
              <a:off x="5457825" y="1393825"/>
              <a:ext cx="122238" cy="80963"/>
            </a:xfrm>
            <a:custGeom>
              <a:avLst/>
              <a:gdLst>
                <a:gd name="T0" fmla="*/ 70 w 72"/>
                <a:gd name="T1" fmla="*/ 0 h 48"/>
                <a:gd name="T2" fmla="*/ 68 w 72"/>
                <a:gd name="T3" fmla="*/ 13 h 48"/>
                <a:gd name="T4" fmla="*/ 21 w 72"/>
                <a:gd name="T5" fmla="*/ 32 h 48"/>
                <a:gd name="T6" fmla="*/ 0 w 72"/>
                <a:gd name="T7" fmla="*/ 7 h 48"/>
                <a:gd name="T8" fmla="*/ 22 w 72"/>
                <a:gd name="T9" fmla="*/ 40 h 48"/>
                <a:gd name="T10" fmla="*/ 69 w 72"/>
                <a:gd name="T11" fmla="*/ 21 h 48"/>
                <a:gd name="T12" fmla="*/ 70 w 72"/>
                <a:gd name="T13" fmla="*/ 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2" h="48">
                  <a:moveTo>
                    <a:pt x="70" y="0"/>
                  </a:moveTo>
                  <a:cubicBezTo>
                    <a:pt x="70" y="4"/>
                    <a:pt x="70" y="9"/>
                    <a:pt x="68" y="13"/>
                  </a:cubicBezTo>
                  <a:cubicBezTo>
                    <a:pt x="60" y="32"/>
                    <a:pt x="39" y="40"/>
                    <a:pt x="21" y="32"/>
                  </a:cubicBezTo>
                  <a:cubicBezTo>
                    <a:pt x="10" y="28"/>
                    <a:pt x="2" y="18"/>
                    <a:pt x="0" y="7"/>
                  </a:cubicBezTo>
                  <a:cubicBezTo>
                    <a:pt x="0" y="21"/>
                    <a:pt x="8" y="35"/>
                    <a:pt x="22" y="40"/>
                  </a:cubicBezTo>
                  <a:cubicBezTo>
                    <a:pt x="40" y="48"/>
                    <a:pt x="61" y="39"/>
                    <a:pt x="69" y="21"/>
                  </a:cubicBezTo>
                  <a:cubicBezTo>
                    <a:pt x="72" y="14"/>
                    <a:pt x="72" y="7"/>
                    <a:pt x="70" y="0"/>
                  </a:cubicBezTo>
                  <a:close/>
                </a:path>
              </a:pathLst>
            </a:custGeom>
            <a:solidFill>
              <a:srgbClr val="F56E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7" name="iṥ1íḑé">
              <a:extLst>
                <a:ext uri="{FF2B5EF4-FFF2-40B4-BE49-F238E27FC236}">
                  <a16:creationId xmlns:a16="http://schemas.microsoft.com/office/drawing/2014/main" id="{DB286A7A-D225-4259-A72C-224A507C6A63}"/>
                </a:ext>
              </a:extLst>
            </p:cNvPr>
            <p:cNvSpPr/>
            <p:nvPr userDrawn="1"/>
          </p:nvSpPr>
          <p:spPr bwMode="auto">
            <a:xfrm>
              <a:off x="5459413" y="1384300"/>
              <a:ext cx="114300" cy="52388"/>
            </a:xfrm>
            <a:custGeom>
              <a:avLst/>
              <a:gdLst>
                <a:gd name="T0" fmla="*/ 1 w 67"/>
                <a:gd name="T1" fmla="*/ 1 h 31"/>
                <a:gd name="T2" fmla="*/ 0 w 67"/>
                <a:gd name="T3" fmla="*/ 4 h 31"/>
                <a:gd name="T4" fmla="*/ 65 w 67"/>
                <a:gd name="T5" fmla="*/ 31 h 31"/>
                <a:gd name="T6" fmla="*/ 67 w 67"/>
                <a:gd name="T7" fmla="*/ 29 h 31"/>
                <a:gd name="T8" fmla="*/ 67 w 67"/>
                <a:gd name="T9" fmla="*/ 27 h 31"/>
                <a:gd name="T10" fmla="*/ 2 w 67"/>
                <a:gd name="T11" fmla="*/ 0 h 31"/>
                <a:gd name="T12" fmla="*/ 1 w 67"/>
                <a:gd name="T13" fmla="*/ 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7" h="31">
                  <a:moveTo>
                    <a:pt x="1" y="1"/>
                  </a:moveTo>
                  <a:cubicBezTo>
                    <a:pt x="1" y="2"/>
                    <a:pt x="0" y="3"/>
                    <a:pt x="0" y="4"/>
                  </a:cubicBezTo>
                  <a:cubicBezTo>
                    <a:pt x="65" y="31"/>
                    <a:pt x="65" y="31"/>
                    <a:pt x="65" y="31"/>
                  </a:cubicBezTo>
                  <a:cubicBezTo>
                    <a:pt x="66" y="30"/>
                    <a:pt x="67" y="30"/>
                    <a:pt x="67" y="29"/>
                  </a:cubicBezTo>
                  <a:cubicBezTo>
                    <a:pt x="67" y="28"/>
                    <a:pt x="67" y="28"/>
                    <a:pt x="67" y="27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1" y="0"/>
                    <a:pt x="1" y="1"/>
                  </a:cubicBezTo>
                  <a:close/>
                </a:path>
              </a:pathLst>
            </a:custGeom>
            <a:solidFill>
              <a:srgbClr val="F56E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8" name="îṡļiḍe">
              <a:extLst>
                <a:ext uri="{FF2B5EF4-FFF2-40B4-BE49-F238E27FC236}">
                  <a16:creationId xmlns:a16="http://schemas.microsoft.com/office/drawing/2014/main" id="{3E32BE35-7D5E-4436-9753-E97DEDDE24AC}"/>
                </a:ext>
              </a:extLst>
            </p:cNvPr>
            <p:cNvSpPr/>
            <p:nvPr userDrawn="1"/>
          </p:nvSpPr>
          <p:spPr bwMode="auto">
            <a:xfrm>
              <a:off x="5462588" y="1377950"/>
              <a:ext cx="112713" cy="55563"/>
            </a:xfrm>
            <a:custGeom>
              <a:avLst/>
              <a:gdLst>
                <a:gd name="T0" fmla="*/ 1 w 67"/>
                <a:gd name="T1" fmla="*/ 3 h 32"/>
                <a:gd name="T2" fmla="*/ 0 w 67"/>
                <a:gd name="T3" fmla="*/ 5 h 32"/>
                <a:gd name="T4" fmla="*/ 66 w 67"/>
                <a:gd name="T5" fmla="*/ 32 h 32"/>
                <a:gd name="T6" fmla="*/ 67 w 67"/>
                <a:gd name="T7" fmla="*/ 30 h 32"/>
                <a:gd name="T8" fmla="*/ 67 w 67"/>
                <a:gd name="T9" fmla="*/ 28 h 32"/>
                <a:gd name="T10" fmla="*/ 2 w 67"/>
                <a:gd name="T11" fmla="*/ 0 h 32"/>
                <a:gd name="T12" fmla="*/ 1 w 67"/>
                <a:gd name="T13" fmla="*/ 3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7" h="32">
                  <a:moveTo>
                    <a:pt x="1" y="3"/>
                  </a:moveTo>
                  <a:cubicBezTo>
                    <a:pt x="0" y="3"/>
                    <a:pt x="0" y="4"/>
                    <a:pt x="0" y="5"/>
                  </a:cubicBezTo>
                  <a:cubicBezTo>
                    <a:pt x="66" y="32"/>
                    <a:pt x="66" y="32"/>
                    <a:pt x="66" y="32"/>
                  </a:cubicBezTo>
                  <a:cubicBezTo>
                    <a:pt x="66" y="32"/>
                    <a:pt x="66" y="31"/>
                    <a:pt x="67" y="30"/>
                  </a:cubicBezTo>
                  <a:cubicBezTo>
                    <a:pt x="67" y="30"/>
                    <a:pt x="67" y="29"/>
                    <a:pt x="67" y="28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1"/>
                    <a:pt x="1" y="2"/>
                    <a:pt x="1" y="3"/>
                  </a:cubicBezTo>
                  <a:close/>
                </a:path>
              </a:pathLst>
            </a:custGeom>
            <a:solidFill>
              <a:srgbClr val="E54C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9" name="ïṩļïďè">
              <a:extLst>
                <a:ext uri="{FF2B5EF4-FFF2-40B4-BE49-F238E27FC236}">
                  <a16:creationId xmlns:a16="http://schemas.microsoft.com/office/drawing/2014/main" id="{F7B98B47-025C-452A-B8E7-CFFF6053AA9F}"/>
                </a:ext>
              </a:extLst>
            </p:cNvPr>
            <p:cNvSpPr/>
            <p:nvPr userDrawn="1"/>
          </p:nvSpPr>
          <p:spPr bwMode="auto">
            <a:xfrm>
              <a:off x="5613400" y="1412875"/>
              <a:ext cx="123825" cy="128588"/>
            </a:xfrm>
            <a:custGeom>
              <a:avLst/>
              <a:gdLst>
                <a:gd name="T0" fmla="*/ 61 w 73"/>
                <a:gd name="T1" fmla="*/ 65 h 76"/>
                <a:gd name="T2" fmla="*/ 64 w 73"/>
                <a:gd name="T3" fmla="*/ 63 h 76"/>
                <a:gd name="T4" fmla="*/ 66 w 73"/>
                <a:gd name="T5" fmla="*/ 60 h 76"/>
                <a:gd name="T6" fmla="*/ 68 w 73"/>
                <a:gd name="T7" fmla="*/ 57 h 76"/>
                <a:gd name="T8" fmla="*/ 69 w 73"/>
                <a:gd name="T9" fmla="*/ 54 h 76"/>
                <a:gd name="T10" fmla="*/ 70 w 73"/>
                <a:gd name="T11" fmla="*/ 52 h 76"/>
                <a:gd name="T12" fmla="*/ 66 w 73"/>
                <a:gd name="T13" fmla="*/ 20 h 76"/>
                <a:gd name="T14" fmla="*/ 18 w 73"/>
                <a:gd name="T15" fmla="*/ 9 h 76"/>
                <a:gd name="T16" fmla="*/ 15 w 73"/>
                <a:gd name="T17" fmla="*/ 11 h 76"/>
                <a:gd name="T18" fmla="*/ 15 w 73"/>
                <a:gd name="T19" fmla="*/ 11 h 76"/>
                <a:gd name="T20" fmla="*/ 14 w 73"/>
                <a:gd name="T21" fmla="*/ 12 h 76"/>
                <a:gd name="T22" fmla="*/ 13 w 73"/>
                <a:gd name="T23" fmla="*/ 13 h 76"/>
                <a:gd name="T24" fmla="*/ 12 w 73"/>
                <a:gd name="T25" fmla="*/ 13 h 76"/>
                <a:gd name="T26" fmla="*/ 6 w 73"/>
                <a:gd name="T27" fmla="*/ 21 h 76"/>
                <a:gd name="T28" fmla="*/ 6 w 73"/>
                <a:gd name="T29" fmla="*/ 21 h 76"/>
                <a:gd name="T30" fmla="*/ 4 w 73"/>
                <a:gd name="T31" fmla="*/ 24 h 76"/>
                <a:gd name="T32" fmla="*/ 3 w 73"/>
                <a:gd name="T33" fmla="*/ 27 h 76"/>
                <a:gd name="T34" fmla="*/ 2 w 73"/>
                <a:gd name="T35" fmla="*/ 30 h 76"/>
                <a:gd name="T36" fmla="*/ 1 w 73"/>
                <a:gd name="T37" fmla="*/ 34 h 76"/>
                <a:gd name="T38" fmla="*/ 0 w 73"/>
                <a:gd name="T39" fmla="*/ 37 h 76"/>
                <a:gd name="T40" fmla="*/ 0 w 73"/>
                <a:gd name="T41" fmla="*/ 40 h 76"/>
                <a:gd name="T42" fmla="*/ 1 w 73"/>
                <a:gd name="T43" fmla="*/ 44 h 76"/>
                <a:gd name="T44" fmla="*/ 1 w 73"/>
                <a:gd name="T45" fmla="*/ 47 h 76"/>
                <a:gd name="T46" fmla="*/ 2 w 73"/>
                <a:gd name="T47" fmla="*/ 51 h 76"/>
                <a:gd name="T48" fmla="*/ 3 w 73"/>
                <a:gd name="T49" fmla="*/ 54 h 76"/>
                <a:gd name="T50" fmla="*/ 5 w 73"/>
                <a:gd name="T51" fmla="*/ 57 h 76"/>
                <a:gd name="T52" fmla="*/ 20 w 73"/>
                <a:gd name="T53" fmla="*/ 72 h 76"/>
                <a:gd name="T54" fmla="*/ 26 w 73"/>
                <a:gd name="T55" fmla="*/ 74 h 76"/>
                <a:gd name="T56" fmla="*/ 36 w 73"/>
                <a:gd name="T57" fmla="*/ 76 h 76"/>
                <a:gd name="T58" fmla="*/ 52 w 73"/>
                <a:gd name="T59" fmla="*/ 72 h 76"/>
                <a:gd name="T60" fmla="*/ 54 w 73"/>
                <a:gd name="T61" fmla="*/ 71 h 76"/>
                <a:gd name="T62" fmla="*/ 54 w 73"/>
                <a:gd name="T63" fmla="*/ 71 h 76"/>
                <a:gd name="T64" fmla="*/ 55 w 73"/>
                <a:gd name="T65" fmla="*/ 70 h 76"/>
                <a:gd name="T66" fmla="*/ 56 w 73"/>
                <a:gd name="T67" fmla="*/ 70 h 76"/>
                <a:gd name="T68" fmla="*/ 58 w 73"/>
                <a:gd name="T69" fmla="*/ 68 h 76"/>
                <a:gd name="T70" fmla="*/ 60 w 73"/>
                <a:gd name="T71" fmla="*/ 67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73" h="76">
                  <a:moveTo>
                    <a:pt x="60" y="67"/>
                  </a:moveTo>
                  <a:cubicBezTo>
                    <a:pt x="60" y="66"/>
                    <a:pt x="61" y="66"/>
                    <a:pt x="61" y="65"/>
                  </a:cubicBezTo>
                  <a:cubicBezTo>
                    <a:pt x="62" y="65"/>
                    <a:pt x="62" y="65"/>
                    <a:pt x="62" y="65"/>
                  </a:cubicBezTo>
                  <a:cubicBezTo>
                    <a:pt x="63" y="64"/>
                    <a:pt x="63" y="63"/>
                    <a:pt x="64" y="63"/>
                  </a:cubicBezTo>
                  <a:cubicBezTo>
                    <a:pt x="64" y="62"/>
                    <a:pt x="64" y="62"/>
                    <a:pt x="64" y="62"/>
                  </a:cubicBezTo>
                  <a:cubicBezTo>
                    <a:pt x="65" y="61"/>
                    <a:pt x="65" y="60"/>
                    <a:pt x="66" y="60"/>
                  </a:cubicBezTo>
                  <a:cubicBezTo>
                    <a:pt x="67" y="59"/>
                    <a:pt x="67" y="59"/>
                    <a:pt x="67" y="59"/>
                  </a:cubicBezTo>
                  <a:cubicBezTo>
                    <a:pt x="67" y="58"/>
                    <a:pt x="67" y="58"/>
                    <a:pt x="68" y="57"/>
                  </a:cubicBezTo>
                  <a:cubicBezTo>
                    <a:pt x="68" y="57"/>
                    <a:pt x="68" y="56"/>
                    <a:pt x="68" y="56"/>
                  </a:cubicBezTo>
                  <a:cubicBezTo>
                    <a:pt x="68" y="55"/>
                    <a:pt x="69" y="55"/>
                    <a:pt x="69" y="54"/>
                  </a:cubicBezTo>
                  <a:cubicBezTo>
                    <a:pt x="69" y="54"/>
                    <a:pt x="69" y="53"/>
                    <a:pt x="69" y="53"/>
                  </a:cubicBezTo>
                  <a:cubicBezTo>
                    <a:pt x="70" y="52"/>
                    <a:pt x="70" y="52"/>
                    <a:pt x="70" y="52"/>
                  </a:cubicBezTo>
                  <a:cubicBezTo>
                    <a:pt x="70" y="52"/>
                    <a:pt x="70" y="52"/>
                    <a:pt x="70" y="52"/>
                  </a:cubicBezTo>
                  <a:cubicBezTo>
                    <a:pt x="73" y="42"/>
                    <a:pt x="72" y="30"/>
                    <a:pt x="66" y="20"/>
                  </a:cubicBezTo>
                  <a:cubicBezTo>
                    <a:pt x="55" y="4"/>
                    <a:pt x="34" y="0"/>
                    <a:pt x="18" y="9"/>
                  </a:cubicBezTo>
                  <a:cubicBezTo>
                    <a:pt x="18" y="9"/>
                    <a:pt x="18" y="9"/>
                    <a:pt x="18" y="9"/>
                  </a:cubicBezTo>
                  <a:cubicBezTo>
                    <a:pt x="17" y="10"/>
                    <a:pt x="17" y="10"/>
                    <a:pt x="16" y="10"/>
                  </a:cubicBezTo>
                  <a:cubicBezTo>
                    <a:pt x="15" y="11"/>
                    <a:pt x="15" y="11"/>
                    <a:pt x="15" y="11"/>
                  </a:cubicBezTo>
                  <a:cubicBezTo>
                    <a:pt x="15" y="11"/>
                    <a:pt x="15" y="11"/>
                    <a:pt x="15" y="11"/>
                  </a:cubicBezTo>
                  <a:cubicBezTo>
                    <a:pt x="15" y="11"/>
                    <a:pt x="15" y="11"/>
                    <a:pt x="15" y="11"/>
                  </a:cubicBezTo>
                  <a:cubicBezTo>
                    <a:pt x="14" y="12"/>
                    <a:pt x="14" y="12"/>
                    <a:pt x="14" y="12"/>
                  </a:cubicBezTo>
                  <a:cubicBezTo>
                    <a:pt x="14" y="12"/>
                    <a:pt x="14" y="12"/>
                    <a:pt x="14" y="12"/>
                  </a:cubicBezTo>
                  <a:cubicBezTo>
                    <a:pt x="14" y="12"/>
                    <a:pt x="14" y="12"/>
                    <a:pt x="14" y="12"/>
                  </a:cubicBezTo>
                  <a:cubicBezTo>
                    <a:pt x="14" y="12"/>
                    <a:pt x="13" y="13"/>
                    <a:pt x="13" y="13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0" y="16"/>
                    <a:pt x="8" y="18"/>
                    <a:pt x="6" y="21"/>
                  </a:cubicBezTo>
                  <a:cubicBezTo>
                    <a:pt x="6" y="21"/>
                    <a:pt x="6" y="21"/>
                    <a:pt x="6" y="21"/>
                  </a:cubicBezTo>
                  <a:cubicBezTo>
                    <a:pt x="6" y="21"/>
                    <a:pt x="6" y="21"/>
                    <a:pt x="6" y="21"/>
                  </a:cubicBezTo>
                  <a:cubicBezTo>
                    <a:pt x="6" y="21"/>
                    <a:pt x="6" y="21"/>
                    <a:pt x="6" y="21"/>
                  </a:cubicBezTo>
                  <a:cubicBezTo>
                    <a:pt x="5" y="22"/>
                    <a:pt x="5" y="23"/>
                    <a:pt x="4" y="23"/>
                  </a:cubicBezTo>
                  <a:cubicBezTo>
                    <a:pt x="4" y="24"/>
                    <a:pt x="4" y="24"/>
                    <a:pt x="4" y="24"/>
                  </a:cubicBezTo>
                  <a:cubicBezTo>
                    <a:pt x="4" y="25"/>
                    <a:pt x="3" y="26"/>
                    <a:pt x="3" y="26"/>
                  </a:cubicBezTo>
                  <a:cubicBezTo>
                    <a:pt x="3" y="27"/>
                    <a:pt x="3" y="27"/>
                    <a:pt x="3" y="27"/>
                  </a:cubicBezTo>
                  <a:cubicBezTo>
                    <a:pt x="2" y="28"/>
                    <a:pt x="2" y="29"/>
                    <a:pt x="2" y="30"/>
                  </a:cubicBezTo>
                  <a:cubicBezTo>
                    <a:pt x="2" y="30"/>
                    <a:pt x="2" y="30"/>
                    <a:pt x="2" y="30"/>
                  </a:cubicBezTo>
                  <a:cubicBezTo>
                    <a:pt x="1" y="31"/>
                    <a:pt x="1" y="32"/>
                    <a:pt x="1" y="33"/>
                  </a:cubicBezTo>
                  <a:cubicBezTo>
                    <a:pt x="1" y="34"/>
                    <a:pt x="1" y="34"/>
                    <a:pt x="1" y="34"/>
                  </a:cubicBezTo>
                  <a:cubicBezTo>
                    <a:pt x="1" y="35"/>
                    <a:pt x="1" y="35"/>
                    <a:pt x="1" y="36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0" y="38"/>
                    <a:pt x="0" y="39"/>
                    <a:pt x="0" y="4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0" y="41"/>
                    <a:pt x="0" y="42"/>
                    <a:pt x="0" y="43"/>
                  </a:cubicBezTo>
                  <a:cubicBezTo>
                    <a:pt x="1" y="44"/>
                    <a:pt x="1" y="44"/>
                    <a:pt x="1" y="44"/>
                  </a:cubicBezTo>
                  <a:cubicBezTo>
                    <a:pt x="1" y="45"/>
                    <a:pt x="1" y="46"/>
                    <a:pt x="1" y="47"/>
                  </a:cubicBezTo>
                  <a:cubicBezTo>
                    <a:pt x="1" y="47"/>
                    <a:pt x="1" y="47"/>
                    <a:pt x="1" y="47"/>
                  </a:cubicBezTo>
                  <a:cubicBezTo>
                    <a:pt x="1" y="48"/>
                    <a:pt x="2" y="49"/>
                    <a:pt x="2" y="50"/>
                  </a:cubicBezTo>
                  <a:cubicBezTo>
                    <a:pt x="2" y="51"/>
                    <a:pt x="2" y="51"/>
                    <a:pt x="2" y="51"/>
                  </a:cubicBezTo>
                  <a:cubicBezTo>
                    <a:pt x="2" y="52"/>
                    <a:pt x="3" y="53"/>
                    <a:pt x="3" y="53"/>
                  </a:cubicBezTo>
                  <a:cubicBezTo>
                    <a:pt x="3" y="54"/>
                    <a:pt x="3" y="54"/>
                    <a:pt x="3" y="54"/>
                  </a:cubicBezTo>
                  <a:cubicBezTo>
                    <a:pt x="4" y="55"/>
                    <a:pt x="4" y="56"/>
                    <a:pt x="4" y="57"/>
                  </a:cubicBezTo>
                  <a:cubicBezTo>
                    <a:pt x="5" y="57"/>
                    <a:pt x="5" y="57"/>
                    <a:pt x="5" y="57"/>
                  </a:cubicBezTo>
                  <a:cubicBezTo>
                    <a:pt x="5" y="58"/>
                    <a:pt x="6" y="59"/>
                    <a:pt x="6" y="60"/>
                  </a:cubicBezTo>
                  <a:cubicBezTo>
                    <a:pt x="10" y="65"/>
                    <a:pt x="15" y="69"/>
                    <a:pt x="20" y="72"/>
                  </a:cubicBezTo>
                  <a:cubicBezTo>
                    <a:pt x="21" y="72"/>
                    <a:pt x="22" y="73"/>
                    <a:pt x="23" y="73"/>
                  </a:cubicBezTo>
                  <a:cubicBezTo>
                    <a:pt x="24" y="74"/>
                    <a:pt x="25" y="74"/>
                    <a:pt x="26" y="74"/>
                  </a:cubicBezTo>
                  <a:cubicBezTo>
                    <a:pt x="27" y="75"/>
                    <a:pt x="28" y="75"/>
                    <a:pt x="29" y="75"/>
                  </a:cubicBezTo>
                  <a:cubicBezTo>
                    <a:pt x="32" y="76"/>
                    <a:pt x="34" y="76"/>
                    <a:pt x="36" y="76"/>
                  </a:cubicBezTo>
                  <a:cubicBezTo>
                    <a:pt x="42" y="76"/>
                    <a:pt x="47" y="75"/>
                    <a:pt x="52" y="72"/>
                  </a:cubicBezTo>
                  <a:cubicBezTo>
                    <a:pt x="52" y="72"/>
                    <a:pt x="52" y="72"/>
                    <a:pt x="52" y="72"/>
                  </a:cubicBezTo>
                  <a:cubicBezTo>
                    <a:pt x="52" y="72"/>
                    <a:pt x="52" y="72"/>
                    <a:pt x="52" y="72"/>
                  </a:cubicBezTo>
                  <a:cubicBezTo>
                    <a:pt x="53" y="72"/>
                    <a:pt x="54" y="71"/>
                    <a:pt x="54" y="71"/>
                  </a:cubicBezTo>
                  <a:cubicBezTo>
                    <a:pt x="54" y="71"/>
                    <a:pt x="54" y="71"/>
                    <a:pt x="54" y="71"/>
                  </a:cubicBezTo>
                  <a:cubicBezTo>
                    <a:pt x="54" y="71"/>
                    <a:pt x="54" y="71"/>
                    <a:pt x="54" y="71"/>
                  </a:cubicBezTo>
                  <a:cubicBezTo>
                    <a:pt x="55" y="71"/>
                    <a:pt x="55" y="71"/>
                    <a:pt x="55" y="71"/>
                  </a:cubicBezTo>
                  <a:cubicBezTo>
                    <a:pt x="55" y="70"/>
                    <a:pt x="55" y="70"/>
                    <a:pt x="55" y="70"/>
                  </a:cubicBezTo>
                  <a:cubicBezTo>
                    <a:pt x="55" y="70"/>
                    <a:pt x="55" y="70"/>
                    <a:pt x="55" y="70"/>
                  </a:cubicBezTo>
                  <a:cubicBezTo>
                    <a:pt x="56" y="70"/>
                    <a:pt x="56" y="70"/>
                    <a:pt x="56" y="70"/>
                  </a:cubicBezTo>
                  <a:cubicBezTo>
                    <a:pt x="57" y="69"/>
                    <a:pt x="57" y="69"/>
                    <a:pt x="58" y="68"/>
                  </a:cubicBezTo>
                  <a:cubicBezTo>
                    <a:pt x="58" y="68"/>
                    <a:pt x="58" y="68"/>
                    <a:pt x="58" y="68"/>
                  </a:cubicBezTo>
                  <a:cubicBezTo>
                    <a:pt x="59" y="68"/>
                    <a:pt x="59" y="68"/>
                    <a:pt x="59" y="68"/>
                  </a:cubicBezTo>
                  <a:lnTo>
                    <a:pt x="60" y="67"/>
                  </a:lnTo>
                  <a:close/>
                </a:path>
              </a:pathLst>
            </a:custGeom>
            <a:solidFill>
              <a:srgbClr val="D9D8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0" name="iṧ1îḑé">
              <a:extLst>
                <a:ext uri="{FF2B5EF4-FFF2-40B4-BE49-F238E27FC236}">
                  <a16:creationId xmlns:a16="http://schemas.microsoft.com/office/drawing/2014/main" id="{0361CD4B-F006-4E05-BF5D-02E238D6F4A1}"/>
                </a:ext>
              </a:extLst>
            </p:cNvPr>
            <p:cNvSpPr/>
            <p:nvPr userDrawn="1"/>
          </p:nvSpPr>
          <p:spPr bwMode="auto">
            <a:xfrm>
              <a:off x="5600700" y="1400175"/>
              <a:ext cx="136525" cy="136525"/>
            </a:xfrm>
            <a:custGeom>
              <a:avLst/>
              <a:gdLst>
                <a:gd name="T0" fmla="*/ 73 w 81"/>
                <a:gd name="T1" fmla="*/ 54 h 81"/>
                <a:gd name="T2" fmla="*/ 27 w 81"/>
                <a:gd name="T3" fmla="*/ 73 h 81"/>
                <a:gd name="T4" fmla="*/ 8 w 81"/>
                <a:gd name="T5" fmla="*/ 26 h 81"/>
                <a:gd name="T6" fmla="*/ 54 w 81"/>
                <a:gd name="T7" fmla="*/ 7 h 81"/>
                <a:gd name="T8" fmla="*/ 73 w 81"/>
                <a:gd name="T9" fmla="*/ 54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1" h="81">
                  <a:moveTo>
                    <a:pt x="73" y="54"/>
                  </a:moveTo>
                  <a:cubicBezTo>
                    <a:pt x="66" y="72"/>
                    <a:pt x="45" y="81"/>
                    <a:pt x="27" y="73"/>
                  </a:cubicBezTo>
                  <a:cubicBezTo>
                    <a:pt x="8" y="66"/>
                    <a:pt x="0" y="45"/>
                    <a:pt x="8" y="26"/>
                  </a:cubicBezTo>
                  <a:cubicBezTo>
                    <a:pt x="15" y="8"/>
                    <a:pt x="36" y="0"/>
                    <a:pt x="54" y="7"/>
                  </a:cubicBezTo>
                  <a:cubicBezTo>
                    <a:pt x="73" y="15"/>
                    <a:pt x="81" y="36"/>
                    <a:pt x="73" y="54"/>
                  </a:cubicBezTo>
                  <a:close/>
                </a:path>
              </a:pathLst>
            </a:custGeom>
            <a:solidFill>
              <a:srgbClr val="FF787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1" name="îšľîďê">
              <a:extLst>
                <a:ext uri="{FF2B5EF4-FFF2-40B4-BE49-F238E27FC236}">
                  <a16:creationId xmlns:a16="http://schemas.microsoft.com/office/drawing/2014/main" id="{A046A289-68CC-40B2-8F03-913F90BF2495}"/>
                </a:ext>
              </a:extLst>
            </p:cNvPr>
            <p:cNvSpPr/>
            <p:nvPr userDrawn="1"/>
          </p:nvSpPr>
          <p:spPr bwMode="auto">
            <a:xfrm>
              <a:off x="5608638" y="1454150"/>
              <a:ext cx="122238" cy="82550"/>
            </a:xfrm>
            <a:custGeom>
              <a:avLst/>
              <a:gdLst>
                <a:gd name="T0" fmla="*/ 70 w 72"/>
                <a:gd name="T1" fmla="*/ 0 h 49"/>
                <a:gd name="T2" fmla="*/ 68 w 72"/>
                <a:gd name="T3" fmla="*/ 14 h 49"/>
                <a:gd name="T4" fmla="*/ 21 w 72"/>
                <a:gd name="T5" fmla="*/ 33 h 49"/>
                <a:gd name="T6" fmla="*/ 0 w 72"/>
                <a:gd name="T7" fmla="*/ 8 h 49"/>
                <a:gd name="T8" fmla="*/ 22 w 72"/>
                <a:gd name="T9" fmla="*/ 41 h 49"/>
                <a:gd name="T10" fmla="*/ 68 w 72"/>
                <a:gd name="T11" fmla="*/ 22 h 49"/>
                <a:gd name="T12" fmla="*/ 70 w 72"/>
                <a:gd name="T13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2" h="49">
                  <a:moveTo>
                    <a:pt x="70" y="0"/>
                  </a:moveTo>
                  <a:cubicBezTo>
                    <a:pt x="70" y="5"/>
                    <a:pt x="69" y="10"/>
                    <a:pt x="68" y="14"/>
                  </a:cubicBezTo>
                  <a:cubicBezTo>
                    <a:pt x="60" y="32"/>
                    <a:pt x="39" y="41"/>
                    <a:pt x="21" y="33"/>
                  </a:cubicBezTo>
                  <a:cubicBezTo>
                    <a:pt x="10" y="29"/>
                    <a:pt x="2" y="19"/>
                    <a:pt x="0" y="8"/>
                  </a:cubicBezTo>
                  <a:cubicBezTo>
                    <a:pt x="0" y="22"/>
                    <a:pt x="8" y="35"/>
                    <a:pt x="22" y="41"/>
                  </a:cubicBezTo>
                  <a:cubicBezTo>
                    <a:pt x="40" y="49"/>
                    <a:pt x="61" y="40"/>
                    <a:pt x="68" y="22"/>
                  </a:cubicBezTo>
                  <a:cubicBezTo>
                    <a:pt x="71" y="15"/>
                    <a:pt x="72" y="7"/>
                    <a:pt x="70" y="0"/>
                  </a:cubicBezTo>
                  <a:close/>
                </a:path>
              </a:pathLst>
            </a:custGeom>
            <a:solidFill>
              <a:srgbClr val="F56E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2" name="ïšlíḓè">
              <a:extLst>
                <a:ext uri="{FF2B5EF4-FFF2-40B4-BE49-F238E27FC236}">
                  <a16:creationId xmlns:a16="http://schemas.microsoft.com/office/drawing/2014/main" id="{50D01642-7B28-4C85-BC69-8F056BC0F03A}"/>
                </a:ext>
              </a:extLst>
            </p:cNvPr>
            <p:cNvSpPr/>
            <p:nvPr userDrawn="1"/>
          </p:nvSpPr>
          <p:spPr bwMode="auto">
            <a:xfrm>
              <a:off x="5610225" y="1444625"/>
              <a:ext cx="114300" cy="53975"/>
            </a:xfrm>
            <a:custGeom>
              <a:avLst/>
              <a:gdLst>
                <a:gd name="T0" fmla="*/ 1 w 67"/>
                <a:gd name="T1" fmla="*/ 2 h 32"/>
                <a:gd name="T2" fmla="*/ 0 w 67"/>
                <a:gd name="T3" fmla="*/ 5 h 32"/>
                <a:gd name="T4" fmla="*/ 65 w 67"/>
                <a:gd name="T5" fmla="*/ 32 h 32"/>
                <a:gd name="T6" fmla="*/ 67 w 67"/>
                <a:gd name="T7" fmla="*/ 29 h 32"/>
                <a:gd name="T8" fmla="*/ 67 w 67"/>
                <a:gd name="T9" fmla="*/ 28 h 32"/>
                <a:gd name="T10" fmla="*/ 2 w 67"/>
                <a:gd name="T11" fmla="*/ 0 h 32"/>
                <a:gd name="T12" fmla="*/ 1 w 67"/>
                <a:gd name="T13" fmla="*/ 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7" h="32">
                  <a:moveTo>
                    <a:pt x="1" y="2"/>
                  </a:moveTo>
                  <a:cubicBezTo>
                    <a:pt x="1" y="3"/>
                    <a:pt x="0" y="4"/>
                    <a:pt x="0" y="5"/>
                  </a:cubicBezTo>
                  <a:cubicBezTo>
                    <a:pt x="65" y="32"/>
                    <a:pt x="65" y="32"/>
                    <a:pt x="65" y="32"/>
                  </a:cubicBezTo>
                  <a:cubicBezTo>
                    <a:pt x="66" y="31"/>
                    <a:pt x="66" y="30"/>
                    <a:pt x="67" y="29"/>
                  </a:cubicBezTo>
                  <a:cubicBezTo>
                    <a:pt x="67" y="29"/>
                    <a:pt x="67" y="28"/>
                    <a:pt x="67" y="28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1"/>
                    <a:pt x="1" y="1"/>
                    <a:pt x="1" y="2"/>
                  </a:cubicBezTo>
                  <a:close/>
                </a:path>
              </a:pathLst>
            </a:custGeom>
            <a:solidFill>
              <a:srgbClr val="F56E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3" name="íš1íḓè">
              <a:extLst>
                <a:ext uri="{FF2B5EF4-FFF2-40B4-BE49-F238E27FC236}">
                  <a16:creationId xmlns:a16="http://schemas.microsoft.com/office/drawing/2014/main" id="{33DA9F99-5CE5-4252-93EC-4881247622ED}"/>
                </a:ext>
              </a:extLst>
            </p:cNvPr>
            <p:cNvSpPr/>
            <p:nvPr userDrawn="1"/>
          </p:nvSpPr>
          <p:spPr bwMode="auto">
            <a:xfrm>
              <a:off x="5611813" y="1441450"/>
              <a:ext cx="114300" cy="53975"/>
            </a:xfrm>
            <a:custGeom>
              <a:avLst/>
              <a:gdLst>
                <a:gd name="T0" fmla="*/ 1 w 67"/>
                <a:gd name="T1" fmla="*/ 2 h 32"/>
                <a:gd name="T2" fmla="*/ 0 w 67"/>
                <a:gd name="T3" fmla="*/ 5 h 32"/>
                <a:gd name="T4" fmla="*/ 65 w 67"/>
                <a:gd name="T5" fmla="*/ 32 h 32"/>
                <a:gd name="T6" fmla="*/ 66 w 67"/>
                <a:gd name="T7" fmla="*/ 30 h 32"/>
                <a:gd name="T8" fmla="*/ 67 w 67"/>
                <a:gd name="T9" fmla="*/ 28 h 32"/>
                <a:gd name="T10" fmla="*/ 2 w 67"/>
                <a:gd name="T11" fmla="*/ 0 h 32"/>
                <a:gd name="T12" fmla="*/ 1 w 67"/>
                <a:gd name="T13" fmla="*/ 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7" h="32">
                  <a:moveTo>
                    <a:pt x="1" y="2"/>
                  </a:moveTo>
                  <a:cubicBezTo>
                    <a:pt x="0" y="3"/>
                    <a:pt x="0" y="4"/>
                    <a:pt x="0" y="5"/>
                  </a:cubicBezTo>
                  <a:cubicBezTo>
                    <a:pt x="65" y="32"/>
                    <a:pt x="65" y="32"/>
                    <a:pt x="65" y="32"/>
                  </a:cubicBezTo>
                  <a:cubicBezTo>
                    <a:pt x="66" y="31"/>
                    <a:pt x="66" y="31"/>
                    <a:pt x="66" y="30"/>
                  </a:cubicBezTo>
                  <a:cubicBezTo>
                    <a:pt x="67" y="29"/>
                    <a:pt x="67" y="29"/>
                    <a:pt x="67" y="28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1"/>
                    <a:pt x="1" y="2"/>
                    <a:pt x="1" y="2"/>
                  </a:cubicBezTo>
                  <a:close/>
                </a:path>
              </a:pathLst>
            </a:custGeom>
            <a:solidFill>
              <a:srgbClr val="E54C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4" name="iṡlïďe">
              <a:extLst>
                <a:ext uri="{FF2B5EF4-FFF2-40B4-BE49-F238E27FC236}">
                  <a16:creationId xmlns:a16="http://schemas.microsoft.com/office/drawing/2014/main" id="{C0F0B734-9602-464A-B9A9-AF0F245C7BD0}"/>
                </a:ext>
              </a:extLst>
            </p:cNvPr>
            <p:cNvSpPr/>
            <p:nvPr userDrawn="1"/>
          </p:nvSpPr>
          <p:spPr bwMode="auto">
            <a:xfrm>
              <a:off x="5764213" y="1474788"/>
              <a:ext cx="123825" cy="128588"/>
            </a:xfrm>
            <a:custGeom>
              <a:avLst/>
              <a:gdLst>
                <a:gd name="T0" fmla="*/ 61 w 73"/>
                <a:gd name="T1" fmla="*/ 65 h 76"/>
                <a:gd name="T2" fmla="*/ 63 w 73"/>
                <a:gd name="T3" fmla="*/ 63 h 76"/>
                <a:gd name="T4" fmla="*/ 66 w 73"/>
                <a:gd name="T5" fmla="*/ 59 h 76"/>
                <a:gd name="T6" fmla="*/ 67 w 73"/>
                <a:gd name="T7" fmla="*/ 57 h 76"/>
                <a:gd name="T8" fmla="*/ 69 w 73"/>
                <a:gd name="T9" fmla="*/ 54 h 76"/>
                <a:gd name="T10" fmla="*/ 70 w 73"/>
                <a:gd name="T11" fmla="*/ 52 h 76"/>
                <a:gd name="T12" fmla="*/ 66 w 73"/>
                <a:gd name="T13" fmla="*/ 20 h 76"/>
                <a:gd name="T14" fmla="*/ 18 w 73"/>
                <a:gd name="T15" fmla="*/ 9 h 76"/>
                <a:gd name="T16" fmla="*/ 15 w 73"/>
                <a:gd name="T17" fmla="*/ 11 h 76"/>
                <a:gd name="T18" fmla="*/ 15 w 73"/>
                <a:gd name="T19" fmla="*/ 11 h 76"/>
                <a:gd name="T20" fmla="*/ 14 w 73"/>
                <a:gd name="T21" fmla="*/ 12 h 76"/>
                <a:gd name="T22" fmla="*/ 12 w 73"/>
                <a:gd name="T23" fmla="*/ 13 h 76"/>
                <a:gd name="T24" fmla="*/ 12 w 73"/>
                <a:gd name="T25" fmla="*/ 13 h 76"/>
                <a:gd name="T26" fmla="*/ 6 w 73"/>
                <a:gd name="T27" fmla="*/ 20 h 76"/>
                <a:gd name="T28" fmla="*/ 6 w 73"/>
                <a:gd name="T29" fmla="*/ 21 h 76"/>
                <a:gd name="T30" fmla="*/ 4 w 73"/>
                <a:gd name="T31" fmla="*/ 24 h 76"/>
                <a:gd name="T32" fmla="*/ 3 w 73"/>
                <a:gd name="T33" fmla="*/ 27 h 76"/>
                <a:gd name="T34" fmla="*/ 2 w 73"/>
                <a:gd name="T35" fmla="*/ 30 h 76"/>
                <a:gd name="T36" fmla="*/ 1 w 73"/>
                <a:gd name="T37" fmla="*/ 34 h 76"/>
                <a:gd name="T38" fmla="*/ 0 w 73"/>
                <a:gd name="T39" fmla="*/ 37 h 76"/>
                <a:gd name="T40" fmla="*/ 0 w 73"/>
                <a:gd name="T41" fmla="*/ 40 h 76"/>
                <a:gd name="T42" fmla="*/ 0 w 73"/>
                <a:gd name="T43" fmla="*/ 44 h 76"/>
                <a:gd name="T44" fmla="*/ 1 w 73"/>
                <a:gd name="T45" fmla="*/ 47 h 76"/>
                <a:gd name="T46" fmla="*/ 2 w 73"/>
                <a:gd name="T47" fmla="*/ 50 h 76"/>
                <a:gd name="T48" fmla="*/ 3 w 73"/>
                <a:gd name="T49" fmla="*/ 54 h 76"/>
                <a:gd name="T50" fmla="*/ 5 w 73"/>
                <a:gd name="T51" fmla="*/ 57 h 76"/>
                <a:gd name="T52" fmla="*/ 20 w 73"/>
                <a:gd name="T53" fmla="*/ 72 h 76"/>
                <a:gd name="T54" fmla="*/ 26 w 73"/>
                <a:gd name="T55" fmla="*/ 74 h 76"/>
                <a:gd name="T56" fmla="*/ 36 w 73"/>
                <a:gd name="T57" fmla="*/ 76 h 76"/>
                <a:gd name="T58" fmla="*/ 52 w 73"/>
                <a:gd name="T59" fmla="*/ 72 h 76"/>
                <a:gd name="T60" fmla="*/ 54 w 73"/>
                <a:gd name="T61" fmla="*/ 71 h 76"/>
                <a:gd name="T62" fmla="*/ 54 w 73"/>
                <a:gd name="T63" fmla="*/ 71 h 76"/>
                <a:gd name="T64" fmla="*/ 55 w 73"/>
                <a:gd name="T65" fmla="*/ 70 h 76"/>
                <a:gd name="T66" fmla="*/ 56 w 73"/>
                <a:gd name="T67" fmla="*/ 69 h 76"/>
                <a:gd name="T68" fmla="*/ 58 w 73"/>
                <a:gd name="T69" fmla="*/ 68 h 76"/>
                <a:gd name="T70" fmla="*/ 60 w 73"/>
                <a:gd name="T71" fmla="*/ 67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73" h="76">
                  <a:moveTo>
                    <a:pt x="60" y="67"/>
                  </a:moveTo>
                  <a:cubicBezTo>
                    <a:pt x="60" y="66"/>
                    <a:pt x="61" y="66"/>
                    <a:pt x="61" y="65"/>
                  </a:cubicBezTo>
                  <a:cubicBezTo>
                    <a:pt x="62" y="64"/>
                    <a:pt x="62" y="64"/>
                    <a:pt x="62" y="64"/>
                  </a:cubicBezTo>
                  <a:cubicBezTo>
                    <a:pt x="63" y="64"/>
                    <a:pt x="63" y="63"/>
                    <a:pt x="63" y="63"/>
                  </a:cubicBezTo>
                  <a:cubicBezTo>
                    <a:pt x="64" y="62"/>
                    <a:pt x="64" y="62"/>
                    <a:pt x="64" y="62"/>
                  </a:cubicBezTo>
                  <a:cubicBezTo>
                    <a:pt x="65" y="61"/>
                    <a:pt x="65" y="60"/>
                    <a:pt x="66" y="59"/>
                  </a:cubicBezTo>
                  <a:cubicBezTo>
                    <a:pt x="67" y="58"/>
                    <a:pt x="67" y="58"/>
                    <a:pt x="67" y="58"/>
                  </a:cubicBezTo>
                  <a:cubicBezTo>
                    <a:pt x="67" y="58"/>
                    <a:pt x="67" y="57"/>
                    <a:pt x="67" y="57"/>
                  </a:cubicBezTo>
                  <a:cubicBezTo>
                    <a:pt x="68" y="56"/>
                    <a:pt x="68" y="56"/>
                    <a:pt x="68" y="55"/>
                  </a:cubicBezTo>
                  <a:cubicBezTo>
                    <a:pt x="68" y="55"/>
                    <a:pt x="69" y="54"/>
                    <a:pt x="69" y="54"/>
                  </a:cubicBezTo>
                  <a:cubicBezTo>
                    <a:pt x="69" y="53"/>
                    <a:pt x="69" y="53"/>
                    <a:pt x="69" y="53"/>
                  </a:cubicBezTo>
                  <a:cubicBezTo>
                    <a:pt x="70" y="52"/>
                    <a:pt x="70" y="52"/>
                    <a:pt x="70" y="52"/>
                  </a:cubicBezTo>
                  <a:cubicBezTo>
                    <a:pt x="69" y="52"/>
                    <a:pt x="69" y="52"/>
                    <a:pt x="69" y="52"/>
                  </a:cubicBezTo>
                  <a:cubicBezTo>
                    <a:pt x="73" y="42"/>
                    <a:pt x="72" y="30"/>
                    <a:pt x="66" y="20"/>
                  </a:cubicBezTo>
                  <a:cubicBezTo>
                    <a:pt x="55" y="4"/>
                    <a:pt x="34" y="0"/>
                    <a:pt x="18" y="9"/>
                  </a:cubicBezTo>
                  <a:cubicBezTo>
                    <a:pt x="18" y="9"/>
                    <a:pt x="18" y="9"/>
                    <a:pt x="18" y="9"/>
                  </a:cubicBezTo>
                  <a:cubicBezTo>
                    <a:pt x="17" y="9"/>
                    <a:pt x="17" y="10"/>
                    <a:pt x="16" y="10"/>
                  </a:cubicBezTo>
                  <a:cubicBezTo>
                    <a:pt x="15" y="11"/>
                    <a:pt x="15" y="11"/>
                    <a:pt x="15" y="11"/>
                  </a:cubicBezTo>
                  <a:cubicBezTo>
                    <a:pt x="15" y="11"/>
                    <a:pt x="15" y="11"/>
                    <a:pt x="15" y="11"/>
                  </a:cubicBezTo>
                  <a:cubicBezTo>
                    <a:pt x="15" y="11"/>
                    <a:pt x="15" y="11"/>
                    <a:pt x="15" y="11"/>
                  </a:cubicBezTo>
                  <a:cubicBezTo>
                    <a:pt x="14" y="12"/>
                    <a:pt x="14" y="12"/>
                    <a:pt x="14" y="12"/>
                  </a:cubicBezTo>
                  <a:cubicBezTo>
                    <a:pt x="14" y="12"/>
                    <a:pt x="14" y="12"/>
                    <a:pt x="14" y="12"/>
                  </a:cubicBezTo>
                  <a:cubicBezTo>
                    <a:pt x="14" y="12"/>
                    <a:pt x="14" y="12"/>
                    <a:pt x="14" y="12"/>
                  </a:cubicBezTo>
                  <a:cubicBezTo>
                    <a:pt x="13" y="12"/>
                    <a:pt x="13" y="13"/>
                    <a:pt x="12" y="13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0" y="15"/>
                    <a:pt x="8" y="18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1"/>
                    <a:pt x="6" y="21"/>
                    <a:pt x="6" y="21"/>
                  </a:cubicBezTo>
                  <a:cubicBezTo>
                    <a:pt x="5" y="22"/>
                    <a:pt x="5" y="22"/>
                    <a:pt x="4" y="23"/>
                  </a:cubicBezTo>
                  <a:cubicBezTo>
                    <a:pt x="4" y="24"/>
                    <a:pt x="4" y="24"/>
                    <a:pt x="4" y="24"/>
                  </a:cubicBezTo>
                  <a:cubicBezTo>
                    <a:pt x="4" y="25"/>
                    <a:pt x="3" y="25"/>
                    <a:pt x="3" y="26"/>
                  </a:cubicBezTo>
                  <a:cubicBezTo>
                    <a:pt x="3" y="27"/>
                    <a:pt x="3" y="27"/>
                    <a:pt x="3" y="27"/>
                  </a:cubicBezTo>
                  <a:cubicBezTo>
                    <a:pt x="2" y="28"/>
                    <a:pt x="2" y="29"/>
                    <a:pt x="2" y="30"/>
                  </a:cubicBezTo>
                  <a:cubicBezTo>
                    <a:pt x="2" y="30"/>
                    <a:pt x="2" y="30"/>
                    <a:pt x="2" y="30"/>
                  </a:cubicBezTo>
                  <a:cubicBezTo>
                    <a:pt x="1" y="31"/>
                    <a:pt x="1" y="32"/>
                    <a:pt x="1" y="33"/>
                  </a:cubicBezTo>
                  <a:cubicBezTo>
                    <a:pt x="1" y="34"/>
                    <a:pt x="1" y="34"/>
                    <a:pt x="1" y="34"/>
                  </a:cubicBezTo>
                  <a:cubicBezTo>
                    <a:pt x="1" y="34"/>
                    <a:pt x="1" y="35"/>
                    <a:pt x="0" y="36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0" y="38"/>
                    <a:pt x="0" y="39"/>
                    <a:pt x="0" y="4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0" y="41"/>
                    <a:pt x="0" y="42"/>
                    <a:pt x="0" y="43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1" y="45"/>
                    <a:pt x="1" y="46"/>
                    <a:pt x="1" y="46"/>
                  </a:cubicBezTo>
                  <a:cubicBezTo>
                    <a:pt x="1" y="47"/>
                    <a:pt x="1" y="47"/>
                    <a:pt x="1" y="47"/>
                  </a:cubicBezTo>
                  <a:cubicBezTo>
                    <a:pt x="1" y="48"/>
                    <a:pt x="1" y="49"/>
                    <a:pt x="2" y="50"/>
                  </a:cubicBezTo>
                  <a:cubicBezTo>
                    <a:pt x="2" y="50"/>
                    <a:pt x="2" y="50"/>
                    <a:pt x="2" y="50"/>
                  </a:cubicBezTo>
                  <a:cubicBezTo>
                    <a:pt x="2" y="51"/>
                    <a:pt x="2" y="52"/>
                    <a:pt x="3" y="53"/>
                  </a:cubicBezTo>
                  <a:cubicBezTo>
                    <a:pt x="3" y="54"/>
                    <a:pt x="3" y="54"/>
                    <a:pt x="3" y="54"/>
                  </a:cubicBezTo>
                  <a:cubicBezTo>
                    <a:pt x="4" y="55"/>
                    <a:pt x="4" y="56"/>
                    <a:pt x="4" y="56"/>
                  </a:cubicBezTo>
                  <a:cubicBezTo>
                    <a:pt x="5" y="57"/>
                    <a:pt x="5" y="57"/>
                    <a:pt x="5" y="57"/>
                  </a:cubicBezTo>
                  <a:cubicBezTo>
                    <a:pt x="5" y="58"/>
                    <a:pt x="6" y="59"/>
                    <a:pt x="6" y="60"/>
                  </a:cubicBezTo>
                  <a:cubicBezTo>
                    <a:pt x="10" y="65"/>
                    <a:pt x="14" y="69"/>
                    <a:pt x="20" y="72"/>
                  </a:cubicBezTo>
                  <a:cubicBezTo>
                    <a:pt x="21" y="72"/>
                    <a:pt x="22" y="73"/>
                    <a:pt x="23" y="73"/>
                  </a:cubicBezTo>
                  <a:cubicBezTo>
                    <a:pt x="24" y="73"/>
                    <a:pt x="25" y="74"/>
                    <a:pt x="26" y="74"/>
                  </a:cubicBezTo>
                  <a:cubicBezTo>
                    <a:pt x="27" y="74"/>
                    <a:pt x="28" y="75"/>
                    <a:pt x="29" y="75"/>
                  </a:cubicBezTo>
                  <a:cubicBezTo>
                    <a:pt x="32" y="75"/>
                    <a:pt x="34" y="76"/>
                    <a:pt x="36" y="76"/>
                  </a:cubicBezTo>
                  <a:cubicBezTo>
                    <a:pt x="42" y="76"/>
                    <a:pt x="47" y="74"/>
                    <a:pt x="52" y="72"/>
                  </a:cubicBezTo>
                  <a:cubicBezTo>
                    <a:pt x="52" y="72"/>
                    <a:pt x="52" y="72"/>
                    <a:pt x="52" y="72"/>
                  </a:cubicBezTo>
                  <a:cubicBezTo>
                    <a:pt x="52" y="72"/>
                    <a:pt x="52" y="72"/>
                    <a:pt x="52" y="72"/>
                  </a:cubicBezTo>
                  <a:cubicBezTo>
                    <a:pt x="53" y="71"/>
                    <a:pt x="54" y="71"/>
                    <a:pt x="54" y="71"/>
                  </a:cubicBezTo>
                  <a:cubicBezTo>
                    <a:pt x="54" y="71"/>
                    <a:pt x="54" y="71"/>
                    <a:pt x="54" y="71"/>
                  </a:cubicBezTo>
                  <a:cubicBezTo>
                    <a:pt x="54" y="71"/>
                    <a:pt x="54" y="71"/>
                    <a:pt x="54" y="71"/>
                  </a:cubicBezTo>
                  <a:cubicBezTo>
                    <a:pt x="55" y="70"/>
                    <a:pt x="55" y="70"/>
                    <a:pt x="55" y="70"/>
                  </a:cubicBezTo>
                  <a:cubicBezTo>
                    <a:pt x="55" y="70"/>
                    <a:pt x="55" y="70"/>
                    <a:pt x="55" y="70"/>
                  </a:cubicBezTo>
                  <a:cubicBezTo>
                    <a:pt x="55" y="70"/>
                    <a:pt x="55" y="70"/>
                    <a:pt x="55" y="70"/>
                  </a:cubicBezTo>
                  <a:cubicBezTo>
                    <a:pt x="56" y="69"/>
                    <a:pt x="56" y="69"/>
                    <a:pt x="56" y="69"/>
                  </a:cubicBezTo>
                  <a:cubicBezTo>
                    <a:pt x="57" y="69"/>
                    <a:pt x="57" y="68"/>
                    <a:pt x="58" y="68"/>
                  </a:cubicBezTo>
                  <a:cubicBezTo>
                    <a:pt x="58" y="68"/>
                    <a:pt x="58" y="68"/>
                    <a:pt x="58" y="68"/>
                  </a:cubicBezTo>
                  <a:cubicBezTo>
                    <a:pt x="59" y="67"/>
                    <a:pt x="59" y="67"/>
                    <a:pt x="59" y="67"/>
                  </a:cubicBezTo>
                  <a:lnTo>
                    <a:pt x="60" y="67"/>
                  </a:lnTo>
                  <a:close/>
                </a:path>
              </a:pathLst>
            </a:custGeom>
            <a:solidFill>
              <a:srgbClr val="D9D8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5" name="išliḍe">
              <a:extLst>
                <a:ext uri="{FF2B5EF4-FFF2-40B4-BE49-F238E27FC236}">
                  <a16:creationId xmlns:a16="http://schemas.microsoft.com/office/drawing/2014/main" id="{EA310435-4BE9-4D0D-A843-53B3E969DFD7}"/>
                </a:ext>
              </a:extLst>
            </p:cNvPr>
            <p:cNvSpPr/>
            <p:nvPr userDrawn="1"/>
          </p:nvSpPr>
          <p:spPr bwMode="auto">
            <a:xfrm>
              <a:off x="5751513" y="1462088"/>
              <a:ext cx="136525" cy="138113"/>
            </a:xfrm>
            <a:custGeom>
              <a:avLst/>
              <a:gdLst>
                <a:gd name="T0" fmla="*/ 73 w 81"/>
                <a:gd name="T1" fmla="*/ 55 h 82"/>
                <a:gd name="T2" fmla="*/ 27 w 81"/>
                <a:gd name="T3" fmla="*/ 74 h 82"/>
                <a:gd name="T4" fmla="*/ 7 w 81"/>
                <a:gd name="T5" fmla="*/ 27 h 82"/>
                <a:gd name="T6" fmla="*/ 54 w 81"/>
                <a:gd name="T7" fmla="*/ 8 h 82"/>
                <a:gd name="T8" fmla="*/ 73 w 81"/>
                <a:gd name="T9" fmla="*/ 55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1" h="82">
                  <a:moveTo>
                    <a:pt x="73" y="55"/>
                  </a:moveTo>
                  <a:cubicBezTo>
                    <a:pt x="66" y="73"/>
                    <a:pt x="45" y="82"/>
                    <a:pt x="27" y="74"/>
                  </a:cubicBezTo>
                  <a:cubicBezTo>
                    <a:pt x="8" y="66"/>
                    <a:pt x="0" y="45"/>
                    <a:pt x="7" y="27"/>
                  </a:cubicBezTo>
                  <a:cubicBezTo>
                    <a:pt x="15" y="9"/>
                    <a:pt x="36" y="0"/>
                    <a:pt x="54" y="8"/>
                  </a:cubicBezTo>
                  <a:cubicBezTo>
                    <a:pt x="72" y="16"/>
                    <a:pt x="81" y="37"/>
                    <a:pt x="73" y="55"/>
                  </a:cubicBezTo>
                  <a:close/>
                </a:path>
              </a:pathLst>
            </a:custGeom>
            <a:solidFill>
              <a:srgbClr val="FF787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6" name="iṩḻíďé">
              <a:extLst>
                <a:ext uri="{FF2B5EF4-FFF2-40B4-BE49-F238E27FC236}">
                  <a16:creationId xmlns:a16="http://schemas.microsoft.com/office/drawing/2014/main" id="{C42DF0C8-EA28-4628-B573-CC8E33640162}"/>
                </a:ext>
              </a:extLst>
            </p:cNvPr>
            <p:cNvSpPr/>
            <p:nvPr userDrawn="1"/>
          </p:nvSpPr>
          <p:spPr bwMode="auto">
            <a:xfrm>
              <a:off x="5759450" y="1517650"/>
              <a:ext cx="122238" cy="82550"/>
            </a:xfrm>
            <a:custGeom>
              <a:avLst/>
              <a:gdLst>
                <a:gd name="T0" fmla="*/ 70 w 72"/>
                <a:gd name="T1" fmla="*/ 0 h 49"/>
                <a:gd name="T2" fmla="*/ 68 w 72"/>
                <a:gd name="T3" fmla="*/ 14 h 49"/>
                <a:gd name="T4" fmla="*/ 21 w 72"/>
                <a:gd name="T5" fmla="*/ 33 h 49"/>
                <a:gd name="T6" fmla="*/ 0 w 72"/>
                <a:gd name="T7" fmla="*/ 8 h 49"/>
                <a:gd name="T8" fmla="*/ 22 w 72"/>
                <a:gd name="T9" fmla="*/ 41 h 49"/>
                <a:gd name="T10" fmla="*/ 68 w 72"/>
                <a:gd name="T11" fmla="*/ 22 h 49"/>
                <a:gd name="T12" fmla="*/ 70 w 72"/>
                <a:gd name="T13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2" h="49">
                  <a:moveTo>
                    <a:pt x="70" y="0"/>
                  </a:moveTo>
                  <a:cubicBezTo>
                    <a:pt x="70" y="5"/>
                    <a:pt x="69" y="9"/>
                    <a:pt x="68" y="14"/>
                  </a:cubicBezTo>
                  <a:cubicBezTo>
                    <a:pt x="60" y="32"/>
                    <a:pt x="39" y="41"/>
                    <a:pt x="21" y="33"/>
                  </a:cubicBezTo>
                  <a:cubicBezTo>
                    <a:pt x="10" y="28"/>
                    <a:pt x="2" y="19"/>
                    <a:pt x="0" y="8"/>
                  </a:cubicBezTo>
                  <a:cubicBezTo>
                    <a:pt x="0" y="22"/>
                    <a:pt x="8" y="35"/>
                    <a:pt x="22" y="41"/>
                  </a:cubicBezTo>
                  <a:cubicBezTo>
                    <a:pt x="40" y="49"/>
                    <a:pt x="61" y="40"/>
                    <a:pt x="68" y="22"/>
                  </a:cubicBezTo>
                  <a:cubicBezTo>
                    <a:pt x="71" y="15"/>
                    <a:pt x="72" y="7"/>
                    <a:pt x="70" y="0"/>
                  </a:cubicBezTo>
                  <a:close/>
                </a:path>
              </a:pathLst>
            </a:custGeom>
            <a:solidFill>
              <a:srgbClr val="F56E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7" name="ísľîḍè">
              <a:extLst>
                <a:ext uri="{FF2B5EF4-FFF2-40B4-BE49-F238E27FC236}">
                  <a16:creationId xmlns:a16="http://schemas.microsoft.com/office/drawing/2014/main" id="{42109076-0CC1-405E-A27F-5F5885E116F1}"/>
                </a:ext>
              </a:extLst>
            </p:cNvPr>
            <p:cNvSpPr/>
            <p:nvPr userDrawn="1"/>
          </p:nvSpPr>
          <p:spPr bwMode="auto">
            <a:xfrm>
              <a:off x="5761038" y="1506538"/>
              <a:ext cx="112713" cy="53975"/>
            </a:xfrm>
            <a:custGeom>
              <a:avLst/>
              <a:gdLst>
                <a:gd name="T0" fmla="*/ 1 w 67"/>
                <a:gd name="T1" fmla="*/ 1 h 32"/>
                <a:gd name="T2" fmla="*/ 0 w 67"/>
                <a:gd name="T3" fmla="*/ 5 h 32"/>
                <a:gd name="T4" fmla="*/ 65 w 67"/>
                <a:gd name="T5" fmla="*/ 32 h 32"/>
                <a:gd name="T6" fmla="*/ 67 w 67"/>
                <a:gd name="T7" fmla="*/ 29 h 32"/>
                <a:gd name="T8" fmla="*/ 67 w 67"/>
                <a:gd name="T9" fmla="*/ 28 h 32"/>
                <a:gd name="T10" fmla="*/ 2 w 67"/>
                <a:gd name="T11" fmla="*/ 0 h 32"/>
                <a:gd name="T12" fmla="*/ 1 w 67"/>
                <a:gd name="T13" fmla="*/ 1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7" h="32">
                  <a:moveTo>
                    <a:pt x="1" y="1"/>
                  </a:moveTo>
                  <a:cubicBezTo>
                    <a:pt x="1" y="2"/>
                    <a:pt x="0" y="4"/>
                    <a:pt x="0" y="5"/>
                  </a:cubicBezTo>
                  <a:cubicBezTo>
                    <a:pt x="65" y="32"/>
                    <a:pt x="65" y="32"/>
                    <a:pt x="65" y="32"/>
                  </a:cubicBezTo>
                  <a:cubicBezTo>
                    <a:pt x="66" y="31"/>
                    <a:pt x="66" y="30"/>
                    <a:pt x="67" y="29"/>
                  </a:cubicBezTo>
                  <a:cubicBezTo>
                    <a:pt x="67" y="29"/>
                    <a:pt x="67" y="28"/>
                    <a:pt x="67" y="28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1"/>
                    <a:pt x="1" y="1"/>
                    <a:pt x="1" y="1"/>
                  </a:cubicBezTo>
                  <a:close/>
                </a:path>
              </a:pathLst>
            </a:custGeom>
            <a:solidFill>
              <a:srgbClr val="F56E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8" name="ïśḷiḍe">
              <a:extLst>
                <a:ext uri="{FF2B5EF4-FFF2-40B4-BE49-F238E27FC236}">
                  <a16:creationId xmlns:a16="http://schemas.microsoft.com/office/drawing/2014/main" id="{50D42AB4-41C6-4102-A57C-EB9E17203D39}"/>
                </a:ext>
              </a:extLst>
            </p:cNvPr>
            <p:cNvSpPr/>
            <p:nvPr userDrawn="1"/>
          </p:nvSpPr>
          <p:spPr bwMode="auto">
            <a:xfrm>
              <a:off x="5762625" y="1503363"/>
              <a:ext cx="114300" cy="53975"/>
            </a:xfrm>
            <a:custGeom>
              <a:avLst/>
              <a:gdLst>
                <a:gd name="T0" fmla="*/ 0 w 67"/>
                <a:gd name="T1" fmla="*/ 2 h 32"/>
                <a:gd name="T2" fmla="*/ 0 w 67"/>
                <a:gd name="T3" fmla="*/ 4 h 32"/>
                <a:gd name="T4" fmla="*/ 65 w 67"/>
                <a:gd name="T5" fmla="*/ 32 h 32"/>
                <a:gd name="T6" fmla="*/ 66 w 67"/>
                <a:gd name="T7" fmla="*/ 30 h 32"/>
                <a:gd name="T8" fmla="*/ 67 w 67"/>
                <a:gd name="T9" fmla="*/ 28 h 32"/>
                <a:gd name="T10" fmla="*/ 1 w 67"/>
                <a:gd name="T11" fmla="*/ 0 h 32"/>
                <a:gd name="T12" fmla="*/ 0 w 67"/>
                <a:gd name="T13" fmla="*/ 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7" h="32">
                  <a:moveTo>
                    <a:pt x="0" y="2"/>
                  </a:moveTo>
                  <a:cubicBezTo>
                    <a:pt x="0" y="3"/>
                    <a:pt x="0" y="4"/>
                    <a:pt x="0" y="4"/>
                  </a:cubicBezTo>
                  <a:cubicBezTo>
                    <a:pt x="65" y="32"/>
                    <a:pt x="65" y="32"/>
                    <a:pt x="65" y="32"/>
                  </a:cubicBezTo>
                  <a:cubicBezTo>
                    <a:pt x="66" y="31"/>
                    <a:pt x="66" y="31"/>
                    <a:pt x="66" y="30"/>
                  </a:cubicBezTo>
                  <a:cubicBezTo>
                    <a:pt x="67" y="29"/>
                    <a:pt x="67" y="28"/>
                    <a:pt x="67" y="28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1"/>
                    <a:pt x="1" y="1"/>
                    <a:pt x="0" y="2"/>
                  </a:cubicBezTo>
                  <a:close/>
                </a:path>
              </a:pathLst>
            </a:custGeom>
            <a:solidFill>
              <a:srgbClr val="E54C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9" name="íṧ1îḍe">
              <a:extLst>
                <a:ext uri="{FF2B5EF4-FFF2-40B4-BE49-F238E27FC236}">
                  <a16:creationId xmlns:a16="http://schemas.microsoft.com/office/drawing/2014/main" id="{61E5EDF7-F9B1-40E0-AB62-FB17A2B14F01}"/>
                </a:ext>
              </a:extLst>
            </p:cNvPr>
            <p:cNvSpPr/>
            <p:nvPr userDrawn="1"/>
          </p:nvSpPr>
          <p:spPr bwMode="auto">
            <a:xfrm>
              <a:off x="5915025" y="1535113"/>
              <a:ext cx="123825" cy="128588"/>
            </a:xfrm>
            <a:custGeom>
              <a:avLst/>
              <a:gdLst>
                <a:gd name="T0" fmla="*/ 61 w 73"/>
                <a:gd name="T1" fmla="*/ 66 h 76"/>
                <a:gd name="T2" fmla="*/ 63 w 73"/>
                <a:gd name="T3" fmla="*/ 63 h 76"/>
                <a:gd name="T4" fmla="*/ 66 w 73"/>
                <a:gd name="T5" fmla="*/ 60 h 76"/>
                <a:gd name="T6" fmla="*/ 67 w 73"/>
                <a:gd name="T7" fmla="*/ 58 h 76"/>
                <a:gd name="T8" fmla="*/ 69 w 73"/>
                <a:gd name="T9" fmla="*/ 55 h 76"/>
                <a:gd name="T10" fmla="*/ 69 w 73"/>
                <a:gd name="T11" fmla="*/ 53 h 76"/>
                <a:gd name="T12" fmla="*/ 65 w 73"/>
                <a:gd name="T13" fmla="*/ 20 h 76"/>
                <a:gd name="T14" fmla="*/ 18 w 73"/>
                <a:gd name="T15" fmla="*/ 10 h 76"/>
                <a:gd name="T16" fmla="*/ 15 w 73"/>
                <a:gd name="T17" fmla="*/ 12 h 76"/>
                <a:gd name="T18" fmla="*/ 14 w 73"/>
                <a:gd name="T19" fmla="*/ 12 h 76"/>
                <a:gd name="T20" fmla="*/ 14 w 73"/>
                <a:gd name="T21" fmla="*/ 12 h 76"/>
                <a:gd name="T22" fmla="*/ 12 w 73"/>
                <a:gd name="T23" fmla="*/ 14 h 76"/>
                <a:gd name="T24" fmla="*/ 12 w 73"/>
                <a:gd name="T25" fmla="*/ 14 h 76"/>
                <a:gd name="T26" fmla="*/ 6 w 73"/>
                <a:gd name="T27" fmla="*/ 21 h 76"/>
                <a:gd name="T28" fmla="*/ 6 w 73"/>
                <a:gd name="T29" fmla="*/ 22 h 76"/>
                <a:gd name="T30" fmla="*/ 4 w 73"/>
                <a:gd name="T31" fmla="*/ 25 h 76"/>
                <a:gd name="T32" fmla="*/ 3 w 73"/>
                <a:gd name="T33" fmla="*/ 28 h 76"/>
                <a:gd name="T34" fmla="*/ 1 w 73"/>
                <a:gd name="T35" fmla="*/ 31 h 76"/>
                <a:gd name="T36" fmla="*/ 1 w 73"/>
                <a:gd name="T37" fmla="*/ 35 h 76"/>
                <a:gd name="T38" fmla="*/ 0 w 73"/>
                <a:gd name="T39" fmla="*/ 38 h 76"/>
                <a:gd name="T40" fmla="*/ 0 w 73"/>
                <a:gd name="T41" fmla="*/ 41 h 76"/>
                <a:gd name="T42" fmla="*/ 0 w 73"/>
                <a:gd name="T43" fmla="*/ 45 h 76"/>
                <a:gd name="T44" fmla="*/ 1 w 73"/>
                <a:gd name="T45" fmla="*/ 48 h 76"/>
                <a:gd name="T46" fmla="*/ 2 w 73"/>
                <a:gd name="T47" fmla="*/ 51 h 76"/>
                <a:gd name="T48" fmla="*/ 3 w 73"/>
                <a:gd name="T49" fmla="*/ 55 h 76"/>
                <a:gd name="T50" fmla="*/ 5 w 73"/>
                <a:gd name="T51" fmla="*/ 58 h 76"/>
                <a:gd name="T52" fmla="*/ 20 w 73"/>
                <a:gd name="T53" fmla="*/ 72 h 76"/>
                <a:gd name="T54" fmla="*/ 26 w 73"/>
                <a:gd name="T55" fmla="*/ 75 h 76"/>
                <a:gd name="T56" fmla="*/ 36 w 73"/>
                <a:gd name="T57" fmla="*/ 76 h 76"/>
                <a:gd name="T58" fmla="*/ 52 w 73"/>
                <a:gd name="T59" fmla="*/ 73 h 76"/>
                <a:gd name="T60" fmla="*/ 54 w 73"/>
                <a:gd name="T61" fmla="*/ 71 h 76"/>
                <a:gd name="T62" fmla="*/ 54 w 73"/>
                <a:gd name="T63" fmla="*/ 71 h 76"/>
                <a:gd name="T64" fmla="*/ 55 w 73"/>
                <a:gd name="T65" fmla="*/ 71 h 76"/>
                <a:gd name="T66" fmla="*/ 56 w 73"/>
                <a:gd name="T67" fmla="*/ 70 h 76"/>
                <a:gd name="T68" fmla="*/ 58 w 73"/>
                <a:gd name="T69" fmla="*/ 69 h 76"/>
                <a:gd name="T70" fmla="*/ 59 w 73"/>
                <a:gd name="T71" fmla="*/ 67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73" h="76">
                  <a:moveTo>
                    <a:pt x="59" y="67"/>
                  </a:moveTo>
                  <a:cubicBezTo>
                    <a:pt x="60" y="67"/>
                    <a:pt x="61" y="66"/>
                    <a:pt x="61" y="66"/>
                  </a:cubicBezTo>
                  <a:cubicBezTo>
                    <a:pt x="62" y="65"/>
                    <a:pt x="62" y="65"/>
                    <a:pt x="62" y="65"/>
                  </a:cubicBezTo>
                  <a:cubicBezTo>
                    <a:pt x="62" y="65"/>
                    <a:pt x="63" y="64"/>
                    <a:pt x="63" y="63"/>
                  </a:cubicBezTo>
                  <a:cubicBezTo>
                    <a:pt x="64" y="63"/>
                    <a:pt x="64" y="63"/>
                    <a:pt x="64" y="63"/>
                  </a:cubicBezTo>
                  <a:cubicBezTo>
                    <a:pt x="65" y="62"/>
                    <a:pt x="65" y="61"/>
                    <a:pt x="66" y="60"/>
                  </a:cubicBezTo>
                  <a:cubicBezTo>
                    <a:pt x="66" y="59"/>
                    <a:pt x="66" y="59"/>
                    <a:pt x="66" y="59"/>
                  </a:cubicBezTo>
                  <a:cubicBezTo>
                    <a:pt x="67" y="59"/>
                    <a:pt x="67" y="58"/>
                    <a:pt x="67" y="58"/>
                  </a:cubicBezTo>
                  <a:cubicBezTo>
                    <a:pt x="68" y="57"/>
                    <a:pt x="68" y="57"/>
                    <a:pt x="68" y="56"/>
                  </a:cubicBezTo>
                  <a:cubicBezTo>
                    <a:pt x="68" y="56"/>
                    <a:pt x="69" y="55"/>
                    <a:pt x="69" y="55"/>
                  </a:cubicBezTo>
                  <a:cubicBezTo>
                    <a:pt x="69" y="54"/>
                    <a:pt x="69" y="54"/>
                    <a:pt x="69" y="53"/>
                  </a:cubicBezTo>
                  <a:cubicBezTo>
                    <a:pt x="69" y="53"/>
                    <a:pt x="69" y="53"/>
                    <a:pt x="69" y="53"/>
                  </a:cubicBezTo>
                  <a:cubicBezTo>
                    <a:pt x="69" y="53"/>
                    <a:pt x="69" y="53"/>
                    <a:pt x="69" y="53"/>
                  </a:cubicBezTo>
                  <a:cubicBezTo>
                    <a:pt x="73" y="43"/>
                    <a:pt x="72" y="30"/>
                    <a:pt x="65" y="20"/>
                  </a:cubicBezTo>
                  <a:cubicBezTo>
                    <a:pt x="55" y="5"/>
                    <a:pt x="34" y="0"/>
                    <a:pt x="18" y="10"/>
                  </a:cubicBezTo>
                  <a:cubicBezTo>
                    <a:pt x="18" y="10"/>
                    <a:pt x="18" y="10"/>
                    <a:pt x="18" y="10"/>
                  </a:cubicBezTo>
                  <a:cubicBezTo>
                    <a:pt x="17" y="10"/>
                    <a:pt x="16" y="11"/>
                    <a:pt x="16" y="11"/>
                  </a:cubicBezTo>
                  <a:cubicBezTo>
                    <a:pt x="15" y="12"/>
                    <a:pt x="15" y="12"/>
                    <a:pt x="15" y="12"/>
                  </a:cubicBezTo>
                  <a:cubicBezTo>
                    <a:pt x="15" y="12"/>
                    <a:pt x="15" y="12"/>
                    <a:pt x="15" y="12"/>
                  </a:cubicBezTo>
                  <a:cubicBezTo>
                    <a:pt x="14" y="12"/>
                    <a:pt x="14" y="12"/>
                    <a:pt x="14" y="12"/>
                  </a:cubicBezTo>
                  <a:cubicBezTo>
                    <a:pt x="14" y="12"/>
                    <a:pt x="14" y="12"/>
                    <a:pt x="14" y="12"/>
                  </a:cubicBezTo>
                  <a:cubicBezTo>
                    <a:pt x="14" y="12"/>
                    <a:pt x="14" y="12"/>
                    <a:pt x="14" y="12"/>
                  </a:cubicBezTo>
                  <a:cubicBezTo>
                    <a:pt x="14" y="13"/>
                    <a:pt x="14" y="13"/>
                    <a:pt x="14" y="13"/>
                  </a:cubicBezTo>
                  <a:cubicBezTo>
                    <a:pt x="13" y="13"/>
                    <a:pt x="13" y="13"/>
                    <a:pt x="12" y="14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0" y="16"/>
                    <a:pt x="8" y="19"/>
                    <a:pt x="6" y="21"/>
                  </a:cubicBezTo>
                  <a:cubicBezTo>
                    <a:pt x="6" y="21"/>
                    <a:pt x="6" y="21"/>
                    <a:pt x="6" y="21"/>
                  </a:cubicBezTo>
                  <a:cubicBezTo>
                    <a:pt x="6" y="21"/>
                    <a:pt x="6" y="21"/>
                    <a:pt x="6" y="21"/>
                  </a:cubicBezTo>
                  <a:cubicBezTo>
                    <a:pt x="6" y="22"/>
                    <a:pt x="6" y="22"/>
                    <a:pt x="6" y="22"/>
                  </a:cubicBezTo>
                  <a:cubicBezTo>
                    <a:pt x="5" y="22"/>
                    <a:pt x="5" y="23"/>
                    <a:pt x="4" y="24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3" y="26"/>
                    <a:pt x="3" y="27"/>
                  </a:cubicBezTo>
                  <a:cubicBezTo>
                    <a:pt x="3" y="28"/>
                    <a:pt x="3" y="28"/>
                    <a:pt x="3" y="28"/>
                  </a:cubicBezTo>
                  <a:cubicBezTo>
                    <a:pt x="2" y="29"/>
                    <a:pt x="2" y="30"/>
                    <a:pt x="2" y="31"/>
                  </a:cubicBezTo>
                  <a:cubicBezTo>
                    <a:pt x="1" y="31"/>
                    <a:pt x="1" y="31"/>
                    <a:pt x="1" y="31"/>
                  </a:cubicBezTo>
                  <a:cubicBezTo>
                    <a:pt x="1" y="32"/>
                    <a:pt x="1" y="33"/>
                    <a:pt x="1" y="34"/>
                  </a:cubicBezTo>
                  <a:cubicBezTo>
                    <a:pt x="1" y="35"/>
                    <a:pt x="1" y="35"/>
                    <a:pt x="1" y="35"/>
                  </a:cubicBezTo>
                  <a:cubicBezTo>
                    <a:pt x="1" y="35"/>
                    <a:pt x="0" y="36"/>
                    <a:pt x="0" y="37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0" y="39"/>
                    <a:pt x="0" y="40"/>
                    <a:pt x="0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42"/>
                    <a:pt x="0" y="43"/>
                    <a:pt x="0" y="44"/>
                  </a:cubicBezTo>
                  <a:cubicBezTo>
                    <a:pt x="0" y="45"/>
                    <a:pt x="0" y="45"/>
                    <a:pt x="0" y="45"/>
                  </a:cubicBezTo>
                  <a:cubicBezTo>
                    <a:pt x="0" y="46"/>
                    <a:pt x="1" y="46"/>
                    <a:pt x="1" y="47"/>
                  </a:cubicBezTo>
                  <a:cubicBezTo>
                    <a:pt x="1" y="48"/>
                    <a:pt x="1" y="48"/>
                    <a:pt x="1" y="48"/>
                  </a:cubicBezTo>
                  <a:cubicBezTo>
                    <a:pt x="1" y="49"/>
                    <a:pt x="1" y="50"/>
                    <a:pt x="2" y="51"/>
                  </a:cubicBezTo>
                  <a:cubicBezTo>
                    <a:pt x="2" y="51"/>
                    <a:pt x="2" y="51"/>
                    <a:pt x="2" y="51"/>
                  </a:cubicBezTo>
                  <a:cubicBezTo>
                    <a:pt x="2" y="52"/>
                    <a:pt x="2" y="53"/>
                    <a:pt x="3" y="54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6"/>
                    <a:pt x="4" y="56"/>
                    <a:pt x="4" y="57"/>
                  </a:cubicBezTo>
                  <a:cubicBezTo>
                    <a:pt x="5" y="58"/>
                    <a:pt x="5" y="58"/>
                    <a:pt x="5" y="58"/>
                  </a:cubicBezTo>
                  <a:cubicBezTo>
                    <a:pt x="5" y="59"/>
                    <a:pt x="6" y="60"/>
                    <a:pt x="6" y="61"/>
                  </a:cubicBezTo>
                  <a:cubicBezTo>
                    <a:pt x="10" y="66"/>
                    <a:pt x="14" y="70"/>
                    <a:pt x="20" y="72"/>
                  </a:cubicBezTo>
                  <a:cubicBezTo>
                    <a:pt x="21" y="73"/>
                    <a:pt x="22" y="73"/>
                    <a:pt x="23" y="74"/>
                  </a:cubicBezTo>
                  <a:cubicBezTo>
                    <a:pt x="24" y="74"/>
                    <a:pt x="25" y="75"/>
                    <a:pt x="26" y="75"/>
                  </a:cubicBezTo>
                  <a:cubicBezTo>
                    <a:pt x="27" y="75"/>
                    <a:pt x="28" y="76"/>
                    <a:pt x="29" y="76"/>
                  </a:cubicBezTo>
                  <a:cubicBezTo>
                    <a:pt x="31" y="76"/>
                    <a:pt x="34" y="76"/>
                    <a:pt x="36" y="76"/>
                  </a:cubicBezTo>
                  <a:cubicBezTo>
                    <a:pt x="41" y="76"/>
                    <a:pt x="47" y="75"/>
                    <a:pt x="52" y="73"/>
                  </a:cubicBezTo>
                  <a:cubicBezTo>
                    <a:pt x="52" y="73"/>
                    <a:pt x="52" y="73"/>
                    <a:pt x="52" y="73"/>
                  </a:cubicBezTo>
                  <a:cubicBezTo>
                    <a:pt x="52" y="72"/>
                    <a:pt x="52" y="72"/>
                    <a:pt x="52" y="72"/>
                  </a:cubicBezTo>
                  <a:cubicBezTo>
                    <a:pt x="53" y="72"/>
                    <a:pt x="53" y="72"/>
                    <a:pt x="54" y="71"/>
                  </a:cubicBezTo>
                  <a:cubicBezTo>
                    <a:pt x="54" y="71"/>
                    <a:pt x="54" y="71"/>
                    <a:pt x="54" y="71"/>
                  </a:cubicBezTo>
                  <a:cubicBezTo>
                    <a:pt x="54" y="71"/>
                    <a:pt x="54" y="71"/>
                    <a:pt x="54" y="71"/>
                  </a:cubicBezTo>
                  <a:cubicBezTo>
                    <a:pt x="55" y="71"/>
                    <a:pt x="55" y="71"/>
                    <a:pt x="55" y="71"/>
                  </a:cubicBezTo>
                  <a:cubicBezTo>
                    <a:pt x="55" y="71"/>
                    <a:pt x="55" y="71"/>
                    <a:pt x="55" y="71"/>
                  </a:cubicBezTo>
                  <a:cubicBezTo>
                    <a:pt x="55" y="71"/>
                    <a:pt x="55" y="71"/>
                    <a:pt x="55" y="71"/>
                  </a:cubicBezTo>
                  <a:cubicBezTo>
                    <a:pt x="56" y="70"/>
                    <a:pt x="56" y="70"/>
                    <a:pt x="56" y="70"/>
                  </a:cubicBezTo>
                  <a:cubicBezTo>
                    <a:pt x="57" y="70"/>
                    <a:pt x="57" y="69"/>
                    <a:pt x="58" y="69"/>
                  </a:cubicBezTo>
                  <a:cubicBezTo>
                    <a:pt x="58" y="69"/>
                    <a:pt x="58" y="69"/>
                    <a:pt x="58" y="69"/>
                  </a:cubicBezTo>
                  <a:cubicBezTo>
                    <a:pt x="59" y="68"/>
                    <a:pt x="59" y="68"/>
                    <a:pt x="59" y="68"/>
                  </a:cubicBezTo>
                  <a:lnTo>
                    <a:pt x="59" y="67"/>
                  </a:lnTo>
                  <a:close/>
                </a:path>
              </a:pathLst>
            </a:custGeom>
            <a:solidFill>
              <a:srgbClr val="D9D8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0" name="íṥḻíḍê">
              <a:extLst>
                <a:ext uri="{FF2B5EF4-FFF2-40B4-BE49-F238E27FC236}">
                  <a16:creationId xmlns:a16="http://schemas.microsoft.com/office/drawing/2014/main" id="{E65784D0-182F-4C4B-8398-4CC0CCF88129}"/>
                </a:ext>
              </a:extLst>
            </p:cNvPr>
            <p:cNvSpPr/>
            <p:nvPr userDrawn="1"/>
          </p:nvSpPr>
          <p:spPr bwMode="auto">
            <a:xfrm>
              <a:off x="5900738" y="1524000"/>
              <a:ext cx="138113" cy="136525"/>
            </a:xfrm>
            <a:custGeom>
              <a:avLst/>
              <a:gdLst>
                <a:gd name="T0" fmla="*/ 73 w 81"/>
                <a:gd name="T1" fmla="*/ 55 h 81"/>
                <a:gd name="T2" fmla="*/ 27 w 81"/>
                <a:gd name="T3" fmla="*/ 74 h 81"/>
                <a:gd name="T4" fmla="*/ 7 w 81"/>
                <a:gd name="T5" fmla="*/ 27 h 81"/>
                <a:gd name="T6" fmla="*/ 54 w 81"/>
                <a:gd name="T7" fmla="*/ 8 h 81"/>
                <a:gd name="T8" fmla="*/ 73 w 81"/>
                <a:gd name="T9" fmla="*/ 55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1" h="81">
                  <a:moveTo>
                    <a:pt x="73" y="55"/>
                  </a:moveTo>
                  <a:cubicBezTo>
                    <a:pt x="66" y="73"/>
                    <a:pt x="45" y="81"/>
                    <a:pt x="27" y="74"/>
                  </a:cubicBezTo>
                  <a:cubicBezTo>
                    <a:pt x="8" y="66"/>
                    <a:pt x="0" y="45"/>
                    <a:pt x="7" y="27"/>
                  </a:cubicBezTo>
                  <a:cubicBezTo>
                    <a:pt x="15" y="9"/>
                    <a:pt x="36" y="0"/>
                    <a:pt x="54" y="8"/>
                  </a:cubicBezTo>
                  <a:cubicBezTo>
                    <a:pt x="72" y="15"/>
                    <a:pt x="81" y="36"/>
                    <a:pt x="73" y="55"/>
                  </a:cubicBezTo>
                  <a:close/>
                </a:path>
              </a:pathLst>
            </a:custGeom>
            <a:solidFill>
              <a:srgbClr val="FF787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1" name="îṥľiḋè">
              <a:extLst>
                <a:ext uri="{FF2B5EF4-FFF2-40B4-BE49-F238E27FC236}">
                  <a16:creationId xmlns:a16="http://schemas.microsoft.com/office/drawing/2014/main" id="{E872499A-A743-4A1E-9D2B-F5BAE51C356E}"/>
                </a:ext>
              </a:extLst>
            </p:cNvPr>
            <p:cNvSpPr/>
            <p:nvPr userDrawn="1"/>
          </p:nvSpPr>
          <p:spPr bwMode="auto">
            <a:xfrm>
              <a:off x="5910263" y="1579563"/>
              <a:ext cx="122238" cy="80963"/>
            </a:xfrm>
            <a:custGeom>
              <a:avLst/>
              <a:gdLst>
                <a:gd name="T0" fmla="*/ 70 w 72"/>
                <a:gd name="T1" fmla="*/ 0 h 48"/>
                <a:gd name="T2" fmla="*/ 67 w 72"/>
                <a:gd name="T3" fmla="*/ 14 h 48"/>
                <a:gd name="T4" fmla="*/ 21 w 72"/>
                <a:gd name="T5" fmla="*/ 33 h 48"/>
                <a:gd name="T6" fmla="*/ 0 w 72"/>
                <a:gd name="T7" fmla="*/ 8 h 48"/>
                <a:gd name="T8" fmla="*/ 22 w 72"/>
                <a:gd name="T9" fmla="*/ 41 h 48"/>
                <a:gd name="T10" fmla="*/ 68 w 72"/>
                <a:gd name="T11" fmla="*/ 22 h 48"/>
                <a:gd name="T12" fmla="*/ 70 w 72"/>
                <a:gd name="T13" fmla="*/ 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2" h="48">
                  <a:moveTo>
                    <a:pt x="70" y="0"/>
                  </a:moveTo>
                  <a:cubicBezTo>
                    <a:pt x="70" y="4"/>
                    <a:pt x="69" y="9"/>
                    <a:pt x="67" y="14"/>
                  </a:cubicBezTo>
                  <a:cubicBezTo>
                    <a:pt x="60" y="32"/>
                    <a:pt x="39" y="40"/>
                    <a:pt x="21" y="33"/>
                  </a:cubicBezTo>
                  <a:cubicBezTo>
                    <a:pt x="10" y="28"/>
                    <a:pt x="2" y="19"/>
                    <a:pt x="0" y="8"/>
                  </a:cubicBezTo>
                  <a:cubicBezTo>
                    <a:pt x="0" y="22"/>
                    <a:pt x="8" y="35"/>
                    <a:pt x="22" y="41"/>
                  </a:cubicBezTo>
                  <a:cubicBezTo>
                    <a:pt x="40" y="48"/>
                    <a:pt x="61" y="40"/>
                    <a:pt x="68" y="22"/>
                  </a:cubicBezTo>
                  <a:cubicBezTo>
                    <a:pt x="71" y="14"/>
                    <a:pt x="72" y="7"/>
                    <a:pt x="70" y="0"/>
                  </a:cubicBezTo>
                  <a:close/>
                </a:path>
              </a:pathLst>
            </a:custGeom>
            <a:solidFill>
              <a:srgbClr val="F56E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2" name="íSḻíďé">
              <a:extLst>
                <a:ext uri="{FF2B5EF4-FFF2-40B4-BE49-F238E27FC236}">
                  <a16:creationId xmlns:a16="http://schemas.microsoft.com/office/drawing/2014/main" id="{87BC2A51-8EB7-4584-81CA-E7926675A5A5}"/>
                </a:ext>
              </a:extLst>
            </p:cNvPr>
            <p:cNvSpPr/>
            <p:nvPr userDrawn="1"/>
          </p:nvSpPr>
          <p:spPr bwMode="auto">
            <a:xfrm>
              <a:off x="5911850" y="1570038"/>
              <a:ext cx="112713" cy="53975"/>
            </a:xfrm>
            <a:custGeom>
              <a:avLst/>
              <a:gdLst>
                <a:gd name="T0" fmla="*/ 1 w 67"/>
                <a:gd name="T1" fmla="*/ 1 h 32"/>
                <a:gd name="T2" fmla="*/ 0 w 67"/>
                <a:gd name="T3" fmla="*/ 4 h 32"/>
                <a:gd name="T4" fmla="*/ 65 w 67"/>
                <a:gd name="T5" fmla="*/ 32 h 32"/>
                <a:gd name="T6" fmla="*/ 67 w 67"/>
                <a:gd name="T7" fmla="*/ 29 h 32"/>
                <a:gd name="T8" fmla="*/ 67 w 67"/>
                <a:gd name="T9" fmla="*/ 28 h 32"/>
                <a:gd name="T10" fmla="*/ 1 w 67"/>
                <a:gd name="T11" fmla="*/ 0 h 32"/>
                <a:gd name="T12" fmla="*/ 1 w 67"/>
                <a:gd name="T13" fmla="*/ 1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7" h="32">
                  <a:moveTo>
                    <a:pt x="1" y="1"/>
                  </a:moveTo>
                  <a:cubicBezTo>
                    <a:pt x="0" y="2"/>
                    <a:pt x="0" y="3"/>
                    <a:pt x="0" y="4"/>
                  </a:cubicBezTo>
                  <a:cubicBezTo>
                    <a:pt x="65" y="32"/>
                    <a:pt x="65" y="32"/>
                    <a:pt x="65" y="32"/>
                  </a:cubicBezTo>
                  <a:cubicBezTo>
                    <a:pt x="66" y="31"/>
                    <a:pt x="66" y="30"/>
                    <a:pt x="67" y="29"/>
                  </a:cubicBezTo>
                  <a:cubicBezTo>
                    <a:pt x="67" y="28"/>
                    <a:pt x="67" y="28"/>
                    <a:pt x="67" y="28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1"/>
                    <a:pt x="1" y="1"/>
                  </a:cubicBezTo>
                  <a:close/>
                </a:path>
              </a:pathLst>
            </a:custGeom>
            <a:solidFill>
              <a:srgbClr val="F56E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3" name="ïṥḻïdé">
              <a:extLst>
                <a:ext uri="{FF2B5EF4-FFF2-40B4-BE49-F238E27FC236}">
                  <a16:creationId xmlns:a16="http://schemas.microsoft.com/office/drawing/2014/main" id="{52799A49-4EEF-4352-A7AA-E5391AA82D41}"/>
                </a:ext>
              </a:extLst>
            </p:cNvPr>
            <p:cNvSpPr/>
            <p:nvPr userDrawn="1"/>
          </p:nvSpPr>
          <p:spPr bwMode="auto">
            <a:xfrm>
              <a:off x="5913438" y="1566863"/>
              <a:ext cx="112713" cy="53975"/>
            </a:xfrm>
            <a:custGeom>
              <a:avLst/>
              <a:gdLst>
                <a:gd name="T0" fmla="*/ 0 w 67"/>
                <a:gd name="T1" fmla="*/ 2 h 32"/>
                <a:gd name="T2" fmla="*/ 0 w 67"/>
                <a:gd name="T3" fmla="*/ 4 h 32"/>
                <a:gd name="T4" fmla="*/ 65 w 67"/>
                <a:gd name="T5" fmla="*/ 32 h 32"/>
                <a:gd name="T6" fmla="*/ 66 w 67"/>
                <a:gd name="T7" fmla="*/ 30 h 32"/>
                <a:gd name="T8" fmla="*/ 67 w 67"/>
                <a:gd name="T9" fmla="*/ 27 h 32"/>
                <a:gd name="T10" fmla="*/ 1 w 67"/>
                <a:gd name="T11" fmla="*/ 0 h 32"/>
                <a:gd name="T12" fmla="*/ 0 w 67"/>
                <a:gd name="T13" fmla="*/ 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7" h="32">
                  <a:moveTo>
                    <a:pt x="0" y="2"/>
                  </a:moveTo>
                  <a:cubicBezTo>
                    <a:pt x="0" y="3"/>
                    <a:pt x="0" y="3"/>
                    <a:pt x="0" y="4"/>
                  </a:cubicBezTo>
                  <a:cubicBezTo>
                    <a:pt x="65" y="32"/>
                    <a:pt x="65" y="32"/>
                    <a:pt x="65" y="32"/>
                  </a:cubicBezTo>
                  <a:cubicBezTo>
                    <a:pt x="66" y="31"/>
                    <a:pt x="66" y="30"/>
                    <a:pt x="66" y="30"/>
                  </a:cubicBezTo>
                  <a:cubicBezTo>
                    <a:pt x="67" y="29"/>
                    <a:pt x="67" y="28"/>
                    <a:pt x="67" y="27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1"/>
                    <a:pt x="0" y="2"/>
                  </a:cubicBezTo>
                  <a:close/>
                </a:path>
              </a:pathLst>
            </a:custGeom>
            <a:solidFill>
              <a:srgbClr val="E54C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4" name="íşľiďé">
              <a:extLst>
                <a:ext uri="{FF2B5EF4-FFF2-40B4-BE49-F238E27FC236}">
                  <a16:creationId xmlns:a16="http://schemas.microsoft.com/office/drawing/2014/main" id="{56A7E295-9DB9-4FAF-B55E-5D47A2E8B7B4}"/>
                </a:ext>
              </a:extLst>
            </p:cNvPr>
            <p:cNvSpPr/>
            <p:nvPr userDrawn="1"/>
          </p:nvSpPr>
          <p:spPr bwMode="auto">
            <a:xfrm>
              <a:off x="6065838" y="1598613"/>
              <a:ext cx="123825" cy="128588"/>
            </a:xfrm>
            <a:custGeom>
              <a:avLst/>
              <a:gdLst>
                <a:gd name="T0" fmla="*/ 61 w 73"/>
                <a:gd name="T1" fmla="*/ 66 h 76"/>
                <a:gd name="T2" fmla="*/ 63 w 73"/>
                <a:gd name="T3" fmla="*/ 63 h 76"/>
                <a:gd name="T4" fmla="*/ 66 w 73"/>
                <a:gd name="T5" fmla="*/ 60 h 76"/>
                <a:gd name="T6" fmla="*/ 67 w 73"/>
                <a:gd name="T7" fmla="*/ 57 h 76"/>
                <a:gd name="T8" fmla="*/ 69 w 73"/>
                <a:gd name="T9" fmla="*/ 54 h 76"/>
                <a:gd name="T10" fmla="*/ 69 w 73"/>
                <a:gd name="T11" fmla="*/ 53 h 76"/>
                <a:gd name="T12" fmla="*/ 65 w 73"/>
                <a:gd name="T13" fmla="*/ 20 h 76"/>
                <a:gd name="T14" fmla="*/ 18 w 73"/>
                <a:gd name="T15" fmla="*/ 10 h 76"/>
                <a:gd name="T16" fmla="*/ 15 w 73"/>
                <a:gd name="T17" fmla="*/ 12 h 76"/>
                <a:gd name="T18" fmla="*/ 14 w 73"/>
                <a:gd name="T19" fmla="*/ 12 h 76"/>
                <a:gd name="T20" fmla="*/ 14 w 73"/>
                <a:gd name="T21" fmla="*/ 12 h 76"/>
                <a:gd name="T22" fmla="*/ 12 w 73"/>
                <a:gd name="T23" fmla="*/ 13 h 76"/>
                <a:gd name="T24" fmla="*/ 12 w 73"/>
                <a:gd name="T25" fmla="*/ 14 h 76"/>
                <a:gd name="T26" fmla="*/ 6 w 73"/>
                <a:gd name="T27" fmla="*/ 21 h 76"/>
                <a:gd name="T28" fmla="*/ 6 w 73"/>
                <a:gd name="T29" fmla="*/ 21 h 76"/>
                <a:gd name="T30" fmla="*/ 4 w 73"/>
                <a:gd name="T31" fmla="*/ 25 h 76"/>
                <a:gd name="T32" fmla="*/ 2 w 73"/>
                <a:gd name="T33" fmla="*/ 27 h 76"/>
                <a:gd name="T34" fmla="*/ 1 w 73"/>
                <a:gd name="T35" fmla="*/ 31 h 76"/>
                <a:gd name="T36" fmla="*/ 1 w 73"/>
                <a:gd name="T37" fmla="*/ 34 h 76"/>
                <a:gd name="T38" fmla="*/ 0 w 73"/>
                <a:gd name="T39" fmla="*/ 37 h 76"/>
                <a:gd name="T40" fmla="*/ 0 w 73"/>
                <a:gd name="T41" fmla="*/ 41 h 76"/>
                <a:gd name="T42" fmla="*/ 0 w 73"/>
                <a:gd name="T43" fmla="*/ 45 h 76"/>
                <a:gd name="T44" fmla="*/ 1 w 73"/>
                <a:gd name="T45" fmla="*/ 48 h 76"/>
                <a:gd name="T46" fmla="*/ 2 w 73"/>
                <a:gd name="T47" fmla="*/ 51 h 76"/>
                <a:gd name="T48" fmla="*/ 3 w 73"/>
                <a:gd name="T49" fmla="*/ 55 h 76"/>
                <a:gd name="T50" fmla="*/ 5 w 73"/>
                <a:gd name="T51" fmla="*/ 58 h 76"/>
                <a:gd name="T52" fmla="*/ 19 w 73"/>
                <a:gd name="T53" fmla="*/ 72 h 76"/>
                <a:gd name="T54" fmla="*/ 26 w 73"/>
                <a:gd name="T55" fmla="*/ 75 h 76"/>
                <a:gd name="T56" fmla="*/ 36 w 73"/>
                <a:gd name="T57" fmla="*/ 76 h 76"/>
                <a:gd name="T58" fmla="*/ 52 w 73"/>
                <a:gd name="T59" fmla="*/ 72 h 76"/>
                <a:gd name="T60" fmla="*/ 54 w 73"/>
                <a:gd name="T61" fmla="*/ 71 h 76"/>
                <a:gd name="T62" fmla="*/ 54 w 73"/>
                <a:gd name="T63" fmla="*/ 71 h 76"/>
                <a:gd name="T64" fmla="*/ 55 w 73"/>
                <a:gd name="T65" fmla="*/ 71 h 76"/>
                <a:gd name="T66" fmla="*/ 56 w 73"/>
                <a:gd name="T67" fmla="*/ 70 h 76"/>
                <a:gd name="T68" fmla="*/ 58 w 73"/>
                <a:gd name="T69" fmla="*/ 69 h 76"/>
                <a:gd name="T70" fmla="*/ 59 w 73"/>
                <a:gd name="T71" fmla="*/ 67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73" h="76">
                  <a:moveTo>
                    <a:pt x="59" y="67"/>
                  </a:moveTo>
                  <a:cubicBezTo>
                    <a:pt x="60" y="67"/>
                    <a:pt x="61" y="66"/>
                    <a:pt x="61" y="66"/>
                  </a:cubicBezTo>
                  <a:cubicBezTo>
                    <a:pt x="62" y="65"/>
                    <a:pt x="62" y="65"/>
                    <a:pt x="62" y="65"/>
                  </a:cubicBezTo>
                  <a:cubicBezTo>
                    <a:pt x="62" y="64"/>
                    <a:pt x="63" y="64"/>
                    <a:pt x="63" y="63"/>
                  </a:cubicBezTo>
                  <a:cubicBezTo>
                    <a:pt x="64" y="62"/>
                    <a:pt x="64" y="62"/>
                    <a:pt x="64" y="62"/>
                  </a:cubicBezTo>
                  <a:cubicBezTo>
                    <a:pt x="65" y="62"/>
                    <a:pt x="65" y="61"/>
                    <a:pt x="66" y="60"/>
                  </a:cubicBezTo>
                  <a:cubicBezTo>
                    <a:pt x="66" y="59"/>
                    <a:pt x="66" y="59"/>
                    <a:pt x="66" y="59"/>
                  </a:cubicBezTo>
                  <a:cubicBezTo>
                    <a:pt x="67" y="58"/>
                    <a:pt x="67" y="58"/>
                    <a:pt x="67" y="57"/>
                  </a:cubicBezTo>
                  <a:cubicBezTo>
                    <a:pt x="68" y="57"/>
                    <a:pt x="68" y="56"/>
                    <a:pt x="68" y="56"/>
                  </a:cubicBezTo>
                  <a:cubicBezTo>
                    <a:pt x="68" y="56"/>
                    <a:pt x="68" y="55"/>
                    <a:pt x="69" y="54"/>
                  </a:cubicBezTo>
                  <a:cubicBezTo>
                    <a:pt x="69" y="54"/>
                    <a:pt x="69" y="54"/>
                    <a:pt x="69" y="53"/>
                  </a:cubicBezTo>
                  <a:cubicBezTo>
                    <a:pt x="69" y="53"/>
                    <a:pt x="69" y="53"/>
                    <a:pt x="69" y="53"/>
                  </a:cubicBezTo>
                  <a:cubicBezTo>
                    <a:pt x="69" y="53"/>
                    <a:pt x="69" y="53"/>
                    <a:pt x="69" y="53"/>
                  </a:cubicBezTo>
                  <a:cubicBezTo>
                    <a:pt x="73" y="42"/>
                    <a:pt x="72" y="30"/>
                    <a:pt x="65" y="20"/>
                  </a:cubicBezTo>
                  <a:cubicBezTo>
                    <a:pt x="55" y="5"/>
                    <a:pt x="34" y="0"/>
                    <a:pt x="18" y="10"/>
                  </a:cubicBezTo>
                  <a:cubicBezTo>
                    <a:pt x="18" y="10"/>
                    <a:pt x="18" y="10"/>
                    <a:pt x="18" y="10"/>
                  </a:cubicBezTo>
                  <a:cubicBezTo>
                    <a:pt x="17" y="10"/>
                    <a:pt x="16" y="10"/>
                    <a:pt x="16" y="11"/>
                  </a:cubicBezTo>
                  <a:cubicBezTo>
                    <a:pt x="15" y="12"/>
                    <a:pt x="15" y="12"/>
                    <a:pt x="15" y="12"/>
                  </a:cubicBezTo>
                  <a:cubicBezTo>
                    <a:pt x="15" y="12"/>
                    <a:pt x="15" y="12"/>
                    <a:pt x="15" y="12"/>
                  </a:cubicBezTo>
                  <a:cubicBezTo>
                    <a:pt x="14" y="12"/>
                    <a:pt x="14" y="12"/>
                    <a:pt x="14" y="12"/>
                  </a:cubicBezTo>
                  <a:cubicBezTo>
                    <a:pt x="14" y="12"/>
                    <a:pt x="14" y="12"/>
                    <a:pt x="14" y="12"/>
                  </a:cubicBezTo>
                  <a:cubicBezTo>
                    <a:pt x="14" y="12"/>
                    <a:pt x="14" y="12"/>
                    <a:pt x="14" y="12"/>
                  </a:cubicBezTo>
                  <a:cubicBezTo>
                    <a:pt x="14" y="12"/>
                    <a:pt x="14" y="12"/>
                    <a:pt x="14" y="12"/>
                  </a:cubicBezTo>
                  <a:cubicBezTo>
                    <a:pt x="13" y="13"/>
                    <a:pt x="13" y="13"/>
                    <a:pt x="12" y="13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0" y="16"/>
                    <a:pt x="8" y="18"/>
                    <a:pt x="6" y="21"/>
                  </a:cubicBezTo>
                  <a:cubicBezTo>
                    <a:pt x="6" y="21"/>
                    <a:pt x="6" y="21"/>
                    <a:pt x="6" y="21"/>
                  </a:cubicBezTo>
                  <a:cubicBezTo>
                    <a:pt x="6" y="21"/>
                    <a:pt x="6" y="21"/>
                    <a:pt x="6" y="21"/>
                  </a:cubicBezTo>
                  <a:cubicBezTo>
                    <a:pt x="6" y="21"/>
                    <a:pt x="6" y="21"/>
                    <a:pt x="6" y="21"/>
                  </a:cubicBezTo>
                  <a:cubicBezTo>
                    <a:pt x="5" y="22"/>
                    <a:pt x="5" y="23"/>
                    <a:pt x="4" y="24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3" y="25"/>
                    <a:pt x="3" y="26"/>
                    <a:pt x="3" y="27"/>
                  </a:cubicBezTo>
                  <a:cubicBezTo>
                    <a:pt x="2" y="27"/>
                    <a:pt x="2" y="27"/>
                    <a:pt x="2" y="27"/>
                  </a:cubicBezTo>
                  <a:cubicBezTo>
                    <a:pt x="2" y="28"/>
                    <a:pt x="2" y="29"/>
                    <a:pt x="2" y="30"/>
                  </a:cubicBezTo>
                  <a:cubicBezTo>
                    <a:pt x="1" y="31"/>
                    <a:pt x="1" y="31"/>
                    <a:pt x="1" y="31"/>
                  </a:cubicBezTo>
                  <a:cubicBezTo>
                    <a:pt x="1" y="32"/>
                    <a:pt x="1" y="32"/>
                    <a:pt x="1" y="33"/>
                  </a:cubicBezTo>
                  <a:cubicBezTo>
                    <a:pt x="1" y="34"/>
                    <a:pt x="1" y="34"/>
                    <a:pt x="1" y="34"/>
                  </a:cubicBezTo>
                  <a:cubicBezTo>
                    <a:pt x="0" y="35"/>
                    <a:pt x="0" y="36"/>
                    <a:pt x="0" y="37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0" y="38"/>
                    <a:pt x="0" y="40"/>
                    <a:pt x="0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42"/>
                    <a:pt x="0" y="43"/>
                    <a:pt x="0" y="44"/>
                  </a:cubicBezTo>
                  <a:cubicBezTo>
                    <a:pt x="0" y="45"/>
                    <a:pt x="0" y="45"/>
                    <a:pt x="0" y="45"/>
                  </a:cubicBezTo>
                  <a:cubicBezTo>
                    <a:pt x="0" y="45"/>
                    <a:pt x="1" y="46"/>
                    <a:pt x="1" y="47"/>
                  </a:cubicBezTo>
                  <a:cubicBezTo>
                    <a:pt x="1" y="48"/>
                    <a:pt x="1" y="48"/>
                    <a:pt x="1" y="48"/>
                  </a:cubicBezTo>
                  <a:cubicBezTo>
                    <a:pt x="1" y="49"/>
                    <a:pt x="1" y="50"/>
                    <a:pt x="2" y="51"/>
                  </a:cubicBezTo>
                  <a:cubicBezTo>
                    <a:pt x="2" y="51"/>
                    <a:pt x="2" y="51"/>
                    <a:pt x="2" y="51"/>
                  </a:cubicBezTo>
                  <a:cubicBezTo>
                    <a:pt x="2" y="52"/>
                    <a:pt x="2" y="53"/>
                    <a:pt x="3" y="54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4" y="56"/>
                    <a:pt x="4" y="57"/>
                  </a:cubicBezTo>
                  <a:cubicBezTo>
                    <a:pt x="5" y="58"/>
                    <a:pt x="5" y="58"/>
                    <a:pt x="5" y="58"/>
                  </a:cubicBezTo>
                  <a:cubicBezTo>
                    <a:pt x="5" y="59"/>
                    <a:pt x="6" y="60"/>
                    <a:pt x="6" y="61"/>
                  </a:cubicBezTo>
                  <a:cubicBezTo>
                    <a:pt x="10" y="66"/>
                    <a:pt x="14" y="70"/>
                    <a:pt x="19" y="72"/>
                  </a:cubicBezTo>
                  <a:cubicBezTo>
                    <a:pt x="20" y="73"/>
                    <a:pt x="22" y="73"/>
                    <a:pt x="23" y="74"/>
                  </a:cubicBezTo>
                  <a:cubicBezTo>
                    <a:pt x="24" y="74"/>
                    <a:pt x="25" y="74"/>
                    <a:pt x="26" y="75"/>
                  </a:cubicBezTo>
                  <a:cubicBezTo>
                    <a:pt x="27" y="75"/>
                    <a:pt x="28" y="75"/>
                    <a:pt x="29" y="76"/>
                  </a:cubicBezTo>
                  <a:cubicBezTo>
                    <a:pt x="31" y="76"/>
                    <a:pt x="34" y="76"/>
                    <a:pt x="36" y="76"/>
                  </a:cubicBezTo>
                  <a:cubicBezTo>
                    <a:pt x="41" y="76"/>
                    <a:pt x="47" y="75"/>
                    <a:pt x="52" y="72"/>
                  </a:cubicBezTo>
                  <a:cubicBezTo>
                    <a:pt x="52" y="72"/>
                    <a:pt x="52" y="72"/>
                    <a:pt x="52" y="72"/>
                  </a:cubicBezTo>
                  <a:cubicBezTo>
                    <a:pt x="52" y="72"/>
                    <a:pt x="52" y="72"/>
                    <a:pt x="52" y="72"/>
                  </a:cubicBezTo>
                  <a:cubicBezTo>
                    <a:pt x="53" y="72"/>
                    <a:pt x="53" y="72"/>
                    <a:pt x="54" y="71"/>
                  </a:cubicBezTo>
                  <a:cubicBezTo>
                    <a:pt x="54" y="71"/>
                    <a:pt x="54" y="71"/>
                    <a:pt x="54" y="71"/>
                  </a:cubicBezTo>
                  <a:cubicBezTo>
                    <a:pt x="54" y="71"/>
                    <a:pt x="54" y="71"/>
                    <a:pt x="54" y="71"/>
                  </a:cubicBezTo>
                  <a:cubicBezTo>
                    <a:pt x="55" y="71"/>
                    <a:pt x="55" y="71"/>
                    <a:pt x="55" y="71"/>
                  </a:cubicBezTo>
                  <a:cubicBezTo>
                    <a:pt x="55" y="71"/>
                    <a:pt x="55" y="71"/>
                    <a:pt x="55" y="71"/>
                  </a:cubicBezTo>
                  <a:cubicBezTo>
                    <a:pt x="55" y="71"/>
                    <a:pt x="55" y="71"/>
                    <a:pt x="55" y="71"/>
                  </a:cubicBezTo>
                  <a:cubicBezTo>
                    <a:pt x="56" y="70"/>
                    <a:pt x="56" y="70"/>
                    <a:pt x="56" y="70"/>
                  </a:cubicBezTo>
                  <a:cubicBezTo>
                    <a:pt x="57" y="70"/>
                    <a:pt x="57" y="69"/>
                    <a:pt x="58" y="69"/>
                  </a:cubicBezTo>
                  <a:cubicBezTo>
                    <a:pt x="58" y="69"/>
                    <a:pt x="58" y="69"/>
                    <a:pt x="58" y="69"/>
                  </a:cubicBezTo>
                  <a:cubicBezTo>
                    <a:pt x="59" y="68"/>
                    <a:pt x="59" y="68"/>
                    <a:pt x="59" y="68"/>
                  </a:cubicBezTo>
                  <a:lnTo>
                    <a:pt x="59" y="67"/>
                  </a:lnTo>
                  <a:close/>
                </a:path>
              </a:pathLst>
            </a:custGeom>
            <a:solidFill>
              <a:srgbClr val="D9D8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5" name="iṥ1ïdè">
              <a:extLst>
                <a:ext uri="{FF2B5EF4-FFF2-40B4-BE49-F238E27FC236}">
                  <a16:creationId xmlns:a16="http://schemas.microsoft.com/office/drawing/2014/main" id="{F43E14EB-860F-4CB7-BABA-671505474B99}"/>
                </a:ext>
              </a:extLst>
            </p:cNvPr>
            <p:cNvSpPr/>
            <p:nvPr userDrawn="1"/>
          </p:nvSpPr>
          <p:spPr bwMode="auto">
            <a:xfrm>
              <a:off x="6051550" y="1585913"/>
              <a:ext cx="138113" cy="136525"/>
            </a:xfrm>
            <a:custGeom>
              <a:avLst/>
              <a:gdLst>
                <a:gd name="T0" fmla="*/ 73 w 81"/>
                <a:gd name="T1" fmla="*/ 54 h 81"/>
                <a:gd name="T2" fmla="*/ 26 w 81"/>
                <a:gd name="T3" fmla="*/ 74 h 81"/>
                <a:gd name="T4" fmla="*/ 7 w 81"/>
                <a:gd name="T5" fmla="*/ 27 h 81"/>
                <a:gd name="T6" fmla="*/ 54 w 81"/>
                <a:gd name="T7" fmla="*/ 8 h 81"/>
                <a:gd name="T8" fmla="*/ 73 w 81"/>
                <a:gd name="T9" fmla="*/ 54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1" h="81">
                  <a:moveTo>
                    <a:pt x="73" y="54"/>
                  </a:moveTo>
                  <a:cubicBezTo>
                    <a:pt x="66" y="73"/>
                    <a:pt x="45" y="81"/>
                    <a:pt x="26" y="74"/>
                  </a:cubicBezTo>
                  <a:cubicBezTo>
                    <a:pt x="8" y="66"/>
                    <a:pt x="0" y="45"/>
                    <a:pt x="7" y="27"/>
                  </a:cubicBezTo>
                  <a:cubicBezTo>
                    <a:pt x="15" y="8"/>
                    <a:pt x="36" y="0"/>
                    <a:pt x="54" y="8"/>
                  </a:cubicBezTo>
                  <a:cubicBezTo>
                    <a:pt x="72" y="15"/>
                    <a:pt x="81" y="36"/>
                    <a:pt x="73" y="54"/>
                  </a:cubicBezTo>
                  <a:close/>
                </a:path>
              </a:pathLst>
            </a:custGeom>
            <a:solidFill>
              <a:srgbClr val="FF787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6" name="îşḷídê">
              <a:extLst>
                <a:ext uri="{FF2B5EF4-FFF2-40B4-BE49-F238E27FC236}">
                  <a16:creationId xmlns:a16="http://schemas.microsoft.com/office/drawing/2014/main" id="{CE29092E-144C-497D-AF1D-BA9E9B072F15}"/>
                </a:ext>
              </a:extLst>
            </p:cNvPr>
            <p:cNvSpPr/>
            <p:nvPr userDrawn="1"/>
          </p:nvSpPr>
          <p:spPr bwMode="auto">
            <a:xfrm>
              <a:off x="6059488" y="1641475"/>
              <a:ext cx="122238" cy="80963"/>
            </a:xfrm>
            <a:custGeom>
              <a:avLst/>
              <a:gdLst>
                <a:gd name="T0" fmla="*/ 71 w 73"/>
                <a:gd name="T1" fmla="*/ 0 h 48"/>
                <a:gd name="T2" fmla="*/ 68 w 73"/>
                <a:gd name="T3" fmla="*/ 13 h 48"/>
                <a:gd name="T4" fmla="*/ 22 w 73"/>
                <a:gd name="T5" fmla="*/ 33 h 48"/>
                <a:gd name="T6" fmla="*/ 0 w 73"/>
                <a:gd name="T7" fmla="*/ 8 h 48"/>
                <a:gd name="T8" fmla="*/ 22 w 73"/>
                <a:gd name="T9" fmla="*/ 41 h 48"/>
                <a:gd name="T10" fmla="*/ 69 w 73"/>
                <a:gd name="T11" fmla="*/ 21 h 48"/>
                <a:gd name="T12" fmla="*/ 71 w 73"/>
                <a:gd name="T13" fmla="*/ 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3" h="48">
                  <a:moveTo>
                    <a:pt x="71" y="0"/>
                  </a:moveTo>
                  <a:cubicBezTo>
                    <a:pt x="71" y="4"/>
                    <a:pt x="70" y="9"/>
                    <a:pt x="68" y="13"/>
                  </a:cubicBezTo>
                  <a:cubicBezTo>
                    <a:pt x="61" y="32"/>
                    <a:pt x="40" y="40"/>
                    <a:pt x="22" y="33"/>
                  </a:cubicBezTo>
                  <a:cubicBezTo>
                    <a:pt x="10" y="28"/>
                    <a:pt x="3" y="18"/>
                    <a:pt x="0" y="8"/>
                  </a:cubicBezTo>
                  <a:cubicBezTo>
                    <a:pt x="1" y="22"/>
                    <a:pt x="9" y="35"/>
                    <a:pt x="22" y="41"/>
                  </a:cubicBezTo>
                  <a:cubicBezTo>
                    <a:pt x="41" y="48"/>
                    <a:pt x="62" y="40"/>
                    <a:pt x="69" y="21"/>
                  </a:cubicBezTo>
                  <a:cubicBezTo>
                    <a:pt x="72" y="14"/>
                    <a:pt x="73" y="7"/>
                    <a:pt x="71" y="0"/>
                  </a:cubicBezTo>
                  <a:close/>
                </a:path>
              </a:pathLst>
            </a:custGeom>
            <a:solidFill>
              <a:srgbClr val="F56E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7" name="iš1íďè">
              <a:extLst>
                <a:ext uri="{FF2B5EF4-FFF2-40B4-BE49-F238E27FC236}">
                  <a16:creationId xmlns:a16="http://schemas.microsoft.com/office/drawing/2014/main" id="{88AEAADC-1C53-4065-AC25-FD63DF269933}"/>
                </a:ext>
              </a:extLst>
            </p:cNvPr>
            <p:cNvSpPr/>
            <p:nvPr userDrawn="1"/>
          </p:nvSpPr>
          <p:spPr bwMode="auto">
            <a:xfrm>
              <a:off x="6062663" y="1631950"/>
              <a:ext cx="112713" cy="53975"/>
            </a:xfrm>
            <a:custGeom>
              <a:avLst/>
              <a:gdLst>
                <a:gd name="T0" fmla="*/ 1 w 67"/>
                <a:gd name="T1" fmla="*/ 1 h 32"/>
                <a:gd name="T2" fmla="*/ 0 w 67"/>
                <a:gd name="T3" fmla="*/ 4 h 32"/>
                <a:gd name="T4" fmla="*/ 65 w 67"/>
                <a:gd name="T5" fmla="*/ 32 h 32"/>
                <a:gd name="T6" fmla="*/ 67 w 67"/>
                <a:gd name="T7" fmla="*/ 29 h 32"/>
                <a:gd name="T8" fmla="*/ 67 w 67"/>
                <a:gd name="T9" fmla="*/ 27 h 32"/>
                <a:gd name="T10" fmla="*/ 1 w 67"/>
                <a:gd name="T11" fmla="*/ 0 h 32"/>
                <a:gd name="T12" fmla="*/ 1 w 67"/>
                <a:gd name="T13" fmla="*/ 1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7" h="32">
                  <a:moveTo>
                    <a:pt x="1" y="1"/>
                  </a:moveTo>
                  <a:cubicBezTo>
                    <a:pt x="0" y="2"/>
                    <a:pt x="0" y="3"/>
                    <a:pt x="0" y="4"/>
                  </a:cubicBezTo>
                  <a:cubicBezTo>
                    <a:pt x="65" y="32"/>
                    <a:pt x="65" y="32"/>
                    <a:pt x="65" y="32"/>
                  </a:cubicBezTo>
                  <a:cubicBezTo>
                    <a:pt x="66" y="31"/>
                    <a:pt x="66" y="30"/>
                    <a:pt x="67" y="29"/>
                  </a:cubicBezTo>
                  <a:cubicBezTo>
                    <a:pt x="67" y="28"/>
                    <a:pt x="67" y="28"/>
                    <a:pt x="67" y="27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1"/>
                    <a:pt x="1" y="1"/>
                  </a:cubicBezTo>
                  <a:close/>
                </a:path>
              </a:pathLst>
            </a:custGeom>
            <a:solidFill>
              <a:srgbClr val="F56E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8" name="išḷíḓê">
              <a:extLst>
                <a:ext uri="{FF2B5EF4-FFF2-40B4-BE49-F238E27FC236}">
                  <a16:creationId xmlns:a16="http://schemas.microsoft.com/office/drawing/2014/main" id="{AB6067C6-197B-41B1-86E7-71D8F32045CC}"/>
                </a:ext>
              </a:extLst>
            </p:cNvPr>
            <p:cNvSpPr/>
            <p:nvPr userDrawn="1"/>
          </p:nvSpPr>
          <p:spPr bwMode="auto">
            <a:xfrm>
              <a:off x="6062663" y="1628775"/>
              <a:ext cx="114300" cy="53975"/>
            </a:xfrm>
            <a:custGeom>
              <a:avLst/>
              <a:gdLst>
                <a:gd name="T0" fmla="*/ 1 w 68"/>
                <a:gd name="T1" fmla="*/ 2 h 32"/>
                <a:gd name="T2" fmla="*/ 0 w 68"/>
                <a:gd name="T3" fmla="*/ 4 h 32"/>
                <a:gd name="T4" fmla="*/ 66 w 68"/>
                <a:gd name="T5" fmla="*/ 32 h 32"/>
                <a:gd name="T6" fmla="*/ 67 w 68"/>
                <a:gd name="T7" fmla="*/ 29 h 32"/>
                <a:gd name="T8" fmla="*/ 68 w 68"/>
                <a:gd name="T9" fmla="*/ 27 h 32"/>
                <a:gd name="T10" fmla="*/ 2 w 68"/>
                <a:gd name="T11" fmla="*/ 0 h 32"/>
                <a:gd name="T12" fmla="*/ 1 w 68"/>
                <a:gd name="T13" fmla="*/ 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8" h="32">
                  <a:moveTo>
                    <a:pt x="1" y="2"/>
                  </a:moveTo>
                  <a:cubicBezTo>
                    <a:pt x="1" y="2"/>
                    <a:pt x="1" y="3"/>
                    <a:pt x="0" y="4"/>
                  </a:cubicBezTo>
                  <a:cubicBezTo>
                    <a:pt x="66" y="32"/>
                    <a:pt x="66" y="32"/>
                    <a:pt x="66" y="32"/>
                  </a:cubicBezTo>
                  <a:cubicBezTo>
                    <a:pt x="67" y="31"/>
                    <a:pt x="67" y="30"/>
                    <a:pt x="67" y="29"/>
                  </a:cubicBezTo>
                  <a:cubicBezTo>
                    <a:pt x="68" y="29"/>
                    <a:pt x="68" y="28"/>
                    <a:pt x="68" y="27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1"/>
                    <a:pt x="1" y="2"/>
                  </a:cubicBezTo>
                  <a:close/>
                </a:path>
              </a:pathLst>
            </a:custGeom>
            <a:solidFill>
              <a:srgbClr val="E54C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9" name="íṥļíďè">
              <a:extLst>
                <a:ext uri="{FF2B5EF4-FFF2-40B4-BE49-F238E27FC236}">
                  <a16:creationId xmlns:a16="http://schemas.microsoft.com/office/drawing/2014/main" id="{134801AA-A297-42AB-B9C2-54BBEB79A4AC}"/>
                </a:ext>
              </a:extLst>
            </p:cNvPr>
            <p:cNvSpPr/>
            <p:nvPr userDrawn="1"/>
          </p:nvSpPr>
          <p:spPr bwMode="auto">
            <a:xfrm>
              <a:off x="5405438" y="1489075"/>
              <a:ext cx="125413" cy="127000"/>
            </a:xfrm>
            <a:custGeom>
              <a:avLst/>
              <a:gdLst>
                <a:gd name="T0" fmla="*/ 61 w 74"/>
                <a:gd name="T1" fmla="*/ 66 h 76"/>
                <a:gd name="T2" fmla="*/ 64 w 74"/>
                <a:gd name="T3" fmla="*/ 63 h 76"/>
                <a:gd name="T4" fmla="*/ 66 w 74"/>
                <a:gd name="T5" fmla="*/ 60 h 76"/>
                <a:gd name="T6" fmla="*/ 68 w 74"/>
                <a:gd name="T7" fmla="*/ 57 h 76"/>
                <a:gd name="T8" fmla="*/ 69 w 74"/>
                <a:gd name="T9" fmla="*/ 54 h 76"/>
                <a:gd name="T10" fmla="*/ 70 w 74"/>
                <a:gd name="T11" fmla="*/ 53 h 76"/>
                <a:gd name="T12" fmla="*/ 66 w 74"/>
                <a:gd name="T13" fmla="*/ 20 h 76"/>
                <a:gd name="T14" fmla="*/ 18 w 74"/>
                <a:gd name="T15" fmla="*/ 9 h 76"/>
                <a:gd name="T16" fmla="*/ 15 w 74"/>
                <a:gd name="T17" fmla="*/ 11 h 76"/>
                <a:gd name="T18" fmla="*/ 15 w 74"/>
                <a:gd name="T19" fmla="*/ 12 h 76"/>
                <a:gd name="T20" fmla="*/ 14 w 74"/>
                <a:gd name="T21" fmla="*/ 12 h 76"/>
                <a:gd name="T22" fmla="*/ 13 w 74"/>
                <a:gd name="T23" fmla="*/ 13 h 76"/>
                <a:gd name="T24" fmla="*/ 12 w 74"/>
                <a:gd name="T25" fmla="*/ 14 h 76"/>
                <a:gd name="T26" fmla="*/ 6 w 74"/>
                <a:gd name="T27" fmla="*/ 21 h 76"/>
                <a:gd name="T28" fmla="*/ 6 w 74"/>
                <a:gd name="T29" fmla="*/ 21 h 76"/>
                <a:gd name="T30" fmla="*/ 4 w 74"/>
                <a:gd name="T31" fmla="*/ 24 h 76"/>
                <a:gd name="T32" fmla="*/ 3 w 74"/>
                <a:gd name="T33" fmla="*/ 27 h 76"/>
                <a:gd name="T34" fmla="*/ 2 w 74"/>
                <a:gd name="T35" fmla="*/ 31 h 76"/>
                <a:gd name="T36" fmla="*/ 1 w 74"/>
                <a:gd name="T37" fmla="*/ 34 h 76"/>
                <a:gd name="T38" fmla="*/ 1 w 74"/>
                <a:gd name="T39" fmla="*/ 37 h 76"/>
                <a:gd name="T40" fmla="*/ 0 w 74"/>
                <a:gd name="T41" fmla="*/ 41 h 76"/>
                <a:gd name="T42" fmla="*/ 1 w 74"/>
                <a:gd name="T43" fmla="*/ 44 h 76"/>
                <a:gd name="T44" fmla="*/ 1 w 74"/>
                <a:gd name="T45" fmla="*/ 48 h 76"/>
                <a:gd name="T46" fmla="*/ 2 w 74"/>
                <a:gd name="T47" fmla="*/ 51 h 76"/>
                <a:gd name="T48" fmla="*/ 3 w 74"/>
                <a:gd name="T49" fmla="*/ 55 h 76"/>
                <a:gd name="T50" fmla="*/ 5 w 74"/>
                <a:gd name="T51" fmla="*/ 58 h 76"/>
                <a:gd name="T52" fmla="*/ 20 w 74"/>
                <a:gd name="T53" fmla="*/ 72 h 76"/>
                <a:gd name="T54" fmla="*/ 26 w 74"/>
                <a:gd name="T55" fmla="*/ 75 h 76"/>
                <a:gd name="T56" fmla="*/ 36 w 74"/>
                <a:gd name="T57" fmla="*/ 76 h 76"/>
                <a:gd name="T58" fmla="*/ 52 w 74"/>
                <a:gd name="T59" fmla="*/ 72 h 76"/>
                <a:gd name="T60" fmla="*/ 54 w 74"/>
                <a:gd name="T61" fmla="*/ 71 h 76"/>
                <a:gd name="T62" fmla="*/ 54 w 74"/>
                <a:gd name="T63" fmla="*/ 71 h 76"/>
                <a:gd name="T64" fmla="*/ 55 w 74"/>
                <a:gd name="T65" fmla="*/ 71 h 76"/>
                <a:gd name="T66" fmla="*/ 56 w 74"/>
                <a:gd name="T67" fmla="*/ 70 h 76"/>
                <a:gd name="T68" fmla="*/ 58 w 74"/>
                <a:gd name="T69" fmla="*/ 68 h 76"/>
                <a:gd name="T70" fmla="*/ 60 w 74"/>
                <a:gd name="T71" fmla="*/ 67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74" h="76">
                  <a:moveTo>
                    <a:pt x="60" y="67"/>
                  </a:moveTo>
                  <a:cubicBezTo>
                    <a:pt x="60" y="67"/>
                    <a:pt x="61" y="66"/>
                    <a:pt x="61" y="66"/>
                  </a:cubicBezTo>
                  <a:cubicBezTo>
                    <a:pt x="62" y="65"/>
                    <a:pt x="62" y="65"/>
                    <a:pt x="62" y="65"/>
                  </a:cubicBezTo>
                  <a:cubicBezTo>
                    <a:pt x="63" y="64"/>
                    <a:pt x="63" y="64"/>
                    <a:pt x="64" y="63"/>
                  </a:cubicBezTo>
                  <a:cubicBezTo>
                    <a:pt x="64" y="62"/>
                    <a:pt x="64" y="62"/>
                    <a:pt x="64" y="62"/>
                  </a:cubicBezTo>
                  <a:cubicBezTo>
                    <a:pt x="65" y="62"/>
                    <a:pt x="66" y="61"/>
                    <a:pt x="66" y="60"/>
                  </a:cubicBezTo>
                  <a:cubicBezTo>
                    <a:pt x="67" y="59"/>
                    <a:pt x="67" y="59"/>
                    <a:pt x="67" y="59"/>
                  </a:cubicBezTo>
                  <a:cubicBezTo>
                    <a:pt x="67" y="58"/>
                    <a:pt x="67" y="58"/>
                    <a:pt x="68" y="57"/>
                  </a:cubicBezTo>
                  <a:cubicBezTo>
                    <a:pt x="68" y="57"/>
                    <a:pt x="68" y="56"/>
                    <a:pt x="68" y="56"/>
                  </a:cubicBezTo>
                  <a:cubicBezTo>
                    <a:pt x="69" y="55"/>
                    <a:pt x="69" y="55"/>
                    <a:pt x="69" y="54"/>
                  </a:cubicBezTo>
                  <a:cubicBezTo>
                    <a:pt x="69" y="54"/>
                    <a:pt x="69" y="53"/>
                    <a:pt x="70" y="53"/>
                  </a:cubicBezTo>
                  <a:cubicBezTo>
                    <a:pt x="70" y="53"/>
                    <a:pt x="70" y="53"/>
                    <a:pt x="70" y="53"/>
                  </a:cubicBezTo>
                  <a:cubicBezTo>
                    <a:pt x="70" y="53"/>
                    <a:pt x="70" y="53"/>
                    <a:pt x="70" y="53"/>
                  </a:cubicBezTo>
                  <a:cubicBezTo>
                    <a:pt x="74" y="42"/>
                    <a:pt x="73" y="30"/>
                    <a:pt x="66" y="20"/>
                  </a:cubicBezTo>
                  <a:cubicBezTo>
                    <a:pt x="55" y="4"/>
                    <a:pt x="34" y="0"/>
                    <a:pt x="18" y="10"/>
                  </a:cubicBezTo>
                  <a:cubicBezTo>
                    <a:pt x="18" y="9"/>
                    <a:pt x="18" y="9"/>
                    <a:pt x="18" y="9"/>
                  </a:cubicBezTo>
                  <a:cubicBezTo>
                    <a:pt x="17" y="10"/>
                    <a:pt x="17" y="10"/>
                    <a:pt x="16" y="11"/>
                  </a:cubicBezTo>
                  <a:cubicBezTo>
                    <a:pt x="15" y="11"/>
                    <a:pt x="15" y="11"/>
                    <a:pt x="15" y="11"/>
                  </a:cubicBezTo>
                  <a:cubicBezTo>
                    <a:pt x="15" y="12"/>
                    <a:pt x="15" y="12"/>
                    <a:pt x="15" y="12"/>
                  </a:cubicBezTo>
                  <a:cubicBezTo>
                    <a:pt x="15" y="12"/>
                    <a:pt x="15" y="12"/>
                    <a:pt x="15" y="12"/>
                  </a:cubicBezTo>
                  <a:cubicBezTo>
                    <a:pt x="14" y="12"/>
                    <a:pt x="14" y="12"/>
                    <a:pt x="14" y="12"/>
                  </a:cubicBezTo>
                  <a:cubicBezTo>
                    <a:pt x="14" y="12"/>
                    <a:pt x="14" y="12"/>
                    <a:pt x="14" y="12"/>
                  </a:cubicBezTo>
                  <a:cubicBezTo>
                    <a:pt x="14" y="12"/>
                    <a:pt x="14" y="12"/>
                    <a:pt x="14" y="12"/>
                  </a:cubicBezTo>
                  <a:cubicBezTo>
                    <a:pt x="14" y="13"/>
                    <a:pt x="13" y="13"/>
                    <a:pt x="13" y="13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0" y="16"/>
                    <a:pt x="8" y="18"/>
                    <a:pt x="6" y="21"/>
                  </a:cubicBezTo>
                  <a:cubicBezTo>
                    <a:pt x="6" y="21"/>
                    <a:pt x="6" y="21"/>
                    <a:pt x="6" y="21"/>
                  </a:cubicBezTo>
                  <a:cubicBezTo>
                    <a:pt x="6" y="21"/>
                    <a:pt x="6" y="21"/>
                    <a:pt x="6" y="21"/>
                  </a:cubicBezTo>
                  <a:cubicBezTo>
                    <a:pt x="6" y="21"/>
                    <a:pt x="6" y="21"/>
                    <a:pt x="6" y="21"/>
                  </a:cubicBezTo>
                  <a:cubicBezTo>
                    <a:pt x="5" y="22"/>
                    <a:pt x="5" y="23"/>
                    <a:pt x="5" y="24"/>
                  </a:cubicBezTo>
                  <a:cubicBezTo>
                    <a:pt x="4" y="24"/>
                    <a:pt x="4" y="24"/>
                    <a:pt x="4" y="24"/>
                  </a:cubicBezTo>
                  <a:cubicBezTo>
                    <a:pt x="4" y="25"/>
                    <a:pt x="4" y="26"/>
                    <a:pt x="3" y="26"/>
                  </a:cubicBezTo>
                  <a:cubicBezTo>
                    <a:pt x="3" y="27"/>
                    <a:pt x="3" y="27"/>
                    <a:pt x="3" y="27"/>
                  </a:cubicBezTo>
                  <a:cubicBezTo>
                    <a:pt x="3" y="28"/>
                    <a:pt x="2" y="29"/>
                    <a:pt x="2" y="30"/>
                  </a:cubicBezTo>
                  <a:cubicBezTo>
                    <a:pt x="2" y="31"/>
                    <a:pt x="2" y="31"/>
                    <a:pt x="2" y="31"/>
                  </a:cubicBezTo>
                  <a:cubicBezTo>
                    <a:pt x="2" y="31"/>
                    <a:pt x="1" y="32"/>
                    <a:pt x="1" y="33"/>
                  </a:cubicBezTo>
                  <a:cubicBezTo>
                    <a:pt x="1" y="34"/>
                    <a:pt x="1" y="34"/>
                    <a:pt x="1" y="34"/>
                  </a:cubicBezTo>
                  <a:cubicBezTo>
                    <a:pt x="1" y="35"/>
                    <a:pt x="1" y="36"/>
                    <a:pt x="1" y="36"/>
                  </a:cubicBezTo>
                  <a:cubicBezTo>
                    <a:pt x="1" y="37"/>
                    <a:pt x="1" y="37"/>
                    <a:pt x="1" y="37"/>
                  </a:cubicBezTo>
                  <a:cubicBezTo>
                    <a:pt x="0" y="38"/>
                    <a:pt x="0" y="39"/>
                    <a:pt x="0" y="40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42"/>
                    <a:pt x="1" y="43"/>
                    <a:pt x="1" y="44"/>
                  </a:cubicBezTo>
                  <a:cubicBezTo>
                    <a:pt x="1" y="44"/>
                    <a:pt x="1" y="44"/>
                    <a:pt x="1" y="44"/>
                  </a:cubicBezTo>
                  <a:cubicBezTo>
                    <a:pt x="1" y="45"/>
                    <a:pt x="1" y="46"/>
                    <a:pt x="1" y="47"/>
                  </a:cubicBezTo>
                  <a:cubicBezTo>
                    <a:pt x="1" y="48"/>
                    <a:pt x="1" y="48"/>
                    <a:pt x="1" y="48"/>
                  </a:cubicBezTo>
                  <a:cubicBezTo>
                    <a:pt x="1" y="49"/>
                    <a:pt x="2" y="50"/>
                    <a:pt x="2" y="51"/>
                  </a:cubicBezTo>
                  <a:cubicBezTo>
                    <a:pt x="2" y="51"/>
                    <a:pt x="2" y="51"/>
                    <a:pt x="2" y="51"/>
                  </a:cubicBezTo>
                  <a:cubicBezTo>
                    <a:pt x="2" y="52"/>
                    <a:pt x="3" y="53"/>
                    <a:pt x="3" y="54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4" y="55"/>
                    <a:pt x="4" y="56"/>
                    <a:pt x="4" y="57"/>
                  </a:cubicBezTo>
                  <a:cubicBezTo>
                    <a:pt x="5" y="58"/>
                    <a:pt x="5" y="58"/>
                    <a:pt x="5" y="58"/>
                  </a:cubicBezTo>
                  <a:cubicBezTo>
                    <a:pt x="5" y="59"/>
                    <a:pt x="6" y="60"/>
                    <a:pt x="7" y="60"/>
                  </a:cubicBezTo>
                  <a:cubicBezTo>
                    <a:pt x="10" y="66"/>
                    <a:pt x="15" y="69"/>
                    <a:pt x="20" y="72"/>
                  </a:cubicBezTo>
                  <a:cubicBezTo>
                    <a:pt x="21" y="73"/>
                    <a:pt x="22" y="73"/>
                    <a:pt x="23" y="74"/>
                  </a:cubicBezTo>
                  <a:cubicBezTo>
                    <a:pt x="24" y="74"/>
                    <a:pt x="25" y="74"/>
                    <a:pt x="26" y="75"/>
                  </a:cubicBezTo>
                  <a:cubicBezTo>
                    <a:pt x="27" y="75"/>
                    <a:pt x="28" y="75"/>
                    <a:pt x="30" y="75"/>
                  </a:cubicBezTo>
                  <a:cubicBezTo>
                    <a:pt x="32" y="76"/>
                    <a:pt x="34" y="76"/>
                    <a:pt x="36" y="76"/>
                  </a:cubicBezTo>
                  <a:cubicBezTo>
                    <a:pt x="42" y="76"/>
                    <a:pt x="47" y="75"/>
                    <a:pt x="52" y="72"/>
                  </a:cubicBezTo>
                  <a:cubicBezTo>
                    <a:pt x="52" y="72"/>
                    <a:pt x="52" y="72"/>
                    <a:pt x="52" y="72"/>
                  </a:cubicBezTo>
                  <a:cubicBezTo>
                    <a:pt x="53" y="72"/>
                    <a:pt x="53" y="72"/>
                    <a:pt x="53" y="72"/>
                  </a:cubicBezTo>
                  <a:cubicBezTo>
                    <a:pt x="53" y="72"/>
                    <a:pt x="54" y="71"/>
                    <a:pt x="54" y="71"/>
                  </a:cubicBezTo>
                  <a:cubicBezTo>
                    <a:pt x="54" y="71"/>
                    <a:pt x="54" y="71"/>
                    <a:pt x="54" y="71"/>
                  </a:cubicBezTo>
                  <a:cubicBezTo>
                    <a:pt x="54" y="71"/>
                    <a:pt x="54" y="71"/>
                    <a:pt x="54" y="71"/>
                  </a:cubicBezTo>
                  <a:cubicBezTo>
                    <a:pt x="55" y="71"/>
                    <a:pt x="55" y="71"/>
                    <a:pt x="55" y="71"/>
                  </a:cubicBezTo>
                  <a:cubicBezTo>
                    <a:pt x="55" y="71"/>
                    <a:pt x="55" y="71"/>
                    <a:pt x="55" y="71"/>
                  </a:cubicBezTo>
                  <a:cubicBezTo>
                    <a:pt x="55" y="70"/>
                    <a:pt x="55" y="70"/>
                    <a:pt x="55" y="70"/>
                  </a:cubicBezTo>
                  <a:cubicBezTo>
                    <a:pt x="56" y="70"/>
                    <a:pt x="56" y="70"/>
                    <a:pt x="56" y="70"/>
                  </a:cubicBezTo>
                  <a:cubicBezTo>
                    <a:pt x="57" y="69"/>
                    <a:pt x="58" y="69"/>
                    <a:pt x="58" y="68"/>
                  </a:cubicBezTo>
                  <a:cubicBezTo>
                    <a:pt x="58" y="68"/>
                    <a:pt x="58" y="68"/>
                    <a:pt x="58" y="68"/>
                  </a:cubicBezTo>
                  <a:cubicBezTo>
                    <a:pt x="59" y="68"/>
                    <a:pt x="59" y="68"/>
                    <a:pt x="59" y="68"/>
                  </a:cubicBezTo>
                  <a:lnTo>
                    <a:pt x="60" y="67"/>
                  </a:lnTo>
                  <a:close/>
                </a:path>
              </a:pathLst>
            </a:custGeom>
            <a:solidFill>
              <a:srgbClr val="D9D8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0" name="îṣļîďê">
              <a:extLst>
                <a:ext uri="{FF2B5EF4-FFF2-40B4-BE49-F238E27FC236}">
                  <a16:creationId xmlns:a16="http://schemas.microsoft.com/office/drawing/2014/main" id="{341169DB-200B-404D-80D8-E1221E71FAD4}"/>
                </a:ext>
              </a:extLst>
            </p:cNvPr>
            <p:cNvSpPr/>
            <p:nvPr userDrawn="1"/>
          </p:nvSpPr>
          <p:spPr bwMode="auto">
            <a:xfrm>
              <a:off x="5392738" y="1476375"/>
              <a:ext cx="136525" cy="136525"/>
            </a:xfrm>
            <a:custGeom>
              <a:avLst/>
              <a:gdLst>
                <a:gd name="T0" fmla="*/ 74 w 81"/>
                <a:gd name="T1" fmla="*/ 54 h 81"/>
                <a:gd name="T2" fmla="*/ 27 w 81"/>
                <a:gd name="T3" fmla="*/ 73 h 81"/>
                <a:gd name="T4" fmla="*/ 8 w 81"/>
                <a:gd name="T5" fmla="*/ 27 h 81"/>
                <a:gd name="T6" fmla="*/ 54 w 81"/>
                <a:gd name="T7" fmla="*/ 7 h 81"/>
                <a:gd name="T8" fmla="*/ 74 w 81"/>
                <a:gd name="T9" fmla="*/ 54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1" h="81">
                  <a:moveTo>
                    <a:pt x="74" y="54"/>
                  </a:moveTo>
                  <a:cubicBezTo>
                    <a:pt x="66" y="73"/>
                    <a:pt x="45" y="81"/>
                    <a:pt x="27" y="73"/>
                  </a:cubicBezTo>
                  <a:cubicBezTo>
                    <a:pt x="9" y="66"/>
                    <a:pt x="0" y="45"/>
                    <a:pt x="8" y="27"/>
                  </a:cubicBezTo>
                  <a:cubicBezTo>
                    <a:pt x="15" y="8"/>
                    <a:pt x="36" y="0"/>
                    <a:pt x="54" y="7"/>
                  </a:cubicBezTo>
                  <a:cubicBezTo>
                    <a:pt x="73" y="15"/>
                    <a:pt x="81" y="36"/>
                    <a:pt x="74" y="54"/>
                  </a:cubicBezTo>
                  <a:close/>
                </a:path>
              </a:pathLst>
            </a:custGeom>
            <a:solidFill>
              <a:srgbClr val="FF787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1" name="íṥḻîḓe">
              <a:extLst>
                <a:ext uri="{FF2B5EF4-FFF2-40B4-BE49-F238E27FC236}">
                  <a16:creationId xmlns:a16="http://schemas.microsoft.com/office/drawing/2014/main" id="{A4FABEC7-372A-4F89-9D8E-441B7263017E}"/>
                </a:ext>
              </a:extLst>
            </p:cNvPr>
            <p:cNvSpPr/>
            <p:nvPr userDrawn="1"/>
          </p:nvSpPr>
          <p:spPr bwMode="auto">
            <a:xfrm>
              <a:off x="5400675" y="1531938"/>
              <a:ext cx="122238" cy="80963"/>
            </a:xfrm>
            <a:custGeom>
              <a:avLst/>
              <a:gdLst>
                <a:gd name="T0" fmla="*/ 71 w 72"/>
                <a:gd name="T1" fmla="*/ 0 h 48"/>
                <a:gd name="T2" fmla="*/ 68 w 72"/>
                <a:gd name="T3" fmla="*/ 13 h 48"/>
                <a:gd name="T4" fmla="*/ 21 w 72"/>
                <a:gd name="T5" fmla="*/ 33 h 48"/>
                <a:gd name="T6" fmla="*/ 0 w 72"/>
                <a:gd name="T7" fmla="*/ 7 h 48"/>
                <a:gd name="T8" fmla="*/ 22 w 72"/>
                <a:gd name="T9" fmla="*/ 40 h 48"/>
                <a:gd name="T10" fmla="*/ 69 w 72"/>
                <a:gd name="T11" fmla="*/ 21 h 48"/>
                <a:gd name="T12" fmla="*/ 71 w 72"/>
                <a:gd name="T13" fmla="*/ 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2" h="48">
                  <a:moveTo>
                    <a:pt x="71" y="0"/>
                  </a:moveTo>
                  <a:cubicBezTo>
                    <a:pt x="71" y="4"/>
                    <a:pt x="70" y="9"/>
                    <a:pt x="68" y="13"/>
                  </a:cubicBezTo>
                  <a:cubicBezTo>
                    <a:pt x="60" y="32"/>
                    <a:pt x="39" y="40"/>
                    <a:pt x="21" y="33"/>
                  </a:cubicBezTo>
                  <a:cubicBezTo>
                    <a:pt x="10" y="28"/>
                    <a:pt x="2" y="18"/>
                    <a:pt x="0" y="7"/>
                  </a:cubicBezTo>
                  <a:cubicBezTo>
                    <a:pt x="0" y="21"/>
                    <a:pt x="8" y="35"/>
                    <a:pt x="22" y="40"/>
                  </a:cubicBezTo>
                  <a:cubicBezTo>
                    <a:pt x="40" y="48"/>
                    <a:pt x="61" y="40"/>
                    <a:pt x="69" y="21"/>
                  </a:cubicBezTo>
                  <a:cubicBezTo>
                    <a:pt x="72" y="14"/>
                    <a:pt x="72" y="7"/>
                    <a:pt x="71" y="0"/>
                  </a:cubicBezTo>
                  <a:close/>
                </a:path>
              </a:pathLst>
            </a:custGeom>
            <a:solidFill>
              <a:srgbClr val="F56E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2" name="ïṩļiḓe">
              <a:extLst>
                <a:ext uri="{FF2B5EF4-FFF2-40B4-BE49-F238E27FC236}">
                  <a16:creationId xmlns:a16="http://schemas.microsoft.com/office/drawing/2014/main" id="{519CDD80-505B-43E9-A21B-CE60D2BFD86D}"/>
                </a:ext>
              </a:extLst>
            </p:cNvPr>
            <p:cNvSpPr/>
            <p:nvPr userDrawn="1"/>
          </p:nvSpPr>
          <p:spPr bwMode="auto">
            <a:xfrm>
              <a:off x="5402263" y="1522413"/>
              <a:ext cx="115888" cy="52388"/>
            </a:xfrm>
            <a:custGeom>
              <a:avLst/>
              <a:gdLst>
                <a:gd name="T0" fmla="*/ 1 w 68"/>
                <a:gd name="T1" fmla="*/ 1 h 31"/>
                <a:gd name="T2" fmla="*/ 0 w 68"/>
                <a:gd name="T3" fmla="*/ 4 h 31"/>
                <a:gd name="T4" fmla="*/ 66 w 68"/>
                <a:gd name="T5" fmla="*/ 31 h 31"/>
                <a:gd name="T6" fmla="*/ 67 w 68"/>
                <a:gd name="T7" fmla="*/ 29 h 31"/>
                <a:gd name="T8" fmla="*/ 68 w 68"/>
                <a:gd name="T9" fmla="*/ 27 h 31"/>
                <a:gd name="T10" fmla="*/ 2 w 68"/>
                <a:gd name="T11" fmla="*/ 0 h 31"/>
                <a:gd name="T12" fmla="*/ 1 w 68"/>
                <a:gd name="T13" fmla="*/ 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8" h="31">
                  <a:moveTo>
                    <a:pt x="1" y="1"/>
                  </a:moveTo>
                  <a:cubicBezTo>
                    <a:pt x="1" y="2"/>
                    <a:pt x="0" y="3"/>
                    <a:pt x="0" y="4"/>
                  </a:cubicBezTo>
                  <a:cubicBezTo>
                    <a:pt x="66" y="31"/>
                    <a:pt x="66" y="31"/>
                    <a:pt x="66" y="31"/>
                  </a:cubicBezTo>
                  <a:cubicBezTo>
                    <a:pt x="66" y="31"/>
                    <a:pt x="67" y="30"/>
                    <a:pt x="67" y="29"/>
                  </a:cubicBezTo>
                  <a:cubicBezTo>
                    <a:pt x="67" y="28"/>
                    <a:pt x="67" y="28"/>
                    <a:pt x="68" y="27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1" y="0"/>
                    <a:pt x="1" y="1"/>
                  </a:cubicBezTo>
                  <a:close/>
                </a:path>
              </a:pathLst>
            </a:custGeom>
            <a:solidFill>
              <a:srgbClr val="F56E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3" name="îS1ïďe">
              <a:extLst>
                <a:ext uri="{FF2B5EF4-FFF2-40B4-BE49-F238E27FC236}">
                  <a16:creationId xmlns:a16="http://schemas.microsoft.com/office/drawing/2014/main" id="{C2AE0752-AE3C-496C-90C1-CF7901EDEB59}"/>
                </a:ext>
              </a:extLst>
            </p:cNvPr>
            <p:cNvSpPr/>
            <p:nvPr userDrawn="1"/>
          </p:nvSpPr>
          <p:spPr bwMode="auto">
            <a:xfrm>
              <a:off x="5403850" y="1517650"/>
              <a:ext cx="114300" cy="53975"/>
            </a:xfrm>
            <a:custGeom>
              <a:avLst/>
              <a:gdLst>
                <a:gd name="T0" fmla="*/ 1 w 67"/>
                <a:gd name="T1" fmla="*/ 3 h 32"/>
                <a:gd name="T2" fmla="*/ 0 w 67"/>
                <a:gd name="T3" fmla="*/ 5 h 32"/>
                <a:gd name="T4" fmla="*/ 66 w 67"/>
                <a:gd name="T5" fmla="*/ 32 h 32"/>
                <a:gd name="T6" fmla="*/ 67 w 67"/>
                <a:gd name="T7" fmla="*/ 30 h 32"/>
                <a:gd name="T8" fmla="*/ 67 w 67"/>
                <a:gd name="T9" fmla="*/ 28 h 32"/>
                <a:gd name="T10" fmla="*/ 2 w 67"/>
                <a:gd name="T11" fmla="*/ 0 h 32"/>
                <a:gd name="T12" fmla="*/ 1 w 67"/>
                <a:gd name="T13" fmla="*/ 3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7" h="32">
                  <a:moveTo>
                    <a:pt x="1" y="3"/>
                  </a:moveTo>
                  <a:cubicBezTo>
                    <a:pt x="0" y="3"/>
                    <a:pt x="0" y="4"/>
                    <a:pt x="0" y="5"/>
                  </a:cubicBezTo>
                  <a:cubicBezTo>
                    <a:pt x="66" y="32"/>
                    <a:pt x="66" y="32"/>
                    <a:pt x="66" y="32"/>
                  </a:cubicBezTo>
                  <a:cubicBezTo>
                    <a:pt x="66" y="32"/>
                    <a:pt x="66" y="31"/>
                    <a:pt x="67" y="30"/>
                  </a:cubicBezTo>
                  <a:cubicBezTo>
                    <a:pt x="67" y="30"/>
                    <a:pt x="67" y="29"/>
                    <a:pt x="67" y="28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1"/>
                    <a:pt x="1" y="2"/>
                    <a:pt x="1" y="3"/>
                  </a:cubicBezTo>
                  <a:close/>
                </a:path>
              </a:pathLst>
            </a:custGeom>
            <a:solidFill>
              <a:srgbClr val="E54C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4" name="ïṣḻiḑé">
              <a:extLst>
                <a:ext uri="{FF2B5EF4-FFF2-40B4-BE49-F238E27FC236}">
                  <a16:creationId xmlns:a16="http://schemas.microsoft.com/office/drawing/2014/main" id="{1BF190C9-97A8-4C73-869F-E9F73FA728C1}"/>
                </a:ext>
              </a:extLst>
            </p:cNvPr>
            <p:cNvSpPr/>
            <p:nvPr userDrawn="1"/>
          </p:nvSpPr>
          <p:spPr bwMode="auto">
            <a:xfrm>
              <a:off x="5556250" y="1550988"/>
              <a:ext cx="125413" cy="128588"/>
            </a:xfrm>
            <a:custGeom>
              <a:avLst/>
              <a:gdLst>
                <a:gd name="T0" fmla="*/ 61 w 74"/>
                <a:gd name="T1" fmla="*/ 65 h 76"/>
                <a:gd name="T2" fmla="*/ 64 w 74"/>
                <a:gd name="T3" fmla="*/ 63 h 76"/>
                <a:gd name="T4" fmla="*/ 66 w 74"/>
                <a:gd name="T5" fmla="*/ 60 h 76"/>
                <a:gd name="T6" fmla="*/ 68 w 74"/>
                <a:gd name="T7" fmla="*/ 57 h 76"/>
                <a:gd name="T8" fmla="*/ 69 w 74"/>
                <a:gd name="T9" fmla="*/ 54 h 76"/>
                <a:gd name="T10" fmla="*/ 70 w 74"/>
                <a:gd name="T11" fmla="*/ 52 h 76"/>
                <a:gd name="T12" fmla="*/ 66 w 74"/>
                <a:gd name="T13" fmla="*/ 20 h 76"/>
                <a:gd name="T14" fmla="*/ 18 w 74"/>
                <a:gd name="T15" fmla="*/ 9 h 76"/>
                <a:gd name="T16" fmla="*/ 15 w 74"/>
                <a:gd name="T17" fmla="*/ 11 h 76"/>
                <a:gd name="T18" fmla="*/ 15 w 74"/>
                <a:gd name="T19" fmla="*/ 12 h 76"/>
                <a:gd name="T20" fmla="*/ 14 w 74"/>
                <a:gd name="T21" fmla="*/ 12 h 76"/>
                <a:gd name="T22" fmla="*/ 13 w 74"/>
                <a:gd name="T23" fmla="*/ 13 h 76"/>
                <a:gd name="T24" fmla="*/ 12 w 74"/>
                <a:gd name="T25" fmla="*/ 13 h 76"/>
                <a:gd name="T26" fmla="*/ 6 w 74"/>
                <a:gd name="T27" fmla="*/ 21 h 76"/>
                <a:gd name="T28" fmla="*/ 6 w 74"/>
                <a:gd name="T29" fmla="*/ 21 h 76"/>
                <a:gd name="T30" fmla="*/ 4 w 74"/>
                <a:gd name="T31" fmla="*/ 24 h 76"/>
                <a:gd name="T32" fmla="*/ 3 w 74"/>
                <a:gd name="T33" fmla="*/ 27 h 76"/>
                <a:gd name="T34" fmla="*/ 2 w 74"/>
                <a:gd name="T35" fmla="*/ 30 h 76"/>
                <a:gd name="T36" fmla="*/ 1 w 74"/>
                <a:gd name="T37" fmla="*/ 34 h 76"/>
                <a:gd name="T38" fmla="*/ 0 w 74"/>
                <a:gd name="T39" fmla="*/ 37 h 76"/>
                <a:gd name="T40" fmla="*/ 0 w 74"/>
                <a:gd name="T41" fmla="*/ 40 h 76"/>
                <a:gd name="T42" fmla="*/ 1 w 74"/>
                <a:gd name="T43" fmla="*/ 44 h 76"/>
                <a:gd name="T44" fmla="*/ 1 w 74"/>
                <a:gd name="T45" fmla="*/ 47 h 76"/>
                <a:gd name="T46" fmla="*/ 2 w 74"/>
                <a:gd name="T47" fmla="*/ 51 h 76"/>
                <a:gd name="T48" fmla="*/ 3 w 74"/>
                <a:gd name="T49" fmla="*/ 54 h 76"/>
                <a:gd name="T50" fmla="*/ 5 w 74"/>
                <a:gd name="T51" fmla="*/ 57 h 76"/>
                <a:gd name="T52" fmla="*/ 20 w 74"/>
                <a:gd name="T53" fmla="*/ 72 h 76"/>
                <a:gd name="T54" fmla="*/ 26 w 74"/>
                <a:gd name="T55" fmla="*/ 74 h 76"/>
                <a:gd name="T56" fmla="*/ 36 w 74"/>
                <a:gd name="T57" fmla="*/ 76 h 76"/>
                <a:gd name="T58" fmla="*/ 52 w 74"/>
                <a:gd name="T59" fmla="*/ 72 h 76"/>
                <a:gd name="T60" fmla="*/ 54 w 74"/>
                <a:gd name="T61" fmla="*/ 71 h 76"/>
                <a:gd name="T62" fmla="*/ 54 w 74"/>
                <a:gd name="T63" fmla="*/ 71 h 76"/>
                <a:gd name="T64" fmla="*/ 55 w 74"/>
                <a:gd name="T65" fmla="*/ 70 h 76"/>
                <a:gd name="T66" fmla="*/ 56 w 74"/>
                <a:gd name="T67" fmla="*/ 70 h 76"/>
                <a:gd name="T68" fmla="*/ 58 w 74"/>
                <a:gd name="T69" fmla="*/ 68 h 76"/>
                <a:gd name="T70" fmla="*/ 60 w 74"/>
                <a:gd name="T71" fmla="*/ 67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74" h="76">
                  <a:moveTo>
                    <a:pt x="60" y="67"/>
                  </a:moveTo>
                  <a:cubicBezTo>
                    <a:pt x="60" y="66"/>
                    <a:pt x="61" y="66"/>
                    <a:pt x="61" y="65"/>
                  </a:cubicBezTo>
                  <a:cubicBezTo>
                    <a:pt x="62" y="65"/>
                    <a:pt x="62" y="65"/>
                    <a:pt x="62" y="65"/>
                  </a:cubicBezTo>
                  <a:cubicBezTo>
                    <a:pt x="63" y="64"/>
                    <a:pt x="63" y="63"/>
                    <a:pt x="64" y="63"/>
                  </a:cubicBezTo>
                  <a:cubicBezTo>
                    <a:pt x="64" y="62"/>
                    <a:pt x="64" y="62"/>
                    <a:pt x="64" y="62"/>
                  </a:cubicBezTo>
                  <a:cubicBezTo>
                    <a:pt x="65" y="61"/>
                    <a:pt x="66" y="60"/>
                    <a:pt x="66" y="60"/>
                  </a:cubicBezTo>
                  <a:cubicBezTo>
                    <a:pt x="67" y="59"/>
                    <a:pt x="67" y="59"/>
                    <a:pt x="67" y="59"/>
                  </a:cubicBezTo>
                  <a:cubicBezTo>
                    <a:pt x="67" y="58"/>
                    <a:pt x="67" y="58"/>
                    <a:pt x="68" y="57"/>
                  </a:cubicBezTo>
                  <a:cubicBezTo>
                    <a:pt x="68" y="57"/>
                    <a:pt x="68" y="56"/>
                    <a:pt x="68" y="56"/>
                  </a:cubicBezTo>
                  <a:cubicBezTo>
                    <a:pt x="69" y="55"/>
                    <a:pt x="69" y="55"/>
                    <a:pt x="69" y="54"/>
                  </a:cubicBezTo>
                  <a:cubicBezTo>
                    <a:pt x="69" y="54"/>
                    <a:pt x="69" y="53"/>
                    <a:pt x="70" y="53"/>
                  </a:cubicBezTo>
                  <a:cubicBezTo>
                    <a:pt x="70" y="52"/>
                    <a:pt x="70" y="52"/>
                    <a:pt x="70" y="52"/>
                  </a:cubicBezTo>
                  <a:cubicBezTo>
                    <a:pt x="70" y="53"/>
                    <a:pt x="70" y="53"/>
                    <a:pt x="70" y="53"/>
                  </a:cubicBezTo>
                  <a:cubicBezTo>
                    <a:pt x="74" y="42"/>
                    <a:pt x="72" y="30"/>
                    <a:pt x="66" y="20"/>
                  </a:cubicBezTo>
                  <a:cubicBezTo>
                    <a:pt x="55" y="4"/>
                    <a:pt x="34" y="0"/>
                    <a:pt x="18" y="9"/>
                  </a:cubicBezTo>
                  <a:cubicBezTo>
                    <a:pt x="18" y="9"/>
                    <a:pt x="18" y="9"/>
                    <a:pt x="18" y="9"/>
                  </a:cubicBezTo>
                  <a:cubicBezTo>
                    <a:pt x="17" y="10"/>
                    <a:pt x="17" y="10"/>
                    <a:pt x="16" y="11"/>
                  </a:cubicBezTo>
                  <a:cubicBezTo>
                    <a:pt x="15" y="11"/>
                    <a:pt x="15" y="11"/>
                    <a:pt x="15" y="11"/>
                  </a:cubicBezTo>
                  <a:cubicBezTo>
                    <a:pt x="15" y="11"/>
                    <a:pt x="15" y="11"/>
                    <a:pt x="15" y="11"/>
                  </a:cubicBezTo>
                  <a:cubicBezTo>
                    <a:pt x="15" y="12"/>
                    <a:pt x="15" y="12"/>
                    <a:pt x="15" y="12"/>
                  </a:cubicBezTo>
                  <a:cubicBezTo>
                    <a:pt x="14" y="12"/>
                    <a:pt x="14" y="12"/>
                    <a:pt x="14" y="12"/>
                  </a:cubicBezTo>
                  <a:cubicBezTo>
                    <a:pt x="14" y="12"/>
                    <a:pt x="14" y="12"/>
                    <a:pt x="14" y="12"/>
                  </a:cubicBezTo>
                  <a:cubicBezTo>
                    <a:pt x="14" y="12"/>
                    <a:pt x="14" y="12"/>
                    <a:pt x="14" y="12"/>
                  </a:cubicBezTo>
                  <a:cubicBezTo>
                    <a:pt x="14" y="12"/>
                    <a:pt x="13" y="13"/>
                    <a:pt x="13" y="13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0" y="16"/>
                    <a:pt x="8" y="18"/>
                    <a:pt x="6" y="21"/>
                  </a:cubicBezTo>
                  <a:cubicBezTo>
                    <a:pt x="6" y="21"/>
                    <a:pt x="6" y="21"/>
                    <a:pt x="6" y="21"/>
                  </a:cubicBezTo>
                  <a:cubicBezTo>
                    <a:pt x="6" y="21"/>
                    <a:pt x="6" y="21"/>
                    <a:pt x="6" y="21"/>
                  </a:cubicBezTo>
                  <a:cubicBezTo>
                    <a:pt x="6" y="21"/>
                    <a:pt x="6" y="21"/>
                    <a:pt x="6" y="21"/>
                  </a:cubicBezTo>
                  <a:cubicBezTo>
                    <a:pt x="5" y="22"/>
                    <a:pt x="5" y="23"/>
                    <a:pt x="5" y="23"/>
                  </a:cubicBezTo>
                  <a:cubicBezTo>
                    <a:pt x="4" y="24"/>
                    <a:pt x="4" y="24"/>
                    <a:pt x="4" y="24"/>
                  </a:cubicBezTo>
                  <a:cubicBezTo>
                    <a:pt x="4" y="25"/>
                    <a:pt x="3" y="26"/>
                    <a:pt x="3" y="26"/>
                  </a:cubicBezTo>
                  <a:cubicBezTo>
                    <a:pt x="3" y="27"/>
                    <a:pt x="3" y="27"/>
                    <a:pt x="3" y="27"/>
                  </a:cubicBezTo>
                  <a:cubicBezTo>
                    <a:pt x="2" y="28"/>
                    <a:pt x="2" y="29"/>
                    <a:pt x="2" y="30"/>
                  </a:cubicBezTo>
                  <a:cubicBezTo>
                    <a:pt x="2" y="30"/>
                    <a:pt x="2" y="30"/>
                    <a:pt x="2" y="30"/>
                  </a:cubicBezTo>
                  <a:cubicBezTo>
                    <a:pt x="1" y="31"/>
                    <a:pt x="1" y="32"/>
                    <a:pt x="1" y="33"/>
                  </a:cubicBezTo>
                  <a:cubicBezTo>
                    <a:pt x="1" y="34"/>
                    <a:pt x="1" y="34"/>
                    <a:pt x="1" y="34"/>
                  </a:cubicBezTo>
                  <a:cubicBezTo>
                    <a:pt x="1" y="35"/>
                    <a:pt x="1" y="35"/>
                    <a:pt x="1" y="36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0" y="38"/>
                    <a:pt x="0" y="39"/>
                    <a:pt x="0" y="4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0" y="41"/>
                    <a:pt x="0" y="42"/>
                    <a:pt x="1" y="43"/>
                  </a:cubicBezTo>
                  <a:cubicBezTo>
                    <a:pt x="1" y="44"/>
                    <a:pt x="1" y="44"/>
                    <a:pt x="1" y="44"/>
                  </a:cubicBezTo>
                  <a:cubicBezTo>
                    <a:pt x="1" y="45"/>
                    <a:pt x="1" y="46"/>
                    <a:pt x="1" y="47"/>
                  </a:cubicBezTo>
                  <a:cubicBezTo>
                    <a:pt x="1" y="47"/>
                    <a:pt x="1" y="47"/>
                    <a:pt x="1" y="47"/>
                  </a:cubicBezTo>
                  <a:cubicBezTo>
                    <a:pt x="1" y="48"/>
                    <a:pt x="2" y="49"/>
                    <a:pt x="2" y="51"/>
                  </a:cubicBezTo>
                  <a:cubicBezTo>
                    <a:pt x="2" y="51"/>
                    <a:pt x="2" y="51"/>
                    <a:pt x="2" y="51"/>
                  </a:cubicBezTo>
                  <a:cubicBezTo>
                    <a:pt x="2" y="52"/>
                    <a:pt x="3" y="53"/>
                    <a:pt x="3" y="54"/>
                  </a:cubicBezTo>
                  <a:cubicBezTo>
                    <a:pt x="3" y="54"/>
                    <a:pt x="3" y="54"/>
                    <a:pt x="3" y="54"/>
                  </a:cubicBezTo>
                  <a:cubicBezTo>
                    <a:pt x="4" y="55"/>
                    <a:pt x="4" y="56"/>
                    <a:pt x="4" y="57"/>
                  </a:cubicBezTo>
                  <a:cubicBezTo>
                    <a:pt x="5" y="57"/>
                    <a:pt x="5" y="57"/>
                    <a:pt x="5" y="57"/>
                  </a:cubicBezTo>
                  <a:cubicBezTo>
                    <a:pt x="5" y="58"/>
                    <a:pt x="6" y="59"/>
                    <a:pt x="7" y="60"/>
                  </a:cubicBezTo>
                  <a:cubicBezTo>
                    <a:pt x="10" y="65"/>
                    <a:pt x="15" y="69"/>
                    <a:pt x="20" y="72"/>
                  </a:cubicBezTo>
                  <a:cubicBezTo>
                    <a:pt x="21" y="72"/>
                    <a:pt x="22" y="73"/>
                    <a:pt x="23" y="73"/>
                  </a:cubicBezTo>
                  <a:cubicBezTo>
                    <a:pt x="24" y="74"/>
                    <a:pt x="25" y="74"/>
                    <a:pt x="26" y="74"/>
                  </a:cubicBezTo>
                  <a:cubicBezTo>
                    <a:pt x="27" y="75"/>
                    <a:pt x="28" y="75"/>
                    <a:pt x="29" y="75"/>
                  </a:cubicBezTo>
                  <a:cubicBezTo>
                    <a:pt x="32" y="76"/>
                    <a:pt x="34" y="76"/>
                    <a:pt x="36" y="76"/>
                  </a:cubicBezTo>
                  <a:cubicBezTo>
                    <a:pt x="42" y="76"/>
                    <a:pt x="47" y="75"/>
                    <a:pt x="52" y="72"/>
                  </a:cubicBezTo>
                  <a:cubicBezTo>
                    <a:pt x="52" y="72"/>
                    <a:pt x="52" y="72"/>
                    <a:pt x="52" y="72"/>
                  </a:cubicBezTo>
                  <a:cubicBezTo>
                    <a:pt x="53" y="72"/>
                    <a:pt x="53" y="72"/>
                    <a:pt x="53" y="72"/>
                  </a:cubicBezTo>
                  <a:cubicBezTo>
                    <a:pt x="53" y="72"/>
                    <a:pt x="54" y="71"/>
                    <a:pt x="54" y="71"/>
                  </a:cubicBezTo>
                  <a:cubicBezTo>
                    <a:pt x="54" y="71"/>
                    <a:pt x="54" y="71"/>
                    <a:pt x="54" y="71"/>
                  </a:cubicBezTo>
                  <a:cubicBezTo>
                    <a:pt x="54" y="71"/>
                    <a:pt x="54" y="71"/>
                    <a:pt x="54" y="71"/>
                  </a:cubicBezTo>
                  <a:cubicBezTo>
                    <a:pt x="55" y="71"/>
                    <a:pt x="55" y="71"/>
                    <a:pt x="55" y="71"/>
                  </a:cubicBezTo>
                  <a:cubicBezTo>
                    <a:pt x="55" y="70"/>
                    <a:pt x="55" y="70"/>
                    <a:pt x="55" y="70"/>
                  </a:cubicBezTo>
                  <a:cubicBezTo>
                    <a:pt x="55" y="70"/>
                    <a:pt x="55" y="70"/>
                    <a:pt x="55" y="70"/>
                  </a:cubicBezTo>
                  <a:cubicBezTo>
                    <a:pt x="56" y="70"/>
                    <a:pt x="56" y="70"/>
                    <a:pt x="56" y="70"/>
                  </a:cubicBezTo>
                  <a:cubicBezTo>
                    <a:pt x="57" y="69"/>
                    <a:pt x="58" y="69"/>
                    <a:pt x="58" y="68"/>
                  </a:cubicBezTo>
                  <a:cubicBezTo>
                    <a:pt x="58" y="68"/>
                    <a:pt x="58" y="68"/>
                    <a:pt x="58" y="68"/>
                  </a:cubicBezTo>
                  <a:cubicBezTo>
                    <a:pt x="59" y="68"/>
                    <a:pt x="59" y="68"/>
                    <a:pt x="59" y="68"/>
                  </a:cubicBezTo>
                  <a:lnTo>
                    <a:pt x="60" y="67"/>
                  </a:lnTo>
                  <a:close/>
                </a:path>
              </a:pathLst>
            </a:custGeom>
            <a:solidFill>
              <a:srgbClr val="D9D8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5" name="ï$1iďè">
              <a:extLst>
                <a:ext uri="{FF2B5EF4-FFF2-40B4-BE49-F238E27FC236}">
                  <a16:creationId xmlns:a16="http://schemas.microsoft.com/office/drawing/2014/main" id="{90C42FC8-3DB7-4CB3-A352-2C22CB7ECD9F}"/>
                </a:ext>
              </a:extLst>
            </p:cNvPr>
            <p:cNvSpPr/>
            <p:nvPr userDrawn="1"/>
          </p:nvSpPr>
          <p:spPr bwMode="auto">
            <a:xfrm>
              <a:off x="5543550" y="1539875"/>
              <a:ext cx="136525" cy="136525"/>
            </a:xfrm>
            <a:custGeom>
              <a:avLst/>
              <a:gdLst>
                <a:gd name="T0" fmla="*/ 74 w 81"/>
                <a:gd name="T1" fmla="*/ 54 h 81"/>
                <a:gd name="T2" fmla="*/ 27 w 81"/>
                <a:gd name="T3" fmla="*/ 73 h 81"/>
                <a:gd name="T4" fmla="*/ 8 w 81"/>
                <a:gd name="T5" fmla="*/ 26 h 81"/>
                <a:gd name="T6" fmla="*/ 54 w 81"/>
                <a:gd name="T7" fmla="*/ 7 h 81"/>
                <a:gd name="T8" fmla="*/ 74 w 81"/>
                <a:gd name="T9" fmla="*/ 54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1" h="81">
                  <a:moveTo>
                    <a:pt x="74" y="54"/>
                  </a:moveTo>
                  <a:cubicBezTo>
                    <a:pt x="66" y="72"/>
                    <a:pt x="45" y="81"/>
                    <a:pt x="27" y="73"/>
                  </a:cubicBezTo>
                  <a:cubicBezTo>
                    <a:pt x="9" y="66"/>
                    <a:pt x="0" y="45"/>
                    <a:pt x="8" y="26"/>
                  </a:cubicBezTo>
                  <a:cubicBezTo>
                    <a:pt x="15" y="8"/>
                    <a:pt x="36" y="0"/>
                    <a:pt x="54" y="7"/>
                  </a:cubicBezTo>
                  <a:cubicBezTo>
                    <a:pt x="73" y="15"/>
                    <a:pt x="81" y="36"/>
                    <a:pt x="74" y="54"/>
                  </a:cubicBezTo>
                  <a:close/>
                </a:path>
              </a:pathLst>
            </a:custGeom>
            <a:solidFill>
              <a:srgbClr val="FF787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6" name="íśḻídè">
              <a:extLst>
                <a:ext uri="{FF2B5EF4-FFF2-40B4-BE49-F238E27FC236}">
                  <a16:creationId xmlns:a16="http://schemas.microsoft.com/office/drawing/2014/main" id="{F23C6B8C-AD8C-4320-A072-967B7787D49B}"/>
                </a:ext>
              </a:extLst>
            </p:cNvPr>
            <p:cNvSpPr/>
            <p:nvPr userDrawn="1"/>
          </p:nvSpPr>
          <p:spPr bwMode="auto">
            <a:xfrm>
              <a:off x="5551488" y="1593850"/>
              <a:ext cx="122238" cy="82550"/>
            </a:xfrm>
            <a:custGeom>
              <a:avLst/>
              <a:gdLst>
                <a:gd name="T0" fmla="*/ 70 w 72"/>
                <a:gd name="T1" fmla="*/ 0 h 49"/>
                <a:gd name="T2" fmla="*/ 68 w 72"/>
                <a:gd name="T3" fmla="*/ 14 h 49"/>
                <a:gd name="T4" fmla="*/ 21 w 72"/>
                <a:gd name="T5" fmla="*/ 33 h 49"/>
                <a:gd name="T6" fmla="*/ 0 w 72"/>
                <a:gd name="T7" fmla="*/ 8 h 49"/>
                <a:gd name="T8" fmla="*/ 22 w 72"/>
                <a:gd name="T9" fmla="*/ 41 h 49"/>
                <a:gd name="T10" fmla="*/ 69 w 72"/>
                <a:gd name="T11" fmla="*/ 22 h 49"/>
                <a:gd name="T12" fmla="*/ 70 w 72"/>
                <a:gd name="T13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2" h="49">
                  <a:moveTo>
                    <a:pt x="70" y="0"/>
                  </a:moveTo>
                  <a:cubicBezTo>
                    <a:pt x="70" y="5"/>
                    <a:pt x="70" y="10"/>
                    <a:pt x="68" y="14"/>
                  </a:cubicBezTo>
                  <a:cubicBezTo>
                    <a:pt x="60" y="32"/>
                    <a:pt x="39" y="41"/>
                    <a:pt x="21" y="33"/>
                  </a:cubicBezTo>
                  <a:cubicBezTo>
                    <a:pt x="10" y="29"/>
                    <a:pt x="2" y="19"/>
                    <a:pt x="0" y="8"/>
                  </a:cubicBezTo>
                  <a:cubicBezTo>
                    <a:pt x="0" y="22"/>
                    <a:pt x="8" y="35"/>
                    <a:pt x="22" y="41"/>
                  </a:cubicBezTo>
                  <a:cubicBezTo>
                    <a:pt x="40" y="49"/>
                    <a:pt x="61" y="40"/>
                    <a:pt x="69" y="22"/>
                  </a:cubicBezTo>
                  <a:cubicBezTo>
                    <a:pt x="72" y="15"/>
                    <a:pt x="72" y="7"/>
                    <a:pt x="70" y="0"/>
                  </a:cubicBezTo>
                  <a:close/>
                </a:path>
              </a:pathLst>
            </a:custGeom>
            <a:solidFill>
              <a:srgbClr val="F56E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7" name="îṩ1ïḑe">
              <a:extLst>
                <a:ext uri="{FF2B5EF4-FFF2-40B4-BE49-F238E27FC236}">
                  <a16:creationId xmlns:a16="http://schemas.microsoft.com/office/drawing/2014/main" id="{AABA0215-4AEC-441D-87BA-FDEC5767F8E5}"/>
                </a:ext>
              </a:extLst>
            </p:cNvPr>
            <p:cNvSpPr/>
            <p:nvPr userDrawn="1"/>
          </p:nvSpPr>
          <p:spPr bwMode="auto">
            <a:xfrm>
              <a:off x="5553075" y="1582738"/>
              <a:ext cx="112713" cy="53975"/>
            </a:xfrm>
            <a:custGeom>
              <a:avLst/>
              <a:gdLst>
                <a:gd name="T0" fmla="*/ 1 w 67"/>
                <a:gd name="T1" fmla="*/ 2 h 32"/>
                <a:gd name="T2" fmla="*/ 0 w 67"/>
                <a:gd name="T3" fmla="*/ 5 h 32"/>
                <a:gd name="T4" fmla="*/ 65 w 67"/>
                <a:gd name="T5" fmla="*/ 32 h 32"/>
                <a:gd name="T6" fmla="*/ 67 w 67"/>
                <a:gd name="T7" fmla="*/ 29 h 32"/>
                <a:gd name="T8" fmla="*/ 67 w 67"/>
                <a:gd name="T9" fmla="*/ 28 h 32"/>
                <a:gd name="T10" fmla="*/ 2 w 67"/>
                <a:gd name="T11" fmla="*/ 0 h 32"/>
                <a:gd name="T12" fmla="*/ 1 w 67"/>
                <a:gd name="T13" fmla="*/ 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7" h="32">
                  <a:moveTo>
                    <a:pt x="1" y="2"/>
                  </a:moveTo>
                  <a:cubicBezTo>
                    <a:pt x="1" y="3"/>
                    <a:pt x="0" y="4"/>
                    <a:pt x="0" y="5"/>
                  </a:cubicBezTo>
                  <a:cubicBezTo>
                    <a:pt x="65" y="32"/>
                    <a:pt x="65" y="32"/>
                    <a:pt x="65" y="32"/>
                  </a:cubicBezTo>
                  <a:cubicBezTo>
                    <a:pt x="66" y="31"/>
                    <a:pt x="67" y="30"/>
                    <a:pt x="67" y="29"/>
                  </a:cubicBezTo>
                  <a:cubicBezTo>
                    <a:pt x="67" y="29"/>
                    <a:pt x="67" y="28"/>
                    <a:pt x="67" y="28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1"/>
                    <a:pt x="1" y="1"/>
                    <a:pt x="1" y="2"/>
                  </a:cubicBezTo>
                  <a:close/>
                </a:path>
              </a:pathLst>
            </a:custGeom>
            <a:solidFill>
              <a:srgbClr val="F56E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8" name="íśḷíďê">
              <a:extLst>
                <a:ext uri="{FF2B5EF4-FFF2-40B4-BE49-F238E27FC236}">
                  <a16:creationId xmlns:a16="http://schemas.microsoft.com/office/drawing/2014/main" id="{027C8A8C-8C85-4741-A01E-D803BC5F86A5}"/>
                </a:ext>
              </a:extLst>
            </p:cNvPr>
            <p:cNvSpPr/>
            <p:nvPr userDrawn="1"/>
          </p:nvSpPr>
          <p:spPr bwMode="auto">
            <a:xfrm>
              <a:off x="5554663" y="1579563"/>
              <a:ext cx="114300" cy="53975"/>
            </a:xfrm>
            <a:custGeom>
              <a:avLst/>
              <a:gdLst>
                <a:gd name="T0" fmla="*/ 1 w 67"/>
                <a:gd name="T1" fmla="*/ 2 h 32"/>
                <a:gd name="T2" fmla="*/ 0 w 67"/>
                <a:gd name="T3" fmla="*/ 5 h 32"/>
                <a:gd name="T4" fmla="*/ 66 w 67"/>
                <a:gd name="T5" fmla="*/ 32 h 32"/>
                <a:gd name="T6" fmla="*/ 67 w 67"/>
                <a:gd name="T7" fmla="*/ 30 h 32"/>
                <a:gd name="T8" fmla="*/ 67 w 67"/>
                <a:gd name="T9" fmla="*/ 28 h 32"/>
                <a:gd name="T10" fmla="*/ 2 w 67"/>
                <a:gd name="T11" fmla="*/ 0 h 32"/>
                <a:gd name="T12" fmla="*/ 1 w 67"/>
                <a:gd name="T13" fmla="*/ 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7" h="32">
                  <a:moveTo>
                    <a:pt x="1" y="2"/>
                  </a:moveTo>
                  <a:cubicBezTo>
                    <a:pt x="0" y="3"/>
                    <a:pt x="0" y="4"/>
                    <a:pt x="0" y="5"/>
                  </a:cubicBezTo>
                  <a:cubicBezTo>
                    <a:pt x="66" y="32"/>
                    <a:pt x="66" y="32"/>
                    <a:pt x="66" y="32"/>
                  </a:cubicBezTo>
                  <a:cubicBezTo>
                    <a:pt x="66" y="31"/>
                    <a:pt x="66" y="31"/>
                    <a:pt x="67" y="30"/>
                  </a:cubicBezTo>
                  <a:cubicBezTo>
                    <a:pt x="67" y="29"/>
                    <a:pt x="67" y="29"/>
                    <a:pt x="67" y="28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1"/>
                    <a:pt x="1" y="2"/>
                    <a:pt x="1" y="2"/>
                  </a:cubicBezTo>
                  <a:close/>
                </a:path>
              </a:pathLst>
            </a:custGeom>
            <a:solidFill>
              <a:srgbClr val="E54C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9" name="íṣļîďè">
              <a:extLst>
                <a:ext uri="{FF2B5EF4-FFF2-40B4-BE49-F238E27FC236}">
                  <a16:creationId xmlns:a16="http://schemas.microsoft.com/office/drawing/2014/main" id="{E23CFE62-E346-40E2-9811-A8E877B65485}"/>
                </a:ext>
              </a:extLst>
            </p:cNvPr>
            <p:cNvSpPr/>
            <p:nvPr userDrawn="1"/>
          </p:nvSpPr>
          <p:spPr bwMode="auto">
            <a:xfrm>
              <a:off x="5707063" y="1612900"/>
              <a:ext cx="123825" cy="128588"/>
            </a:xfrm>
            <a:custGeom>
              <a:avLst/>
              <a:gdLst>
                <a:gd name="T0" fmla="*/ 61 w 73"/>
                <a:gd name="T1" fmla="*/ 65 h 76"/>
                <a:gd name="T2" fmla="*/ 64 w 73"/>
                <a:gd name="T3" fmla="*/ 63 h 76"/>
                <a:gd name="T4" fmla="*/ 66 w 73"/>
                <a:gd name="T5" fmla="*/ 59 h 76"/>
                <a:gd name="T6" fmla="*/ 68 w 73"/>
                <a:gd name="T7" fmla="*/ 57 h 76"/>
                <a:gd name="T8" fmla="*/ 69 w 73"/>
                <a:gd name="T9" fmla="*/ 54 h 76"/>
                <a:gd name="T10" fmla="*/ 70 w 73"/>
                <a:gd name="T11" fmla="*/ 52 h 76"/>
                <a:gd name="T12" fmla="*/ 66 w 73"/>
                <a:gd name="T13" fmla="*/ 20 h 76"/>
                <a:gd name="T14" fmla="*/ 18 w 73"/>
                <a:gd name="T15" fmla="*/ 9 h 76"/>
                <a:gd name="T16" fmla="*/ 15 w 73"/>
                <a:gd name="T17" fmla="*/ 11 h 76"/>
                <a:gd name="T18" fmla="*/ 15 w 73"/>
                <a:gd name="T19" fmla="*/ 11 h 76"/>
                <a:gd name="T20" fmla="*/ 14 w 73"/>
                <a:gd name="T21" fmla="*/ 12 h 76"/>
                <a:gd name="T22" fmla="*/ 13 w 73"/>
                <a:gd name="T23" fmla="*/ 13 h 76"/>
                <a:gd name="T24" fmla="*/ 12 w 73"/>
                <a:gd name="T25" fmla="*/ 13 h 76"/>
                <a:gd name="T26" fmla="*/ 6 w 73"/>
                <a:gd name="T27" fmla="*/ 20 h 76"/>
                <a:gd name="T28" fmla="*/ 6 w 73"/>
                <a:gd name="T29" fmla="*/ 21 h 76"/>
                <a:gd name="T30" fmla="*/ 4 w 73"/>
                <a:gd name="T31" fmla="*/ 24 h 76"/>
                <a:gd name="T32" fmla="*/ 3 w 73"/>
                <a:gd name="T33" fmla="*/ 27 h 76"/>
                <a:gd name="T34" fmla="*/ 2 w 73"/>
                <a:gd name="T35" fmla="*/ 30 h 76"/>
                <a:gd name="T36" fmla="*/ 1 w 73"/>
                <a:gd name="T37" fmla="*/ 34 h 76"/>
                <a:gd name="T38" fmla="*/ 0 w 73"/>
                <a:gd name="T39" fmla="*/ 37 h 76"/>
                <a:gd name="T40" fmla="*/ 0 w 73"/>
                <a:gd name="T41" fmla="*/ 40 h 76"/>
                <a:gd name="T42" fmla="*/ 1 w 73"/>
                <a:gd name="T43" fmla="*/ 44 h 76"/>
                <a:gd name="T44" fmla="*/ 1 w 73"/>
                <a:gd name="T45" fmla="*/ 47 h 76"/>
                <a:gd name="T46" fmla="*/ 2 w 73"/>
                <a:gd name="T47" fmla="*/ 50 h 76"/>
                <a:gd name="T48" fmla="*/ 3 w 73"/>
                <a:gd name="T49" fmla="*/ 54 h 76"/>
                <a:gd name="T50" fmla="*/ 5 w 73"/>
                <a:gd name="T51" fmla="*/ 57 h 76"/>
                <a:gd name="T52" fmla="*/ 20 w 73"/>
                <a:gd name="T53" fmla="*/ 72 h 76"/>
                <a:gd name="T54" fmla="*/ 26 w 73"/>
                <a:gd name="T55" fmla="*/ 74 h 76"/>
                <a:gd name="T56" fmla="*/ 36 w 73"/>
                <a:gd name="T57" fmla="*/ 76 h 76"/>
                <a:gd name="T58" fmla="*/ 52 w 73"/>
                <a:gd name="T59" fmla="*/ 72 h 76"/>
                <a:gd name="T60" fmla="*/ 54 w 73"/>
                <a:gd name="T61" fmla="*/ 71 h 76"/>
                <a:gd name="T62" fmla="*/ 54 w 73"/>
                <a:gd name="T63" fmla="*/ 71 h 76"/>
                <a:gd name="T64" fmla="*/ 55 w 73"/>
                <a:gd name="T65" fmla="*/ 70 h 76"/>
                <a:gd name="T66" fmla="*/ 56 w 73"/>
                <a:gd name="T67" fmla="*/ 69 h 76"/>
                <a:gd name="T68" fmla="*/ 58 w 73"/>
                <a:gd name="T69" fmla="*/ 68 h 76"/>
                <a:gd name="T70" fmla="*/ 60 w 73"/>
                <a:gd name="T71" fmla="*/ 67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73" h="76">
                  <a:moveTo>
                    <a:pt x="60" y="67"/>
                  </a:moveTo>
                  <a:cubicBezTo>
                    <a:pt x="60" y="66"/>
                    <a:pt x="61" y="66"/>
                    <a:pt x="61" y="65"/>
                  </a:cubicBezTo>
                  <a:cubicBezTo>
                    <a:pt x="62" y="64"/>
                    <a:pt x="62" y="64"/>
                    <a:pt x="62" y="64"/>
                  </a:cubicBezTo>
                  <a:cubicBezTo>
                    <a:pt x="63" y="64"/>
                    <a:pt x="63" y="63"/>
                    <a:pt x="64" y="63"/>
                  </a:cubicBezTo>
                  <a:cubicBezTo>
                    <a:pt x="64" y="62"/>
                    <a:pt x="64" y="62"/>
                    <a:pt x="64" y="62"/>
                  </a:cubicBezTo>
                  <a:cubicBezTo>
                    <a:pt x="65" y="61"/>
                    <a:pt x="65" y="60"/>
                    <a:pt x="66" y="59"/>
                  </a:cubicBezTo>
                  <a:cubicBezTo>
                    <a:pt x="67" y="58"/>
                    <a:pt x="67" y="58"/>
                    <a:pt x="67" y="58"/>
                  </a:cubicBezTo>
                  <a:cubicBezTo>
                    <a:pt x="67" y="58"/>
                    <a:pt x="67" y="57"/>
                    <a:pt x="68" y="57"/>
                  </a:cubicBezTo>
                  <a:cubicBezTo>
                    <a:pt x="68" y="56"/>
                    <a:pt x="68" y="56"/>
                    <a:pt x="68" y="55"/>
                  </a:cubicBezTo>
                  <a:cubicBezTo>
                    <a:pt x="68" y="55"/>
                    <a:pt x="69" y="54"/>
                    <a:pt x="69" y="54"/>
                  </a:cubicBezTo>
                  <a:cubicBezTo>
                    <a:pt x="69" y="53"/>
                    <a:pt x="69" y="53"/>
                    <a:pt x="69" y="53"/>
                  </a:cubicBezTo>
                  <a:cubicBezTo>
                    <a:pt x="70" y="52"/>
                    <a:pt x="70" y="52"/>
                    <a:pt x="70" y="52"/>
                  </a:cubicBezTo>
                  <a:cubicBezTo>
                    <a:pt x="70" y="52"/>
                    <a:pt x="70" y="52"/>
                    <a:pt x="70" y="52"/>
                  </a:cubicBezTo>
                  <a:cubicBezTo>
                    <a:pt x="73" y="42"/>
                    <a:pt x="72" y="30"/>
                    <a:pt x="66" y="20"/>
                  </a:cubicBezTo>
                  <a:cubicBezTo>
                    <a:pt x="55" y="4"/>
                    <a:pt x="34" y="0"/>
                    <a:pt x="18" y="9"/>
                  </a:cubicBezTo>
                  <a:cubicBezTo>
                    <a:pt x="18" y="9"/>
                    <a:pt x="18" y="9"/>
                    <a:pt x="18" y="9"/>
                  </a:cubicBezTo>
                  <a:cubicBezTo>
                    <a:pt x="17" y="9"/>
                    <a:pt x="17" y="10"/>
                    <a:pt x="16" y="10"/>
                  </a:cubicBezTo>
                  <a:cubicBezTo>
                    <a:pt x="15" y="11"/>
                    <a:pt x="15" y="11"/>
                    <a:pt x="15" y="11"/>
                  </a:cubicBezTo>
                  <a:cubicBezTo>
                    <a:pt x="15" y="11"/>
                    <a:pt x="15" y="11"/>
                    <a:pt x="15" y="11"/>
                  </a:cubicBezTo>
                  <a:cubicBezTo>
                    <a:pt x="15" y="11"/>
                    <a:pt x="15" y="11"/>
                    <a:pt x="15" y="11"/>
                  </a:cubicBezTo>
                  <a:cubicBezTo>
                    <a:pt x="14" y="12"/>
                    <a:pt x="14" y="12"/>
                    <a:pt x="14" y="12"/>
                  </a:cubicBezTo>
                  <a:cubicBezTo>
                    <a:pt x="14" y="12"/>
                    <a:pt x="14" y="12"/>
                    <a:pt x="14" y="12"/>
                  </a:cubicBezTo>
                  <a:cubicBezTo>
                    <a:pt x="14" y="12"/>
                    <a:pt x="14" y="12"/>
                    <a:pt x="14" y="12"/>
                  </a:cubicBezTo>
                  <a:cubicBezTo>
                    <a:pt x="14" y="12"/>
                    <a:pt x="13" y="13"/>
                    <a:pt x="13" y="13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0" y="15"/>
                    <a:pt x="8" y="18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1"/>
                    <a:pt x="6" y="21"/>
                    <a:pt x="6" y="21"/>
                  </a:cubicBezTo>
                  <a:cubicBezTo>
                    <a:pt x="5" y="22"/>
                    <a:pt x="5" y="22"/>
                    <a:pt x="4" y="23"/>
                  </a:cubicBezTo>
                  <a:cubicBezTo>
                    <a:pt x="4" y="24"/>
                    <a:pt x="4" y="24"/>
                    <a:pt x="4" y="24"/>
                  </a:cubicBezTo>
                  <a:cubicBezTo>
                    <a:pt x="4" y="25"/>
                    <a:pt x="3" y="25"/>
                    <a:pt x="3" y="26"/>
                  </a:cubicBezTo>
                  <a:cubicBezTo>
                    <a:pt x="3" y="27"/>
                    <a:pt x="3" y="27"/>
                    <a:pt x="3" y="27"/>
                  </a:cubicBezTo>
                  <a:cubicBezTo>
                    <a:pt x="2" y="28"/>
                    <a:pt x="2" y="29"/>
                    <a:pt x="2" y="30"/>
                  </a:cubicBezTo>
                  <a:cubicBezTo>
                    <a:pt x="2" y="30"/>
                    <a:pt x="2" y="30"/>
                    <a:pt x="2" y="30"/>
                  </a:cubicBezTo>
                  <a:cubicBezTo>
                    <a:pt x="1" y="31"/>
                    <a:pt x="1" y="32"/>
                    <a:pt x="1" y="33"/>
                  </a:cubicBezTo>
                  <a:cubicBezTo>
                    <a:pt x="1" y="34"/>
                    <a:pt x="1" y="34"/>
                    <a:pt x="1" y="34"/>
                  </a:cubicBezTo>
                  <a:cubicBezTo>
                    <a:pt x="1" y="35"/>
                    <a:pt x="1" y="35"/>
                    <a:pt x="1" y="36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0" y="38"/>
                    <a:pt x="0" y="39"/>
                    <a:pt x="0" y="4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0" y="41"/>
                    <a:pt x="0" y="42"/>
                    <a:pt x="0" y="43"/>
                  </a:cubicBezTo>
                  <a:cubicBezTo>
                    <a:pt x="1" y="44"/>
                    <a:pt x="1" y="44"/>
                    <a:pt x="1" y="44"/>
                  </a:cubicBezTo>
                  <a:cubicBezTo>
                    <a:pt x="1" y="45"/>
                    <a:pt x="1" y="46"/>
                    <a:pt x="1" y="46"/>
                  </a:cubicBezTo>
                  <a:cubicBezTo>
                    <a:pt x="1" y="47"/>
                    <a:pt x="1" y="47"/>
                    <a:pt x="1" y="47"/>
                  </a:cubicBezTo>
                  <a:cubicBezTo>
                    <a:pt x="1" y="48"/>
                    <a:pt x="2" y="49"/>
                    <a:pt x="2" y="50"/>
                  </a:cubicBezTo>
                  <a:cubicBezTo>
                    <a:pt x="2" y="50"/>
                    <a:pt x="2" y="50"/>
                    <a:pt x="2" y="50"/>
                  </a:cubicBezTo>
                  <a:cubicBezTo>
                    <a:pt x="2" y="51"/>
                    <a:pt x="3" y="52"/>
                    <a:pt x="3" y="53"/>
                  </a:cubicBezTo>
                  <a:cubicBezTo>
                    <a:pt x="3" y="54"/>
                    <a:pt x="3" y="54"/>
                    <a:pt x="3" y="54"/>
                  </a:cubicBezTo>
                  <a:cubicBezTo>
                    <a:pt x="4" y="55"/>
                    <a:pt x="4" y="56"/>
                    <a:pt x="4" y="56"/>
                  </a:cubicBezTo>
                  <a:cubicBezTo>
                    <a:pt x="5" y="57"/>
                    <a:pt x="5" y="57"/>
                    <a:pt x="5" y="57"/>
                  </a:cubicBezTo>
                  <a:cubicBezTo>
                    <a:pt x="5" y="58"/>
                    <a:pt x="6" y="59"/>
                    <a:pt x="6" y="60"/>
                  </a:cubicBezTo>
                  <a:cubicBezTo>
                    <a:pt x="10" y="65"/>
                    <a:pt x="15" y="69"/>
                    <a:pt x="20" y="72"/>
                  </a:cubicBezTo>
                  <a:cubicBezTo>
                    <a:pt x="21" y="72"/>
                    <a:pt x="22" y="73"/>
                    <a:pt x="23" y="73"/>
                  </a:cubicBezTo>
                  <a:cubicBezTo>
                    <a:pt x="24" y="74"/>
                    <a:pt x="25" y="74"/>
                    <a:pt x="26" y="74"/>
                  </a:cubicBezTo>
                  <a:cubicBezTo>
                    <a:pt x="27" y="75"/>
                    <a:pt x="28" y="75"/>
                    <a:pt x="29" y="75"/>
                  </a:cubicBezTo>
                  <a:cubicBezTo>
                    <a:pt x="32" y="75"/>
                    <a:pt x="34" y="76"/>
                    <a:pt x="36" y="76"/>
                  </a:cubicBezTo>
                  <a:cubicBezTo>
                    <a:pt x="42" y="76"/>
                    <a:pt x="47" y="74"/>
                    <a:pt x="52" y="72"/>
                  </a:cubicBezTo>
                  <a:cubicBezTo>
                    <a:pt x="52" y="72"/>
                    <a:pt x="52" y="72"/>
                    <a:pt x="52" y="72"/>
                  </a:cubicBezTo>
                  <a:cubicBezTo>
                    <a:pt x="52" y="72"/>
                    <a:pt x="52" y="72"/>
                    <a:pt x="52" y="72"/>
                  </a:cubicBezTo>
                  <a:cubicBezTo>
                    <a:pt x="53" y="71"/>
                    <a:pt x="54" y="71"/>
                    <a:pt x="54" y="71"/>
                  </a:cubicBezTo>
                  <a:cubicBezTo>
                    <a:pt x="54" y="71"/>
                    <a:pt x="54" y="71"/>
                    <a:pt x="54" y="71"/>
                  </a:cubicBezTo>
                  <a:cubicBezTo>
                    <a:pt x="54" y="71"/>
                    <a:pt x="54" y="71"/>
                    <a:pt x="54" y="71"/>
                  </a:cubicBezTo>
                  <a:cubicBezTo>
                    <a:pt x="55" y="70"/>
                    <a:pt x="55" y="70"/>
                    <a:pt x="55" y="70"/>
                  </a:cubicBezTo>
                  <a:cubicBezTo>
                    <a:pt x="55" y="70"/>
                    <a:pt x="55" y="70"/>
                    <a:pt x="55" y="70"/>
                  </a:cubicBezTo>
                  <a:cubicBezTo>
                    <a:pt x="55" y="70"/>
                    <a:pt x="55" y="70"/>
                    <a:pt x="55" y="70"/>
                  </a:cubicBezTo>
                  <a:cubicBezTo>
                    <a:pt x="56" y="69"/>
                    <a:pt x="56" y="69"/>
                    <a:pt x="56" y="69"/>
                  </a:cubicBezTo>
                  <a:cubicBezTo>
                    <a:pt x="57" y="69"/>
                    <a:pt x="57" y="69"/>
                    <a:pt x="58" y="68"/>
                  </a:cubicBezTo>
                  <a:cubicBezTo>
                    <a:pt x="58" y="68"/>
                    <a:pt x="58" y="68"/>
                    <a:pt x="58" y="68"/>
                  </a:cubicBezTo>
                  <a:cubicBezTo>
                    <a:pt x="59" y="67"/>
                    <a:pt x="59" y="67"/>
                    <a:pt x="59" y="67"/>
                  </a:cubicBezTo>
                  <a:lnTo>
                    <a:pt x="60" y="67"/>
                  </a:lnTo>
                  <a:close/>
                </a:path>
              </a:pathLst>
            </a:custGeom>
            <a:solidFill>
              <a:srgbClr val="D9D8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0" name="ï$1íḓé">
              <a:extLst>
                <a:ext uri="{FF2B5EF4-FFF2-40B4-BE49-F238E27FC236}">
                  <a16:creationId xmlns:a16="http://schemas.microsoft.com/office/drawing/2014/main" id="{9C5F9F7D-610C-4EC3-AF16-BA7EEF7189C8}"/>
                </a:ext>
              </a:extLst>
            </p:cNvPr>
            <p:cNvSpPr/>
            <p:nvPr userDrawn="1"/>
          </p:nvSpPr>
          <p:spPr bwMode="auto">
            <a:xfrm>
              <a:off x="5694363" y="1600200"/>
              <a:ext cx="136525" cy="138113"/>
            </a:xfrm>
            <a:custGeom>
              <a:avLst/>
              <a:gdLst>
                <a:gd name="T0" fmla="*/ 73 w 81"/>
                <a:gd name="T1" fmla="*/ 55 h 82"/>
                <a:gd name="T2" fmla="*/ 27 w 81"/>
                <a:gd name="T3" fmla="*/ 74 h 82"/>
                <a:gd name="T4" fmla="*/ 8 w 81"/>
                <a:gd name="T5" fmla="*/ 27 h 82"/>
                <a:gd name="T6" fmla="*/ 54 w 81"/>
                <a:gd name="T7" fmla="*/ 8 h 82"/>
                <a:gd name="T8" fmla="*/ 73 w 81"/>
                <a:gd name="T9" fmla="*/ 55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1" h="82">
                  <a:moveTo>
                    <a:pt x="73" y="55"/>
                  </a:moveTo>
                  <a:cubicBezTo>
                    <a:pt x="66" y="73"/>
                    <a:pt x="45" y="82"/>
                    <a:pt x="27" y="74"/>
                  </a:cubicBezTo>
                  <a:cubicBezTo>
                    <a:pt x="8" y="66"/>
                    <a:pt x="0" y="45"/>
                    <a:pt x="8" y="27"/>
                  </a:cubicBezTo>
                  <a:cubicBezTo>
                    <a:pt x="15" y="9"/>
                    <a:pt x="36" y="0"/>
                    <a:pt x="54" y="8"/>
                  </a:cubicBezTo>
                  <a:cubicBezTo>
                    <a:pt x="73" y="16"/>
                    <a:pt x="81" y="37"/>
                    <a:pt x="73" y="55"/>
                  </a:cubicBezTo>
                  <a:close/>
                </a:path>
              </a:pathLst>
            </a:custGeom>
            <a:solidFill>
              <a:srgbClr val="FF787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1" name="ïŝľiḓè">
              <a:extLst>
                <a:ext uri="{FF2B5EF4-FFF2-40B4-BE49-F238E27FC236}">
                  <a16:creationId xmlns:a16="http://schemas.microsoft.com/office/drawing/2014/main" id="{E84F813D-1474-469F-B563-743A5C4377EA}"/>
                </a:ext>
              </a:extLst>
            </p:cNvPr>
            <p:cNvSpPr/>
            <p:nvPr userDrawn="1"/>
          </p:nvSpPr>
          <p:spPr bwMode="auto">
            <a:xfrm>
              <a:off x="5702300" y="1655763"/>
              <a:ext cx="120650" cy="82550"/>
            </a:xfrm>
            <a:custGeom>
              <a:avLst/>
              <a:gdLst>
                <a:gd name="T0" fmla="*/ 70 w 72"/>
                <a:gd name="T1" fmla="*/ 0 h 49"/>
                <a:gd name="T2" fmla="*/ 68 w 72"/>
                <a:gd name="T3" fmla="*/ 14 h 49"/>
                <a:gd name="T4" fmla="*/ 21 w 72"/>
                <a:gd name="T5" fmla="*/ 33 h 49"/>
                <a:gd name="T6" fmla="*/ 0 w 72"/>
                <a:gd name="T7" fmla="*/ 8 h 49"/>
                <a:gd name="T8" fmla="*/ 22 w 72"/>
                <a:gd name="T9" fmla="*/ 41 h 49"/>
                <a:gd name="T10" fmla="*/ 68 w 72"/>
                <a:gd name="T11" fmla="*/ 22 h 49"/>
                <a:gd name="T12" fmla="*/ 70 w 72"/>
                <a:gd name="T13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2" h="49">
                  <a:moveTo>
                    <a:pt x="70" y="0"/>
                  </a:moveTo>
                  <a:cubicBezTo>
                    <a:pt x="70" y="5"/>
                    <a:pt x="69" y="9"/>
                    <a:pt x="68" y="14"/>
                  </a:cubicBezTo>
                  <a:cubicBezTo>
                    <a:pt x="60" y="32"/>
                    <a:pt x="39" y="41"/>
                    <a:pt x="21" y="33"/>
                  </a:cubicBezTo>
                  <a:cubicBezTo>
                    <a:pt x="10" y="28"/>
                    <a:pt x="2" y="19"/>
                    <a:pt x="0" y="8"/>
                  </a:cubicBezTo>
                  <a:cubicBezTo>
                    <a:pt x="0" y="22"/>
                    <a:pt x="8" y="35"/>
                    <a:pt x="22" y="41"/>
                  </a:cubicBezTo>
                  <a:cubicBezTo>
                    <a:pt x="40" y="49"/>
                    <a:pt x="61" y="40"/>
                    <a:pt x="68" y="22"/>
                  </a:cubicBezTo>
                  <a:cubicBezTo>
                    <a:pt x="71" y="15"/>
                    <a:pt x="72" y="7"/>
                    <a:pt x="70" y="0"/>
                  </a:cubicBezTo>
                  <a:close/>
                </a:path>
              </a:pathLst>
            </a:custGeom>
            <a:solidFill>
              <a:srgbClr val="F56E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2" name="íśḻïḍè">
              <a:extLst>
                <a:ext uri="{FF2B5EF4-FFF2-40B4-BE49-F238E27FC236}">
                  <a16:creationId xmlns:a16="http://schemas.microsoft.com/office/drawing/2014/main" id="{F55ADEAB-CD92-4DDD-AC83-F7C1E93D56A1}"/>
                </a:ext>
              </a:extLst>
            </p:cNvPr>
            <p:cNvSpPr/>
            <p:nvPr userDrawn="1"/>
          </p:nvSpPr>
          <p:spPr bwMode="auto">
            <a:xfrm>
              <a:off x="5703888" y="1646238"/>
              <a:ext cx="112713" cy="53975"/>
            </a:xfrm>
            <a:custGeom>
              <a:avLst/>
              <a:gdLst>
                <a:gd name="T0" fmla="*/ 1 w 67"/>
                <a:gd name="T1" fmla="*/ 1 h 32"/>
                <a:gd name="T2" fmla="*/ 0 w 67"/>
                <a:gd name="T3" fmla="*/ 5 h 32"/>
                <a:gd name="T4" fmla="*/ 65 w 67"/>
                <a:gd name="T5" fmla="*/ 32 h 32"/>
                <a:gd name="T6" fmla="*/ 67 w 67"/>
                <a:gd name="T7" fmla="*/ 29 h 32"/>
                <a:gd name="T8" fmla="*/ 67 w 67"/>
                <a:gd name="T9" fmla="*/ 28 h 32"/>
                <a:gd name="T10" fmla="*/ 2 w 67"/>
                <a:gd name="T11" fmla="*/ 0 h 32"/>
                <a:gd name="T12" fmla="*/ 1 w 67"/>
                <a:gd name="T13" fmla="*/ 1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7" h="32">
                  <a:moveTo>
                    <a:pt x="1" y="1"/>
                  </a:moveTo>
                  <a:cubicBezTo>
                    <a:pt x="1" y="2"/>
                    <a:pt x="0" y="4"/>
                    <a:pt x="0" y="5"/>
                  </a:cubicBezTo>
                  <a:cubicBezTo>
                    <a:pt x="65" y="32"/>
                    <a:pt x="65" y="32"/>
                    <a:pt x="65" y="32"/>
                  </a:cubicBezTo>
                  <a:cubicBezTo>
                    <a:pt x="66" y="31"/>
                    <a:pt x="66" y="30"/>
                    <a:pt x="67" y="29"/>
                  </a:cubicBezTo>
                  <a:cubicBezTo>
                    <a:pt x="67" y="29"/>
                    <a:pt x="67" y="28"/>
                    <a:pt x="67" y="28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1"/>
                    <a:pt x="1" y="1"/>
                    <a:pt x="1" y="1"/>
                  </a:cubicBezTo>
                  <a:close/>
                </a:path>
              </a:pathLst>
            </a:custGeom>
            <a:solidFill>
              <a:srgbClr val="F56E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3" name="ïs1îḑè">
              <a:extLst>
                <a:ext uri="{FF2B5EF4-FFF2-40B4-BE49-F238E27FC236}">
                  <a16:creationId xmlns:a16="http://schemas.microsoft.com/office/drawing/2014/main" id="{718936B3-6826-4E35-89DF-C2051149D47E}"/>
                </a:ext>
              </a:extLst>
            </p:cNvPr>
            <p:cNvSpPr/>
            <p:nvPr userDrawn="1"/>
          </p:nvSpPr>
          <p:spPr bwMode="auto">
            <a:xfrm>
              <a:off x="5705475" y="1641475"/>
              <a:ext cx="112713" cy="53975"/>
            </a:xfrm>
            <a:custGeom>
              <a:avLst/>
              <a:gdLst>
                <a:gd name="T0" fmla="*/ 1 w 67"/>
                <a:gd name="T1" fmla="*/ 2 h 32"/>
                <a:gd name="T2" fmla="*/ 0 w 67"/>
                <a:gd name="T3" fmla="*/ 4 h 32"/>
                <a:gd name="T4" fmla="*/ 65 w 67"/>
                <a:gd name="T5" fmla="*/ 32 h 32"/>
                <a:gd name="T6" fmla="*/ 66 w 67"/>
                <a:gd name="T7" fmla="*/ 30 h 32"/>
                <a:gd name="T8" fmla="*/ 67 w 67"/>
                <a:gd name="T9" fmla="*/ 28 h 32"/>
                <a:gd name="T10" fmla="*/ 1 w 67"/>
                <a:gd name="T11" fmla="*/ 0 h 32"/>
                <a:gd name="T12" fmla="*/ 1 w 67"/>
                <a:gd name="T13" fmla="*/ 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7" h="32">
                  <a:moveTo>
                    <a:pt x="1" y="2"/>
                  </a:moveTo>
                  <a:cubicBezTo>
                    <a:pt x="0" y="3"/>
                    <a:pt x="0" y="4"/>
                    <a:pt x="0" y="4"/>
                  </a:cubicBezTo>
                  <a:cubicBezTo>
                    <a:pt x="65" y="32"/>
                    <a:pt x="65" y="32"/>
                    <a:pt x="65" y="32"/>
                  </a:cubicBezTo>
                  <a:cubicBezTo>
                    <a:pt x="66" y="31"/>
                    <a:pt x="66" y="31"/>
                    <a:pt x="66" y="30"/>
                  </a:cubicBezTo>
                  <a:cubicBezTo>
                    <a:pt x="67" y="29"/>
                    <a:pt x="67" y="28"/>
                    <a:pt x="67" y="28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1"/>
                    <a:pt x="1" y="1"/>
                    <a:pt x="1" y="2"/>
                  </a:cubicBezTo>
                  <a:close/>
                </a:path>
              </a:pathLst>
            </a:custGeom>
            <a:solidFill>
              <a:srgbClr val="E54C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4" name="îṥľiďè">
              <a:extLst>
                <a:ext uri="{FF2B5EF4-FFF2-40B4-BE49-F238E27FC236}">
                  <a16:creationId xmlns:a16="http://schemas.microsoft.com/office/drawing/2014/main" id="{23939C62-2141-4A97-9430-6E92E5DBEE08}"/>
                </a:ext>
              </a:extLst>
            </p:cNvPr>
            <p:cNvSpPr/>
            <p:nvPr userDrawn="1"/>
          </p:nvSpPr>
          <p:spPr bwMode="auto">
            <a:xfrm>
              <a:off x="5857875" y="1674813"/>
              <a:ext cx="123825" cy="127000"/>
            </a:xfrm>
            <a:custGeom>
              <a:avLst/>
              <a:gdLst>
                <a:gd name="T0" fmla="*/ 61 w 73"/>
                <a:gd name="T1" fmla="*/ 66 h 76"/>
                <a:gd name="T2" fmla="*/ 63 w 73"/>
                <a:gd name="T3" fmla="*/ 63 h 76"/>
                <a:gd name="T4" fmla="*/ 66 w 73"/>
                <a:gd name="T5" fmla="*/ 60 h 76"/>
                <a:gd name="T6" fmla="*/ 67 w 73"/>
                <a:gd name="T7" fmla="*/ 58 h 76"/>
                <a:gd name="T8" fmla="*/ 69 w 73"/>
                <a:gd name="T9" fmla="*/ 55 h 76"/>
                <a:gd name="T10" fmla="*/ 70 w 73"/>
                <a:gd name="T11" fmla="*/ 53 h 76"/>
                <a:gd name="T12" fmla="*/ 66 w 73"/>
                <a:gd name="T13" fmla="*/ 21 h 76"/>
                <a:gd name="T14" fmla="*/ 18 w 73"/>
                <a:gd name="T15" fmla="*/ 10 h 76"/>
                <a:gd name="T16" fmla="*/ 15 w 73"/>
                <a:gd name="T17" fmla="*/ 12 h 76"/>
                <a:gd name="T18" fmla="*/ 15 w 73"/>
                <a:gd name="T19" fmla="*/ 12 h 76"/>
                <a:gd name="T20" fmla="*/ 14 w 73"/>
                <a:gd name="T21" fmla="*/ 12 h 76"/>
                <a:gd name="T22" fmla="*/ 12 w 73"/>
                <a:gd name="T23" fmla="*/ 14 h 76"/>
                <a:gd name="T24" fmla="*/ 12 w 73"/>
                <a:gd name="T25" fmla="*/ 14 h 76"/>
                <a:gd name="T26" fmla="*/ 6 w 73"/>
                <a:gd name="T27" fmla="*/ 21 h 76"/>
                <a:gd name="T28" fmla="*/ 6 w 73"/>
                <a:gd name="T29" fmla="*/ 22 h 76"/>
                <a:gd name="T30" fmla="*/ 4 w 73"/>
                <a:gd name="T31" fmla="*/ 25 h 76"/>
                <a:gd name="T32" fmla="*/ 3 w 73"/>
                <a:gd name="T33" fmla="*/ 28 h 76"/>
                <a:gd name="T34" fmla="*/ 2 w 73"/>
                <a:gd name="T35" fmla="*/ 31 h 76"/>
                <a:gd name="T36" fmla="*/ 1 w 73"/>
                <a:gd name="T37" fmla="*/ 35 h 76"/>
                <a:gd name="T38" fmla="*/ 0 w 73"/>
                <a:gd name="T39" fmla="*/ 38 h 76"/>
                <a:gd name="T40" fmla="*/ 0 w 73"/>
                <a:gd name="T41" fmla="*/ 41 h 76"/>
                <a:gd name="T42" fmla="*/ 0 w 73"/>
                <a:gd name="T43" fmla="*/ 45 h 76"/>
                <a:gd name="T44" fmla="*/ 1 w 73"/>
                <a:gd name="T45" fmla="*/ 48 h 76"/>
                <a:gd name="T46" fmla="*/ 2 w 73"/>
                <a:gd name="T47" fmla="*/ 51 h 76"/>
                <a:gd name="T48" fmla="*/ 3 w 73"/>
                <a:gd name="T49" fmla="*/ 55 h 76"/>
                <a:gd name="T50" fmla="*/ 5 w 73"/>
                <a:gd name="T51" fmla="*/ 58 h 76"/>
                <a:gd name="T52" fmla="*/ 20 w 73"/>
                <a:gd name="T53" fmla="*/ 72 h 76"/>
                <a:gd name="T54" fmla="*/ 26 w 73"/>
                <a:gd name="T55" fmla="*/ 75 h 76"/>
                <a:gd name="T56" fmla="*/ 36 w 73"/>
                <a:gd name="T57" fmla="*/ 76 h 76"/>
                <a:gd name="T58" fmla="*/ 52 w 73"/>
                <a:gd name="T59" fmla="*/ 73 h 76"/>
                <a:gd name="T60" fmla="*/ 54 w 73"/>
                <a:gd name="T61" fmla="*/ 71 h 76"/>
                <a:gd name="T62" fmla="*/ 54 w 73"/>
                <a:gd name="T63" fmla="*/ 71 h 76"/>
                <a:gd name="T64" fmla="*/ 55 w 73"/>
                <a:gd name="T65" fmla="*/ 71 h 76"/>
                <a:gd name="T66" fmla="*/ 56 w 73"/>
                <a:gd name="T67" fmla="*/ 70 h 76"/>
                <a:gd name="T68" fmla="*/ 58 w 73"/>
                <a:gd name="T69" fmla="*/ 69 h 76"/>
                <a:gd name="T70" fmla="*/ 60 w 73"/>
                <a:gd name="T71" fmla="*/ 68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73" h="76">
                  <a:moveTo>
                    <a:pt x="60" y="68"/>
                  </a:moveTo>
                  <a:cubicBezTo>
                    <a:pt x="60" y="67"/>
                    <a:pt x="61" y="67"/>
                    <a:pt x="61" y="66"/>
                  </a:cubicBezTo>
                  <a:cubicBezTo>
                    <a:pt x="62" y="65"/>
                    <a:pt x="62" y="65"/>
                    <a:pt x="62" y="65"/>
                  </a:cubicBezTo>
                  <a:cubicBezTo>
                    <a:pt x="63" y="65"/>
                    <a:pt x="63" y="64"/>
                    <a:pt x="63" y="63"/>
                  </a:cubicBezTo>
                  <a:cubicBezTo>
                    <a:pt x="64" y="63"/>
                    <a:pt x="64" y="63"/>
                    <a:pt x="64" y="63"/>
                  </a:cubicBezTo>
                  <a:cubicBezTo>
                    <a:pt x="65" y="62"/>
                    <a:pt x="65" y="61"/>
                    <a:pt x="66" y="60"/>
                  </a:cubicBezTo>
                  <a:cubicBezTo>
                    <a:pt x="67" y="59"/>
                    <a:pt x="67" y="59"/>
                    <a:pt x="67" y="59"/>
                  </a:cubicBezTo>
                  <a:cubicBezTo>
                    <a:pt x="67" y="59"/>
                    <a:pt x="67" y="58"/>
                    <a:pt x="67" y="58"/>
                  </a:cubicBezTo>
                  <a:cubicBezTo>
                    <a:pt x="68" y="57"/>
                    <a:pt x="68" y="57"/>
                    <a:pt x="68" y="56"/>
                  </a:cubicBezTo>
                  <a:cubicBezTo>
                    <a:pt x="68" y="56"/>
                    <a:pt x="69" y="55"/>
                    <a:pt x="69" y="55"/>
                  </a:cubicBezTo>
                  <a:cubicBezTo>
                    <a:pt x="69" y="54"/>
                    <a:pt x="69" y="54"/>
                    <a:pt x="69" y="53"/>
                  </a:cubicBezTo>
                  <a:cubicBezTo>
                    <a:pt x="70" y="53"/>
                    <a:pt x="70" y="53"/>
                    <a:pt x="70" y="53"/>
                  </a:cubicBezTo>
                  <a:cubicBezTo>
                    <a:pt x="69" y="53"/>
                    <a:pt x="69" y="53"/>
                    <a:pt x="69" y="53"/>
                  </a:cubicBezTo>
                  <a:cubicBezTo>
                    <a:pt x="73" y="43"/>
                    <a:pt x="72" y="30"/>
                    <a:pt x="66" y="21"/>
                  </a:cubicBezTo>
                  <a:cubicBezTo>
                    <a:pt x="55" y="5"/>
                    <a:pt x="34" y="0"/>
                    <a:pt x="18" y="10"/>
                  </a:cubicBezTo>
                  <a:cubicBezTo>
                    <a:pt x="18" y="10"/>
                    <a:pt x="18" y="10"/>
                    <a:pt x="18" y="10"/>
                  </a:cubicBezTo>
                  <a:cubicBezTo>
                    <a:pt x="17" y="10"/>
                    <a:pt x="16" y="11"/>
                    <a:pt x="16" y="11"/>
                  </a:cubicBezTo>
                  <a:cubicBezTo>
                    <a:pt x="15" y="12"/>
                    <a:pt x="15" y="12"/>
                    <a:pt x="15" y="12"/>
                  </a:cubicBezTo>
                  <a:cubicBezTo>
                    <a:pt x="15" y="12"/>
                    <a:pt x="15" y="12"/>
                    <a:pt x="15" y="12"/>
                  </a:cubicBezTo>
                  <a:cubicBezTo>
                    <a:pt x="15" y="12"/>
                    <a:pt x="15" y="12"/>
                    <a:pt x="15" y="12"/>
                  </a:cubicBezTo>
                  <a:cubicBezTo>
                    <a:pt x="14" y="12"/>
                    <a:pt x="14" y="12"/>
                    <a:pt x="14" y="12"/>
                  </a:cubicBezTo>
                  <a:cubicBezTo>
                    <a:pt x="14" y="12"/>
                    <a:pt x="14" y="12"/>
                    <a:pt x="14" y="12"/>
                  </a:cubicBezTo>
                  <a:cubicBezTo>
                    <a:pt x="14" y="13"/>
                    <a:pt x="14" y="13"/>
                    <a:pt x="14" y="13"/>
                  </a:cubicBezTo>
                  <a:cubicBezTo>
                    <a:pt x="13" y="13"/>
                    <a:pt x="13" y="13"/>
                    <a:pt x="12" y="14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0" y="16"/>
                    <a:pt x="8" y="19"/>
                    <a:pt x="6" y="21"/>
                  </a:cubicBezTo>
                  <a:cubicBezTo>
                    <a:pt x="6" y="21"/>
                    <a:pt x="6" y="21"/>
                    <a:pt x="6" y="21"/>
                  </a:cubicBezTo>
                  <a:cubicBezTo>
                    <a:pt x="6" y="21"/>
                    <a:pt x="6" y="21"/>
                    <a:pt x="6" y="21"/>
                  </a:cubicBezTo>
                  <a:cubicBezTo>
                    <a:pt x="6" y="22"/>
                    <a:pt x="6" y="22"/>
                    <a:pt x="6" y="22"/>
                  </a:cubicBezTo>
                  <a:cubicBezTo>
                    <a:pt x="5" y="22"/>
                    <a:pt x="5" y="23"/>
                    <a:pt x="4" y="24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3" y="26"/>
                    <a:pt x="3" y="27"/>
                  </a:cubicBezTo>
                  <a:cubicBezTo>
                    <a:pt x="3" y="28"/>
                    <a:pt x="3" y="28"/>
                    <a:pt x="3" y="28"/>
                  </a:cubicBezTo>
                  <a:cubicBezTo>
                    <a:pt x="2" y="29"/>
                    <a:pt x="2" y="30"/>
                    <a:pt x="2" y="31"/>
                  </a:cubicBezTo>
                  <a:cubicBezTo>
                    <a:pt x="2" y="31"/>
                    <a:pt x="2" y="31"/>
                    <a:pt x="2" y="31"/>
                  </a:cubicBezTo>
                  <a:cubicBezTo>
                    <a:pt x="1" y="32"/>
                    <a:pt x="1" y="33"/>
                    <a:pt x="1" y="34"/>
                  </a:cubicBezTo>
                  <a:cubicBezTo>
                    <a:pt x="1" y="35"/>
                    <a:pt x="1" y="35"/>
                    <a:pt x="1" y="35"/>
                  </a:cubicBezTo>
                  <a:cubicBezTo>
                    <a:pt x="1" y="35"/>
                    <a:pt x="1" y="36"/>
                    <a:pt x="0" y="37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0" y="39"/>
                    <a:pt x="0" y="40"/>
                    <a:pt x="0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42"/>
                    <a:pt x="0" y="43"/>
                    <a:pt x="0" y="44"/>
                  </a:cubicBezTo>
                  <a:cubicBezTo>
                    <a:pt x="0" y="45"/>
                    <a:pt x="0" y="45"/>
                    <a:pt x="0" y="45"/>
                  </a:cubicBezTo>
                  <a:cubicBezTo>
                    <a:pt x="1" y="46"/>
                    <a:pt x="1" y="46"/>
                    <a:pt x="1" y="47"/>
                  </a:cubicBezTo>
                  <a:cubicBezTo>
                    <a:pt x="1" y="48"/>
                    <a:pt x="1" y="48"/>
                    <a:pt x="1" y="48"/>
                  </a:cubicBezTo>
                  <a:cubicBezTo>
                    <a:pt x="1" y="49"/>
                    <a:pt x="1" y="50"/>
                    <a:pt x="2" y="51"/>
                  </a:cubicBezTo>
                  <a:cubicBezTo>
                    <a:pt x="2" y="51"/>
                    <a:pt x="2" y="51"/>
                    <a:pt x="2" y="51"/>
                  </a:cubicBezTo>
                  <a:cubicBezTo>
                    <a:pt x="2" y="52"/>
                    <a:pt x="2" y="53"/>
                    <a:pt x="3" y="54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4" y="56"/>
                    <a:pt x="4" y="56"/>
                    <a:pt x="4" y="57"/>
                  </a:cubicBezTo>
                  <a:cubicBezTo>
                    <a:pt x="5" y="58"/>
                    <a:pt x="5" y="58"/>
                    <a:pt x="5" y="58"/>
                  </a:cubicBezTo>
                  <a:cubicBezTo>
                    <a:pt x="5" y="59"/>
                    <a:pt x="6" y="60"/>
                    <a:pt x="6" y="61"/>
                  </a:cubicBezTo>
                  <a:cubicBezTo>
                    <a:pt x="10" y="66"/>
                    <a:pt x="14" y="70"/>
                    <a:pt x="20" y="72"/>
                  </a:cubicBezTo>
                  <a:cubicBezTo>
                    <a:pt x="21" y="73"/>
                    <a:pt x="22" y="73"/>
                    <a:pt x="23" y="74"/>
                  </a:cubicBezTo>
                  <a:cubicBezTo>
                    <a:pt x="24" y="74"/>
                    <a:pt x="25" y="75"/>
                    <a:pt x="26" y="75"/>
                  </a:cubicBezTo>
                  <a:cubicBezTo>
                    <a:pt x="27" y="75"/>
                    <a:pt x="28" y="76"/>
                    <a:pt x="29" y="76"/>
                  </a:cubicBezTo>
                  <a:cubicBezTo>
                    <a:pt x="32" y="76"/>
                    <a:pt x="34" y="76"/>
                    <a:pt x="36" y="76"/>
                  </a:cubicBezTo>
                  <a:cubicBezTo>
                    <a:pt x="42" y="76"/>
                    <a:pt x="47" y="75"/>
                    <a:pt x="52" y="73"/>
                  </a:cubicBezTo>
                  <a:cubicBezTo>
                    <a:pt x="52" y="73"/>
                    <a:pt x="52" y="73"/>
                    <a:pt x="52" y="73"/>
                  </a:cubicBezTo>
                  <a:cubicBezTo>
                    <a:pt x="52" y="72"/>
                    <a:pt x="52" y="72"/>
                    <a:pt x="52" y="72"/>
                  </a:cubicBezTo>
                  <a:cubicBezTo>
                    <a:pt x="53" y="72"/>
                    <a:pt x="54" y="72"/>
                    <a:pt x="54" y="71"/>
                  </a:cubicBezTo>
                  <a:cubicBezTo>
                    <a:pt x="54" y="71"/>
                    <a:pt x="54" y="71"/>
                    <a:pt x="54" y="71"/>
                  </a:cubicBezTo>
                  <a:cubicBezTo>
                    <a:pt x="54" y="71"/>
                    <a:pt x="54" y="71"/>
                    <a:pt x="54" y="71"/>
                  </a:cubicBezTo>
                  <a:cubicBezTo>
                    <a:pt x="55" y="71"/>
                    <a:pt x="55" y="71"/>
                    <a:pt x="55" y="71"/>
                  </a:cubicBezTo>
                  <a:cubicBezTo>
                    <a:pt x="55" y="71"/>
                    <a:pt x="55" y="71"/>
                    <a:pt x="55" y="71"/>
                  </a:cubicBezTo>
                  <a:cubicBezTo>
                    <a:pt x="55" y="71"/>
                    <a:pt x="55" y="71"/>
                    <a:pt x="55" y="71"/>
                  </a:cubicBezTo>
                  <a:cubicBezTo>
                    <a:pt x="56" y="70"/>
                    <a:pt x="56" y="70"/>
                    <a:pt x="56" y="70"/>
                  </a:cubicBezTo>
                  <a:cubicBezTo>
                    <a:pt x="57" y="70"/>
                    <a:pt x="57" y="69"/>
                    <a:pt x="58" y="69"/>
                  </a:cubicBezTo>
                  <a:cubicBezTo>
                    <a:pt x="58" y="69"/>
                    <a:pt x="58" y="69"/>
                    <a:pt x="58" y="69"/>
                  </a:cubicBezTo>
                  <a:cubicBezTo>
                    <a:pt x="59" y="68"/>
                    <a:pt x="59" y="68"/>
                    <a:pt x="59" y="68"/>
                  </a:cubicBezTo>
                  <a:lnTo>
                    <a:pt x="60" y="68"/>
                  </a:lnTo>
                  <a:close/>
                </a:path>
              </a:pathLst>
            </a:custGeom>
            <a:solidFill>
              <a:srgbClr val="D9D8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5" name="îŝľîḍê">
              <a:extLst>
                <a:ext uri="{FF2B5EF4-FFF2-40B4-BE49-F238E27FC236}">
                  <a16:creationId xmlns:a16="http://schemas.microsoft.com/office/drawing/2014/main" id="{766E841D-5C1E-4A32-8100-933F45D29214}"/>
                </a:ext>
              </a:extLst>
            </p:cNvPr>
            <p:cNvSpPr/>
            <p:nvPr userDrawn="1"/>
          </p:nvSpPr>
          <p:spPr bwMode="auto">
            <a:xfrm>
              <a:off x="5843588" y="1662113"/>
              <a:ext cx="138113" cy="136525"/>
            </a:xfrm>
            <a:custGeom>
              <a:avLst/>
              <a:gdLst>
                <a:gd name="T0" fmla="*/ 73 w 81"/>
                <a:gd name="T1" fmla="*/ 55 h 81"/>
                <a:gd name="T2" fmla="*/ 27 w 81"/>
                <a:gd name="T3" fmla="*/ 74 h 81"/>
                <a:gd name="T4" fmla="*/ 7 w 81"/>
                <a:gd name="T5" fmla="*/ 27 h 81"/>
                <a:gd name="T6" fmla="*/ 54 w 81"/>
                <a:gd name="T7" fmla="*/ 8 h 81"/>
                <a:gd name="T8" fmla="*/ 73 w 81"/>
                <a:gd name="T9" fmla="*/ 55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1" h="81">
                  <a:moveTo>
                    <a:pt x="73" y="55"/>
                  </a:moveTo>
                  <a:cubicBezTo>
                    <a:pt x="66" y="73"/>
                    <a:pt x="45" y="81"/>
                    <a:pt x="27" y="74"/>
                  </a:cubicBezTo>
                  <a:cubicBezTo>
                    <a:pt x="8" y="66"/>
                    <a:pt x="0" y="45"/>
                    <a:pt x="7" y="27"/>
                  </a:cubicBezTo>
                  <a:cubicBezTo>
                    <a:pt x="15" y="9"/>
                    <a:pt x="36" y="0"/>
                    <a:pt x="54" y="8"/>
                  </a:cubicBezTo>
                  <a:cubicBezTo>
                    <a:pt x="72" y="15"/>
                    <a:pt x="81" y="36"/>
                    <a:pt x="73" y="55"/>
                  </a:cubicBezTo>
                  <a:close/>
                </a:path>
              </a:pathLst>
            </a:custGeom>
            <a:solidFill>
              <a:srgbClr val="FF787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6" name="isḷîḓê">
              <a:extLst>
                <a:ext uri="{FF2B5EF4-FFF2-40B4-BE49-F238E27FC236}">
                  <a16:creationId xmlns:a16="http://schemas.microsoft.com/office/drawing/2014/main" id="{F2307462-2997-43AC-8B33-4848AC4A8B80}"/>
                </a:ext>
              </a:extLst>
            </p:cNvPr>
            <p:cNvSpPr/>
            <p:nvPr userDrawn="1"/>
          </p:nvSpPr>
          <p:spPr bwMode="auto">
            <a:xfrm>
              <a:off x="5853113" y="1717675"/>
              <a:ext cx="120650" cy="80963"/>
            </a:xfrm>
            <a:custGeom>
              <a:avLst/>
              <a:gdLst>
                <a:gd name="T0" fmla="*/ 70 w 72"/>
                <a:gd name="T1" fmla="*/ 0 h 48"/>
                <a:gd name="T2" fmla="*/ 68 w 72"/>
                <a:gd name="T3" fmla="*/ 14 h 48"/>
                <a:gd name="T4" fmla="*/ 21 w 72"/>
                <a:gd name="T5" fmla="*/ 33 h 48"/>
                <a:gd name="T6" fmla="*/ 0 w 72"/>
                <a:gd name="T7" fmla="*/ 8 h 48"/>
                <a:gd name="T8" fmla="*/ 22 w 72"/>
                <a:gd name="T9" fmla="*/ 41 h 48"/>
                <a:gd name="T10" fmla="*/ 68 w 72"/>
                <a:gd name="T11" fmla="*/ 22 h 48"/>
                <a:gd name="T12" fmla="*/ 70 w 72"/>
                <a:gd name="T13" fmla="*/ 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2" h="48">
                  <a:moveTo>
                    <a:pt x="70" y="0"/>
                  </a:moveTo>
                  <a:cubicBezTo>
                    <a:pt x="70" y="5"/>
                    <a:pt x="69" y="9"/>
                    <a:pt x="68" y="14"/>
                  </a:cubicBezTo>
                  <a:cubicBezTo>
                    <a:pt x="60" y="32"/>
                    <a:pt x="39" y="41"/>
                    <a:pt x="21" y="33"/>
                  </a:cubicBezTo>
                  <a:cubicBezTo>
                    <a:pt x="10" y="28"/>
                    <a:pt x="2" y="19"/>
                    <a:pt x="0" y="8"/>
                  </a:cubicBezTo>
                  <a:cubicBezTo>
                    <a:pt x="0" y="22"/>
                    <a:pt x="8" y="35"/>
                    <a:pt x="22" y="41"/>
                  </a:cubicBezTo>
                  <a:cubicBezTo>
                    <a:pt x="40" y="48"/>
                    <a:pt x="61" y="40"/>
                    <a:pt x="68" y="22"/>
                  </a:cubicBezTo>
                  <a:cubicBezTo>
                    <a:pt x="71" y="14"/>
                    <a:pt x="72" y="7"/>
                    <a:pt x="70" y="0"/>
                  </a:cubicBezTo>
                  <a:close/>
                </a:path>
              </a:pathLst>
            </a:custGeom>
            <a:solidFill>
              <a:srgbClr val="F56E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7" name="îṡļídé">
              <a:extLst>
                <a:ext uri="{FF2B5EF4-FFF2-40B4-BE49-F238E27FC236}">
                  <a16:creationId xmlns:a16="http://schemas.microsoft.com/office/drawing/2014/main" id="{ACD67455-9637-49E0-8A1C-0A82B1209D77}"/>
                </a:ext>
              </a:extLst>
            </p:cNvPr>
            <p:cNvSpPr/>
            <p:nvPr userDrawn="1"/>
          </p:nvSpPr>
          <p:spPr bwMode="auto">
            <a:xfrm>
              <a:off x="5854700" y="1708150"/>
              <a:ext cx="112713" cy="53975"/>
            </a:xfrm>
            <a:custGeom>
              <a:avLst/>
              <a:gdLst>
                <a:gd name="T0" fmla="*/ 1 w 67"/>
                <a:gd name="T1" fmla="*/ 1 h 32"/>
                <a:gd name="T2" fmla="*/ 0 w 67"/>
                <a:gd name="T3" fmla="*/ 4 h 32"/>
                <a:gd name="T4" fmla="*/ 65 w 67"/>
                <a:gd name="T5" fmla="*/ 32 h 32"/>
                <a:gd name="T6" fmla="*/ 67 w 67"/>
                <a:gd name="T7" fmla="*/ 29 h 32"/>
                <a:gd name="T8" fmla="*/ 67 w 67"/>
                <a:gd name="T9" fmla="*/ 28 h 32"/>
                <a:gd name="T10" fmla="*/ 2 w 67"/>
                <a:gd name="T11" fmla="*/ 0 h 32"/>
                <a:gd name="T12" fmla="*/ 1 w 67"/>
                <a:gd name="T13" fmla="*/ 1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7" h="32">
                  <a:moveTo>
                    <a:pt x="1" y="1"/>
                  </a:moveTo>
                  <a:cubicBezTo>
                    <a:pt x="1" y="2"/>
                    <a:pt x="0" y="3"/>
                    <a:pt x="0" y="4"/>
                  </a:cubicBezTo>
                  <a:cubicBezTo>
                    <a:pt x="65" y="32"/>
                    <a:pt x="65" y="32"/>
                    <a:pt x="65" y="32"/>
                  </a:cubicBezTo>
                  <a:cubicBezTo>
                    <a:pt x="66" y="31"/>
                    <a:pt x="66" y="30"/>
                    <a:pt x="67" y="29"/>
                  </a:cubicBezTo>
                  <a:cubicBezTo>
                    <a:pt x="67" y="28"/>
                    <a:pt x="67" y="28"/>
                    <a:pt x="67" y="28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1" y="1"/>
                    <a:pt x="1" y="1"/>
                  </a:cubicBezTo>
                  <a:close/>
                </a:path>
              </a:pathLst>
            </a:custGeom>
            <a:solidFill>
              <a:srgbClr val="F56E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8" name="iṣ1iḑé">
              <a:extLst>
                <a:ext uri="{FF2B5EF4-FFF2-40B4-BE49-F238E27FC236}">
                  <a16:creationId xmlns:a16="http://schemas.microsoft.com/office/drawing/2014/main" id="{F2D68551-394F-436A-A387-19E4636E8A91}"/>
                </a:ext>
              </a:extLst>
            </p:cNvPr>
            <p:cNvSpPr/>
            <p:nvPr userDrawn="1"/>
          </p:nvSpPr>
          <p:spPr bwMode="auto">
            <a:xfrm>
              <a:off x="5856288" y="1704975"/>
              <a:ext cx="112713" cy="53975"/>
            </a:xfrm>
            <a:custGeom>
              <a:avLst/>
              <a:gdLst>
                <a:gd name="T0" fmla="*/ 0 w 67"/>
                <a:gd name="T1" fmla="*/ 2 h 32"/>
                <a:gd name="T2" fmla="*/ 0 w 67"/>
                <a:gd name="T3" fmla="*/ 4 h 32"/>
                <a:gd name="T4" fmla="*/ 65 w 67"/>
                <a:gd name="T5" fmla="*/ 32 h 32"/>
                <a:gd name="T6" fmla="*/ 66 w 67"/>
                <a:gd name="T7" fmla="*/ 30 h 32"/>
                <a:gd name="T8" fmla="*/ 67 w 67"/>
                <a:gd name="T9" fmla="*/ 27 h 32"/>
                <a:gd name="T10" fmla="*/ 1 w 67"/>
                <a:gd name="T11" fmla="*/ 0 h 32"/>
                <a:gd name="T12" fmla="*/ 0 w 67"/>
                <a:gd name="T13" fmla="*/ 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7" h="32">
                  <a:moveTo>
                    <a:pt x="0" y="2"/>
                  </a:moveTo>
                  <a:cubicBezTo>
                    <a:pt x="0" y="3"/>
                    <a:pt x="0" y="3"/>
                    <a:pt x="0" y="4"/>
                  </a:cubicBezTo>
                  <a:cubicBezTo>
                    <a:pt x="65" y="32"/>
                    <a:pt x="65" y="32"/>
                    <a:pt x="65" y="32"/>
                  </a:cubicBezTo>
                  <a:cubicBezTo>
                    <a:pt x="66" y="31"/>
                    <a:pt x="66" y="30"/>
                    <a:pt x="66" y="30"/>
                  </a:cubicBezTo>
                  <a:cubicBezTo>
                    <a:pt x="67" y="29"/>
                    <a:pt x="67" y="28"/>
                    <a:pt x="67" y="27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1"/>
                    <a:pt x="1" y="1"/>
                    <a:pt x="0" y="2"/>
                  </a:cubicBezTo>
                  <a:close/>
                </a:path>
              </a:pathLst>
            </a:custGeom>
            <a:solidFill>
              <a:srgbClr val="E54C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9" name="í$ļïḓè">
              <a:extLst>
                <a:ext uri="{FF2B5EF4-FFF2-40B4-BE49-F238E27FC236}">
                  <a16:creationId xmlns:a16="http://schemas.microsoft.com/office/drawing/2014/main" id="{7DBA0679-B59F-40D6-82AC-890AD5AACE28}"/>
                </a:ext>
              </a:extLst>
            </p:cNvPr>
            <p:cNvSpPr/>
            <p:nvPr userDrawn="1"/>
          </p:nvSpPr>
          <p:spPr bwMode="auto">
            <a:xfrm>
              <a:off x="6008688" y="1736725"/>
              <a:ext cx="122238" cy="128588"/>
            </a:xfrm>
            <a:custGeom>
              <a:avLst/>
              <a:gdLst>
                <a:gd name="T0" fmla="*/ 61 w 73"/>
                <a:gd name="T1" fmla="*/ 66 h 76"/>
                <a:gd name="T2" fmla="*/ 63 w 73"/>
                <a:gd name="T3" fmla="*/ 63 h 76"/>
                <a:gd name="T4" fmla="*/ 66 w 73"/>
                <a:gd name="T5" fmla="*/ 60 h 76"/>
                <a:gd name="T6" fmla="*/ 67 w 73"/>
                <a:gd name="T7" fmla="*/ 57 h 76"/>
                <a:gd name="T8" fmla="*/ 69 w 73"/>
                <a:gd name="T9" fmla="*/ 54 h 76"/>
                <a:gd name="T10" fmla="*/ 69 w 73"/>
                <a:gd name="T11" fmla="*/ 53 h 76"/>
                <a:gd name="T12" fmla="*/ 65 w 73"/>
                <a:gd name="T13" fmla="*/ 20 h 76"/>
                <a:gd name="T14" fmla="*/ 18 w 73"/>
                <a:gd name="T15" fmla="*/ 10 h 76"/>
                <a:gd name="T16" fmla="*/ 15 w 73"/>
                <a:gd name="T17" fmla="*/ 12 h 76"/>
                <a:gd name="T18" fmla="*/ 14 w 73"/>
                <a:gd name="T19" fmla="*/ 12 h 76"/>
                <a:gd name="T20" fmla="*/ 14 w 73"/>
                <a:gd name="T21" fmla="*/ 12 h 76"/>
                <a:gd name="T22" fmla="*/ 12 w 73"/>
                <a:gd name="T23" fmla="*/ 14 h 76"/>
                <a:gd name="T24" fmla="*/ 12 w 73"/>
                <a:gd name="T25" fmla="*/ 14 h 76"/>
                <a:gd name="T26" fmla="*/ 6 w 73"/>
                <a:gd name="T27" fmla="*/ 21 h 76"/>
                <a:gd name="T28" fmla="*/ 6 w 73"/>
                <a:gd name="T29" fmla="*/ 21 h 76"/>
                <a:gd name="T30" fmla="*/ 4 w 73"/>
                <a:gd name="T31" fmla="*/ 25 h 76"/>
                <a:gd name="T32" fmla="*/ 3 w 73"/>
                <a:gd name="T33" fmla="*/ 28 h 76"/>
                <a:gd name="T34" fmla="*/ 1 w 73"/>
                <a:gd name="T35" fmla="*/ 31 h 76"/>
                <a:gd name="T36" fmla="*/ 1 w 73"/>
                <a:gd name="T37" fmla="*/ 34 h 76"/>
                <a:gd name="T38" fmla="*/ 0 w 73"/>
                <a:gd name="T39" fmla="*/ 38 h 76"/>
                <a:gd name="T40" fmla="*/ 0 w 73"/>
                <a:gd name="T41" fmla="*/ 41 h 76"/>
                <a:gd name="T42" fmla="*/ 0 w 73"/>
                <a:gd name="T43" fmla="*/ 45 h 76"/>
                <a:gd name="T44" fmla="*/ 1 w 73"/>
                <a:gd name="T45" fmla="*/ 48 h 76"/>
                <a:gd name="T46" fmla="*/ 2 w 73"/>
                <a:gd name="T47" fmla="*/ 51 h 76"/>
                <a:gd name="T48" fmla="*/ 3 w 73"/>
                <a:gd name="T49" fmla="*/ 55 h 76"/>
                <a:gd name="T50" fmla="*/ 5 w 73"/>
                <a:gd name="T51" fmla="*/ 58 h 76"/>
                <a:gd name="T52" fmla="*/ 20 w 73"/>
                <a:gd name="T53" fmla="*/ 72 h 76"/>
                <a:gd name="T54" fmla="*/ 26 w 73"/>
                <a:gd name="T55" fmla="*/ 75 h 76"/>
                <a:gd name="T56" fmla="*/ 36 w 73"/>
                <a:gd name="T57" fmla="*/ 76 h 76"/>
                <a:gd name="T58" fmla="*/ 52 w 73"/>
                <a:gd name="T59" fmla="*/ 72 h 76"/>
                <a:gd name="T60" fmla="*/ 54 w 73"/>
                <a:gd name="T61" fmla="*/ 71 h 76"/>
                <a:gd name="T62" fmla="*/ 54 w 73"/>
                <a:gd name="T63" fmla="*/ 71 h 76"/>
                <a:gd name="T64" fmla="*/ 55 w 73"/>
                <a:gd name="T65" fmla="*/ 71 h 76"/>
                <a:gd name="T66" fmla="*/ 56 w 73"/>
                <a:gd name="T67" fmla="*/ 70 h 76"/>
                <a:gd name="T68" fmla="*/ 58 w 73"/>
                <a:gd name="T69" fmla="*/ 69 h 76"/>
                <a:gd name="T70" fmla="*/ 59 w 73"/>
                <a:gd name="T71" fmla="*/ 67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73" h="76">
                  <a:moveTo>
                    <a:pt x="59" y="67"/>
                  </a:moveTo>
                  <a:cubicBezTo>
                    <a:pt x="60" y="67"/>
                    <a:pt x="61" y="66"/>
                    <a:pt x="61" y="66"/>
                  </a:cubicBezTo>
                  <a:cubicBezTo>
                    <a:pt x="62" y="65"/>
                    <a:pt x="62" y="65"/>
                    <a:pt x="62" y="65"/>
                  </a:cubicBezTo>
                  <a:cubicBezTo>
                    <a:pt x="62" y="64"/>
                    <a:pt x="63" y="64"/>
                    <a:pt x="63" y="63"/>
                  </a:cubicBezTo>
                  <a:cubicBezTo>
                    <a:pt x="64" y="62"/>
                    <a:pt x="64" y="62"/>
                    <a:pt x="64" y="62"/>
                  </a:cubicBezTo>
                  <a:cubicBezTo>
                    <a:pt x="65" y="62"/>
                    <a:pt x="65" y="61"/>
                    <a:pt x="66" y="60"/>
                  </a:cubicBezTo>
                  <a:cubicBezTo>
                    <a:pt x="66" y="59"/>
                    <a:pt x="66" y="59"/>
                    <a:pt x="66" y="59"/>
                  </a:cubicBezTo>
                  <a:cubicBezTo>
                    <a:pt x="67" y="58"/>
                    <a:pt x="67" y="58"/>
                    <a:pt x="67" y="57"/>
                  </a:cubicBezTo>
                  <a:cubicBezTo>
                    <a:pt x="68" y="57"/>
                    <a:pt x="68" y="56"/>
                    <a:pt x="68" y="56"/>
                  </a:cubicBezTo>
                  <a:cubicBezTo>
                    <a:pt x="68" y="56"/>
                    <a:pt x="69" y="55"/>
                    <a:pt x="69" y="54"/>
                  </a:cubicBezTo>
                  <a:cubicBezTo>
                    <a:pt x="69" y="54"/>
                    <a:pt x="69" y="54"/>
                    <a:pt x="69" y="53"/>
                  </a:cubicBezTo>
                  <a:cubicBezTo>
                    <a:pt x="69" y="53"/>
                    <a:pt x="69" y="53"/>
                    <a:pt x="69" y="53"/>
                  </a:cubicBezTo>
                  <a:cubicBezTo>
                    <a:pt x="69" y="53"/>
                    <a:pt x="69" y="53"/>
                    <a:pt x="69" y="53"/>
                  </a:cubicBezTo>
                  <a:cubicBezTo>
                    <a:pt x="73" y="42"/>
                    <a:pt x="72" y="30"/>
                    <a:pt x="65" y="20"/>
                  </a:cubicBezTo>
                  <a:cubicBezTo>
                    <a:pt x="55" y="5"/>
                    <a:pt x="34" y="0"/>
                    <a:pt x="18" y="10"/>
                  </a:cubicBezTo>
                  <a:cubicBezTo>
                    <a:pt x="18" y="10"/>
                    <a:pt x="18" y="10"/>
                    <a:pt x="18" y="10"/>
                  </a:cubicBezTo>
                  <a:cubicBezTo>
                    <a:pt x="17" y="10"/>
                    <a:pt x="16" y="10"/>
                    <a:pt x="16" y="11"/>
                  </a:cubicBezTo>
                  <a:cubicBezTo>
                    <a:pt x="15" y="12"/>
                    <a:pt x="15" y="12"/>
                    <a:pt x="15" y="12"/>
                  </a:cubicBezTo>
                  <a:cubicBezTo>
                    <a:pt x="15" y="12"/>
                    <a:pt x="15" y="12"/>
                    <a:pt x="15" y="12"/>
                  </a:cubicBezTo>
                  <a:cubicBezTo>
                    <a:pt x="14" y="12"/>
                    <a:pt x="14" y="12"/>
                    <a:pt x="14" y="12"/>
                  </a:cubicBezTo>
                  <a:cubicBezTo>
                    <a:pt x="14" y="12"/>
                    <a:pt x="14" y="12"/>
                    <a:pt x="14" y="12"/>
                  </a:cubicBezTo>
                  <a:cubicBezTo>
                    <a:pt x="14" y="12"/>
                    <a:pt x="14" y="12"/>
                    <a:pt x="14" y="12"/>
                  </a:cubicBezTo>
                  <a:cubicBezTo>
                    <a:pt x="14" y="12"/>
                    <a:pt x="14" y="12"/>
                    <a:pt x="14" y="12"/>
                  </a:cubicBezTo>
                  <a:cubicBezTo>
                    <a:pt x="13" y="13"/>
                    <a:pt x="13" y="13"/>
                    <a:pt x="12" y="14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0" y="16"/>
                    <a:pt x="8" y="18"/>
                    <a:pt x="6" y="21"/>
                  </a:cubicBezTo>
                  <a:cubicBezTo>
                    <a:pt x="6" y="21"/>
                    <a:pt x="6" y="21"/>
                    <a:pt x="6" y="21"/>
                  </a:cubicBezTo>
                  <a:cubicBezTo>
                    <a:pt x="6" y="21"/>
                    <a:pt x="6" y="21"/>
                    <a:pt x="6" y="21"/>
                  </a:cubicBezTo>
                  <a:cubicBezTo>
                    <a:pt x="6" y="21"/>
                    <a:pt x="6" y="21"/>
                    <a:pt x="6" y="21"/>
                  </a:cubicBezTo>
                  <a:cubicBezTo>
                    <a:pt x="5" y="22"/>
                    <a:pt x="5" y="23"/>
                    <a:pt x="4" y="24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3" y="26"/>
                    <a:pt x="3" y="27"/>
                  </a:cubicBezTo>
                  <a:cubicBezTo>
                    <a:pt x="3" y="28"/>
                    <a:pt x="3" y="28"/>
                    <a:pt x="3" y="28"/>
                  </a:cubicBezTo>
                  <a:cubicBezTo>
                    <a:pt x="2" y="28"/>
                    <a:pt x="2" y="29"/>
                    <a:pt x="2" y="30"/>
                  </a:cubicBezTo>
                  <a:cubicBezTo>
                    <a:pt x="1" y="31"/>
                    <a:pt x="1" y="31"/>
                    <a:pt x="1" y="31"/>
                  </a:cubicBezTo>
                  <a:cubicBezTo>
                    <a:pt x="1" y="32"/>
                    <a:pt x="1" y="32"/>
                    <a:pt x="1" y="33"/>
                  </a:cubicBezTo>
                  <a:cubicBezTo>
                    <a:pt x="1" y="34"/>
                    <a:pt x="1" y="34"/>
                    <a:pt x="1" y="34"/>
                  </a:cubicBezTo>
                  <a:cubicBezTo>
                    <a:pt x="1" y="35"/>
                    <a:pt x="0" y="36"/>
                    <a:pt x="0" y="37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0" y="39"/>
                    <a:pt x="0" y="40"/>
                    <a:pt x="0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42"/>
                    <a:pt x="0" y="43"/>
                    <a:pt x="0" y="44"/>
                  </a:cubicBezTo>
                  <a:cubicBezTo>
                    <a:pt x="0" y="45"/>
                    <a:pt x="0" y="45"/>
                    <a:pt x="0" y="45"/>
                  </a:cubicBezTo>
                  <a:cubicBezTo>
                    <a:pt x="0" y="45"/>
                    <a:pt x="1" y="46"/>
                    <a:pt x="1" y="47"/>
                  </a:cubicBezTo>
                  <a:cubicBezTo>
                    <a:pt x="1" y="48"/>
                    <a:pt x="1" y="48"/>
                    <a:pt x="1" y="48"/>
                  </a:cubicBezTo>
                  <a:cubicBezTo>
                    <a:pt x="1" y="49"/>
                    <a:pt x="1" y="50"/>
                    <a:pt x="2" y="51"/>
                  </a:cubicBezTo>
                  <a:cubicBezTo>
                    <a:pt x="2" y="51"/>
                    <a:pt x="2" y="51"/>
                    <a:pt x="2" y="51"/>
                  </a:cubicBezTo>
                  <a:cubicBezTo>
                    <a:pt x="2" y="52"/>
                    <a:pt x="2" y="53"/>
                    <a:pt x="3" y="54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4" y="56"/>
                    <a:pt x="4" y="57"/>
                  </a:cubicBezTo>
                  <a:cubicBezTo>
                    <a:pt x="5" y="58"/>
                    <a:pt x="5" y="58"/>
                    <a:pt x="5" y="58"/>
                  </a:cubicBezTo>
                  <a:cubicBezTo>
                    <a:pt x="5" y="59"/>
                    <a:pt x="6" y="60"/>
                    <a:pt x="6" y="61"/>
                  </a:cubicBezTo>
                  <a:cubicBezTo>
                    <a:pt x="10" y="66"/>
                    <a:pt x="14" y="70"/>
                    <a:pt x="20" y="72"/>
                  </a:cubicBezTo>
                  <a:cubicBezTo>
                    <a:pt x="21" y="73"/>
                    <a:pt x="22" y="73"/>
                    <a:pt x="23" y="74"/>
                  </a:cubicBezTo>
                  <a:cubicBezTo>
                    <a:pt x="24" y="74"/>
                    <a:pt x="25" y="74"/>
                    <a:pt x="26" y="75"/>
                  </a:cubicBezTo>
                  <a:cubicBezTo>
                    <a:pt x="27" y="75"/>
                    <a:pt x="28" y="75"/>
                    <a:pt x="29" y="76"/>
                  </a:cubicBezTo>
                  <a:cubicBezTo>
                    <a:pt x="31" y="76"/>
                    <a:pt x="34" y="76"/>
                    <a:pt x="36" y="76"/>
                  </a:cubicBezTo>
                  <a:cubicBezTo>
                    <a:pt x="41" y="76"/>
                    <a:pt x="47" y="75"/>
                    <a:pt x="52" y="72"/>
                  </a:cubicBezTo>
                  <a:cubicBezTo>
                    <a:pt x="52" y="72"/>
                    <a:pt x="52" y="72"/>
                    <a:pt x="52" y="72"/>
                  </a:cubicBezTo>
                  <a:cubicBezTo>
                    <a:pt x="52" y="72"/>
                    <a:pt x="52" y="72"/>
                    <a:pt x="52" y="72"/>
                  </a:cubicBezTo>
                  <a:cubicBezTo>
                    <a:pt x="53" y="72"/>
                    <a:pt x="53" y="72"/>
                    <a:pt x="54" y="71"/>
                  </a:cubicBezTo>
                  <a:cubicBezTo>
                    <a:pt x="54" y="71"/>
                    <a:pt x="54" y="71"/>
                    <a:pt x="54" y="71"/>
                  </a:cubicBezTo>
                  <a:cubicBezTo>
                    <a:pt x="54" y="71"/>
                    <a:pt x="54" y="71"/>
                    <a:pt x="54" y="71"/>
                  </a:cubicBezTo>
                  <a:cubicBezTo>
                    <a:pt x="55" y="71"/>
                    <a:pt x="55" y="71"/>
                    <a:pt x="55" y="71"/>
                  </a:cubicBezTo>
                  <a:cubicBezTo>
                    <a:pt x="55" y="71"/>
                    <a:pt x="55" y="71"/>
                    <a:pt x="55" y="71"/>
                  </a:cubicBezTo>
                  <a:cubicBezTo>
                    <a:pt x="55" y="71"/>
                    <a:pt x="55" y="71"/>
                    <a:pt x="55" y="71"/>
                  </a:cubicBezTo>
                  <a:cubicBezTo>
                    <a:pt x="56" y="70"/>
                    <a:pt x="56" y="70"/>
                    <a:pt x="56" y="70"/>
                  </a:cubicBezTo>
                  <a:cubicBezTo>
                    <a:pt x="57" y="70"/>
                    <a:pt x="57" y="69"/>
                    <a:pt x="58" y="69"/>
                  </a:cubicBezTo>
                  <a:cubicBezTo>
                    <a:pt x="58" y="69"/>
                    <a:pt x="58" y="69"/>
                    <a:pt x="58" y="69"/>
                  </a:cubicBezTo>
                  <a:cubicBezTo>
                    <a:pt x="59" y="68"/>
                    <a:pt x="59" y="68"/>
                    <a:pt x="59" y="68"/>
                  </a:cubicBezTo>
                  <a:lnTo>
                    <a:pt x="59" y="67"/>
                  </a:lnTo>
                  <a:close/>
                </a:path>
              </a:pathLst>
            </a:custGeom>
            <a:solidFill>
              <a:srgbClr val="D9D8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0" name="iṧḷiḍe">
              <a:extLst>
                <a:ext uri="{FF2B5EF4-FFF2-40B4-BE49-F238E27FC236}">
                  <a16:creationId xmlns:a16="http://schemas.microsoft.com/office/drawing/2014/main" id="{A9A9DA69-8710-4A9A-B67D-4E64195EA7CB}"/>
                </a:ext>
              </a:extLst>
            </p:cNvPr>
            <p:cNvSpPr/>
            <p:nvPr userDrawn="1"/>
          </p:nvSpPr>
          <p:spPr bwMode="auto">
            <a:xfrm>
              <a:off x="5994400" y="1725613"/>
              <a:ext cx="136525" cy="136525"/>
            </a:xfrm>
            <a:custGeom>
              <a:avLst/>
              <a:gdLst>
                <a:gd name="T0" fmla="*/ 73 w 81"/>
                <a:gd name="T1" fmla="*/ 54 h 81"/>
                <a:gd name="T2" fmla="*/ 26 w 81"/>
                <a:gd name="T3" fmla="*/ 74 h 81"/>
                <a:gd name="T4" fmla="*/ 7 w 81"/>
                <a:gd name="T5" fmla="*/ 27 h 81"/>
                <a:gd name="T6" fmla="*/ 54 w 81"/>
                <a:gd name="T7" fmla="*/ 8 h 81"/>
                <a:gd name="T8" fmla="*/ 73 w 81"/>
                <a:gd name="T9" fmla="*/ 54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1" h="81">
                  <a:moveTo>
                    <a:pt x="73" y="54"/>
                  </a:moveTo>
                  <a:cubicBezTo>
                    <a:pt x="66" y="73"/>
                    <a:pt x="45" y="81"/>
                    <a:pt x="26" y="74"/>
                  </a:cubicBezTo>
                  <a:cubicBezTo>
                    <a:pt x="8" y="66"/>
                    <a:pt x="0" y="45"/>
                    <a:pt x="7" y="27"/>
                  </a:cubicBezTo>
                  <a:cubicBezTo>
                    <a:pt x="15" y="9"/>
                    <a:pt x="36" y="0"/>
                    <a:pt x="54" y="8"/>
                  </a:cubicBezTo>
                  <a:cubicBezTo>
                    <a:pt x="72" y="15"/>
                    <a:pt x="81" y="36"/>
                    <a:pt x="73" y="54"/>
                  </a:cubicBezTo>
                  <a:close/>
                </a:path>
              </a:pathLst>
            </a:custGeom>
            <a:solidFill>
              <a:srgbClr val="FF787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1" name="iṧḻiḑè">
              <a:extLst>
                <a:ext uri="{FF2B5EF4-FFF2-40B4-BE49-F238E27FC236}">
                  <a16:creationId xmlns:a16="http://schemas.microsoft.com/office/drawing/2014/main" id="{6DAB2531-311E-49A9-960B-91937FE93744}"/>
                </a:ext>
              </a:extLst>
            </p:cNvPr>
            <p:cNvSpPr/>
            <p:nvPr userDrawn="1"/>
          </p:nvSpPr>
          <p:spPr bwMode="auto">
            <a:xfrm>
              <a:off x="6002338" y="1781175"/>
              <a:ext cx="122238" cy="80963"/>
            </a:xfrm>
            <a:custGeom>
              <a:avLst/>
              <a:gdLst>
                <a:gd name="T0" fmla="*/ 70 w 72"/>
                <a:gd name="T1" fmla="*/ 0 h 48"/>
                <a:gd name="T2" fmla="*/ 67 w 72"/>
                <a:gd name="T3" fmla="*/ 14 h 48"/>
                <a:gd name="T4" fmla="*/ 21 w 72"/>
                <a:gd name="T5" fmla="*/ 33 h 48"/>
                <a:gd name="T6" fmla="*/ 0 w 72"/>
                <a:gd name="T7" fmla="*/ 8 h 48"/>
                <a:gd name="T8" fmla="*/ 21 w 72"/>
                <a:gd name="T9" fmla="*/ 41 h 48"/>
                <a:gd name="T10" fmla="*/ 68 w 72"/>
                <a:gd name="T11" fmla="*/ 21 h 48"/>
                <a:gd name="T12" fmla="*/ 70 w 72"/>
                <a:gd name="T13" fmla="*/ 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2" h="48">
                  <a:moveTo>
                    <a:pt x="70" y="0"/>
                  </a:moveTo>
                  <a:cubicBezTo>
                    <a:pt x="70" y="4"/>
                    <a:pt x="69" y="9"/>
                    <a:pt x="67" y="14"/>
                  </a:cubicBezTo>
                  <a:cubicBezTo>
                    <a:pt x="60" y="32"/>
                    <a:pt x="39" y="40"/>
                    <a:pt x="21" y="33"/>
                  </a:cubicBezTo>
                  <a:cubicBezTo>
                    <a:pt x="10" y="28"/>
                    <a:pt x="2" y="18"/>
                    <a:pt x="0" y="8"/>
                  </a:cubicBezTo>
                  <a:cubicBezTo>
                    <a:pt x="0" y="22"/>
                    <a:pt x="8" y="35"/>
                    <a:pt x="21" y="41"/>
                  </a:cubicBezTo>
                  <a:cubicBezTo>
                    <a:pt x="40" y="48"/>
                    <a:pt x="61" y="40"/>
                    <a:pt x="68" y="21"/>
                  </a:cubicBezTo>
                  <a:cubicBezTo>
                    <a:pt x="71" y="14"/>
                    <a:pt x="72" y="7"/>
                    <a:pt x="70" y="0"/>
                  </a:cubicBezTo>
                  <a:close/>
                </a:path>
              </a:pathLst>
            </a:custGeom>
            <a:solidFill>
              <a:srgbClr val="F56E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2" name="ïṡliďè">
              <a:extLst>
                <a:ext uri="{FF2B5EF4-FFF2-40B4-BE49-F238E27FC236}">
                  <a16:creationId xmlns:a16="http://schemas.microsoft.com/office/drawing/2014/main" id="{AFCCA0B8-30DE-44BB-9909-F4F6311D1277}"/>
                </a:ext>
              </a:extLst>
            </p:cNvPr>
            <p:cNvSpPr/>
            <p:nvPr userDrawn="1"/>
          </p:nvSpPr>
          <p:spPr bwMode="auto">
            <a:xfrm>
              <a:off x="6003925" y="1770063"/>
              <a:ext cx="114300" cy="53975"/>
            </a:xfrm>
            <a:custGeom>
              <a:avLst/>
              <a:gdLst>
                <a:gd name="T0" fmla="*/ 1 w 67"/>
                <a:gd name="T1" fmla="*/ 1 h 32"/>
                <a:gd name="T2" fmla="*/ 0 w 67"/>
                <a:gd name="T3" fmla="*/ 4 h 32"/>
                <a:gd name="T4" fmla="*/ 65 w 67"/>
                <a:gd name="T5" fmla="*/ 32 h 32"/>
                <a:gd name="T6" fmla="*/ 67 w 67"/>
                <a:gd name="T7" fmla="*/ 29 h 32"/>
                <a:gd name="T8" fmla="*/ 67 w 67"/>
                <a:gd name="T9" fmla="*/ 27 h 32"/>
                <a:gd name="T10" fmla="*/ 1 w 67"/>
                <a:gd name="T11" fmla="*/ 0 h 32"/>
                <a:gd name="T12" fmla="*/ 1 w 67"/>
                <a:gd name="T13" fmla="*/ 1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7" h="32">
                  <a:moveTo>
                    <a:pt x="1" y="1"/>
                  </a:moveTo>
                  <a:cubicBezTo>
                    <a:pt x="0" y="2"/>
                    <a:pt x="0" y="3"/>
                    <a:pt x="0" y="4"/>
                  </a:cubicBezTo>
                  <a:cubicBezTo>
                    <a:pt x="65" y="32"/>
                    <a:pt x="65" y="32"/>
                    <a:pt x="65" y="32"/>
                  </a:cubicBezTo>
                  <a:cubicBezTo>
                    <a:pt x="66" y="31"/>
                    <a:pt x="66" y="30"/>
                    <a:pt x="67" y="29"/>
                  </a:cubicBezTo>
                  <a:cubicBezTo>
                    <a:pt x="67" y="28"/>
                    <a:pt x="67" y="28"/>
                    <a:pt x="67" y="27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1"/>
                    <a:pt x="1" y="1"/>
                  </a:cubicBezTo>
                  <a:close/>
                </a:path>
              </a:pathLst>
            </a:custGeom>
            <a:solidFill>
              <a:srgbClr val="F56E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3" name="îṡľïdè">
              <a:extLst>
                <a:ext uri="{FF2B5EF4-FFF2-40B4-BE49-F238E27FC236}">
                  <a16:creationId xmlns:a16="http://schemas.microsoft.com/office/drawing/2014/main" id="{57045663-8C31-4265-9FF3-784A593B9D9C}"/>
                </a:ext>
              </a:extLst>
            </p:cNvPr>
            <p:cNvSpPr/>
            <p:nvPr userDrawn="1"/>
          </p:nvSpPr>
          <p:spPr bwMode="auto">
            <a:xfrm>
              <a:off x="6007100" y="1766888"/>
              <a:ext cx="112713" cy="53975"/>
            </a:xfrm>
            <a:custGeom>
              <a:avLst/>
              <a:gdLst>
                <a:gd name="T0" fmla="*/ 0 w 67"/>
                <a:gd name="T1" fmla="*/ 2 h 32"/>
                <a:gd name="T2" fmla="*/ 0 w 67"/>
                <a:gd name="T3" fmla="*/ 4 h 32"/>
                <a:gd name="T4" fmla="*/ 65 w 67"/>
                <a:gd name="T5" fmla="*/ 32 h 32"/>
                <a:gd name="T6" fmla="*/ 66 w 67"/>
                <a:gd name="T7" fmla="*/ 29 h 32"/>
                <a:gd name="T8" fmla="*/ 67 w 67"/>
                <a:gd name="T9" fmla="*/ 27 h 32"/>
                <a:gd name="T10" fmla="*/ 1 w 67"/>
                <a:gd name="T11" fmla="*/ 0 h 32"/>
                <a:gd name="T12" fmla="*/ 0 w 67"/>
                <a:gd name="T13" fmla="*/ 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7" h="32">
                  <a:moveTo>
                    <a:pt x="0" y="2"/>
                  </a:moveTo>
                  <a:cubicBezTo>
                    <a:pt x="0" y="2"/>
                    <a:pt x="0" y="3"/>
                    <a:pt x="0" y="4"/>
                  </a:cubicBezTo>
                  <a:cubicBezTo>
                    <a:pt x="65" y="32"/>
                    <a:pt x="65" y="32"/>
                    <a:pt x="65" y="32"/>
                  </a:cubicBezTo>
                  <a:cubicBezTo>
                    <a:pt x="66" y="31"/>
                    <a:pt x="66" y="30"/>
                    <a:pt x="66" y="29"/>
                  </a:cubicBezTo>
                  <a:cubicBezTo>
                    <a:pt x="67" y="29"/>
                    <a:pt x="67" y="28"/>
                    <a:pt x="67" y="27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1"/>
                    <a:pt x="0" y="2"/>
                  </a:cubicBezTo>
                  <a:close/>
                </a:path>
              </a:pathLst>
            </a:custGeom>
            <a:solidFill>
              <a:srgbClr val="E54C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4" name="iṥ1îḋe">
              <a:extLst>
                <a:ext uri="{FF2B5EF4-FFF2-40B4-BE49-F238E27FC236}">
                  <a16:creationId xmlns:a16="http://schemas.microsoft.com/office/drawing/2014/main" id="{AF7DDA5C-8943-4834-97AE-98C9608341ED}"/>
                </a:ext>
              </a:extLst>
            </p:cNvPr>
            <p:cNvSpPr/>
            <p:nvPr userDrawn="1"/>
          </p:nvSpPr>
          <p:spPr bwMode="auto">
            <a:xfrm>
              <a:off x="6924675" y="1322388"/>
              <a:ext cx="919163" cy="708025"/>
            </a:xfrm>
            <a:custGeom>
              <a:avLst/>
              <a:gdLst>
                <a:gd name="T0" fmla="*/ 415 w 543"/>
                <a:gd name="T1" fmla="*/ 10 h 419"/>
                <a:gd name="T2" fmla="*/ 26 w 543"/>
                <a:gd name="T3" fmla="*/ 215 h 419"/>
                <a:gd name="T4" fmla="*/ 10 w 543"/>
                <a:gd name="T5" fmla="*/ 266 h 419"/>
                <a:gd name="T6" fmla="*/ 78 w 543"/>
                <a:gd name="T7" fmla="*/ 394 h 419"/>
                <a:gd name="T8" fmla="*/ 128 w 543"/>
                <a:gd name="T9" fmla="*/ 409 h 419"/>
                <a:gd name="T10" fmla="*/ 518 w 543"/>
                <a:gd name="T11" fmla="*/ 204 h 419"/>
                <a:gd name="T12" fmla="*/ 533 w 543"/>
                <a:gd name="T13" fmla="*/ 153 h 419"/>
                <a:gd name="T14" fmla="*/ 465 w 543"/>
                <a:gd name="T15" fmla="*/ 25 h 419"/>
                <a:gd name="T16" fmla="*/ 415 w 543"/>
                <a:gd name="T17" fmla="*/ 10 h 4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3" h="419">
                  <a:moveTo>
                    <a:pt x="415" y="10"/>
                  </a:moveTo>
                  <a:cubicBezTo>
                    <a:pt x="26" y="215"/>
                    <a:pt x="26" y="215"/>
                    <a:pt x="26" y="215"/>
                  </a:cubicBezTo>
                  <a:cubicBezTo>
                    <a:pt x="7" y="225"/>
                    <a:pt x="0" y="248"/>
                    <a:pt x="10" y="266"/>
                  </a:cubicBezTo>
                  <a:cubicBezTo>
                    <a:pt x="78" y="394"/>
                    <a:pt x="78" y="394"/>
                    <a:pt x="78" y="394"/>
                  </a:cubicBezTo>
                  <a:cubicBezTo>
                    <a:pt x="87" y="412"/>
                    <a:pt x="110" y="419"/>
                    <a:pt x="128" y="409"/>
                  </a:cubicBezTo>
                  <a:cubicBezTo>
                    <a:pt x="518" y="204"/>
                    <a:pt x="518" y="204"/>
                    <a:pt x="518" y="204"/>
                  </a:cubicBezTo>
                  <a:cubicBezTo>
                    <a:pt x="536" y="194"/>
                    <a:pt x="543" y="172"/>
                    <a:pt x="533" y="153"/>
                  </a:cubicBezTo>
                  <a:cubicBezTo>
                    <a:pt x="465" y="25"/>
                    <a:pt x="465" y="25"/>
                    <a:pt x="465" y="25"/>
                  </a:cubicBezTo>
                  <a:cubicBezTo>
                    <a:pt x="456" y="7"/>
                    <a:pt x="433" y="0"/>
                    <a:pt x="415" y="10"/>
                  </a:cubicBezTo>
                  <a:close/>
                </a:path>
              </a:pathLst>
            </a:custGeom>
            <a:solidFill>
              <a:srgbClr val="F1F0E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5" name="íṩľíḍê">
              <a:extLst>
                <a:ext uri="{FF2B5EF4-FFF2-40B4-BE49-F238E27FC236}">
                  <a16:creationId xmlns:a16="http://schemas.microsoft.com/office/drawing/2014/main" id="{8EE91891-C4CF-48C8-87DB-1C61AD71FF45}"/>
                </a:ext>
              </a:extLst>
            </p:cNvPr>
            <p:cNvSpPr/>
            <p:nvPr userDrawn="1"/>
          </p:nvSpPr>
          <p:spPr bwMode="auto">
            <a:xfrm>
              <a:off x="7010400" y="1695450"/>
              <a:ext cx="120650" cy="125413"/>
            </a:xfrm>
            <a:custGeom>
              <a:avLst/>
              <a:gdLst>
                <a:gd name="T0" fmla="*/ 71 w 71"/>
                <a:gd name="T1" fmla="*/ 34 h 74"/>
                <a:gd name="T2" fmla="*/ 71 w 71"/>
                <a:gd name="T3" fmla="*/ 31 h 74"/>
                <a:gd name="T4" fmla="*/ 70 w 71"/>
                <a:gd name="T5" fmla="*/ 27 h 74"/>
                <a:gd name="T6" fmla="*/ 69 w 71"/>
                <a:gd name="T7" fmla="*/ 24 h 74"/>
                <a:gd name="T8" fmla="*/ 67 w 71"/>
                <a:gd name="T9" fmla="*/ 21 h 74"/>
                <a:gd name="T10" fmla="*/ 66 w 71"/>
                <a:gd name="T11" fmla="*/ 20 h 74"/>
                <a:gd name="T12" fmla="*/ 39 w 71"/>
                <a:gd name="T13" fmla="*/ 2 h 74"/>
                <a:gd name="T14" fmla="*/ 0 w 71"/>
                <a:gd name="T15" fmla="*/ 32 h 74"/>
                <a:gd name="T16" fmla="*/ 0 w 71"/>
                <a:gd name="T17" fmla="*/ 35 h 74"/>
                <a:gd name="T18" fmla="*/ 0 w 71"/>
                <a:gd name="T19" fmla="*/ 36 h 74"/>
                <a:gd name="T20" fmla="*/ 0 w 71"/>
                <a:gd name="T21" fmla="*/ 37 h 74"/>
                <a:gd name="T22" fmla="*/ 0 w 71"/>
                <a:gd name="T23" fmla="*/ 39 h 74"/>
                <a:gd name="T24" fmla="*/ 0 w 71"/>
                <a:gd name="T25" fmla="*/ 39 h 74"/>
                <a:gd name="T26" fmla="*/ 1 w 71"/>
                <a:gd name="T27" fmla="*/ 48 h 74"/>
                <a:gd name="T28" fmla="*/ 2 w 71"/>
                <a:gd name="T29" fmla="*/ 49 h 74"/>
                <a:gd name="T30" fmla="*/ 3 w 71"/>
                <a:gd name="T31" fmla="*/ 52 h 74"/>
                <a:gd name="T32" fmla="*/ 4 w 71"/>
                <a:gd name="T33" fmla="*/ 55 h 74"/>
                <a:gd name="T34" fmla="*/ 6 w 71"/>
                <a:gd name="T35" fmla="*/ 58 h 74"/>
                <a:gd name="T36" fmla="*/ 8 w 71"/>
                <a:gd name="T37" fmla="*/ 61 h 74"/>
                <a:gd name="T38" fmla="*/ 11 w 71"/>
                <a:gd name="T39" fmla="*/ 63 h 74"/>
                <a:gd name="T40" fmla="*/ 13 w 71"/>
                <a:gd name="T41" fmla="*/ 65 h 74"/>
                <a:gd name="T42" fmla="*/ 16 w 71"/>
                <a:gd name="T43" fmla="*/ 68 h 74"/>
                <a:gd name="T44" fmla="*/ 19 w 71"/>
                <a:gd name="T45" fmla="*/ 69 h 74"/>
                <a:gd name="T46" fmla="*/ 22 w 71"/>
                <a:gd name="T47" fmla="*/ 71 h 74"/>
                <a:gd name="T48" fmla="*/ 26 w 71"/>
                <a:gd name="T49" fmla="*/ 72 h 74"/>
                <a:gd name="T50" fmla="*/ 29 w 71"/>
                <a:gd name="T51" fmla="*/ 73 h 74"/>
                <a:gd name="T52" fmla="*/ 50 w 71"/>
                <a:gd name="T53" fmla="*/ 71 h 74"/>
                <a:gd name="T54" fmla="*/ 56 w 71"/>
                <a:gd name="T55" fmla="*/ 67 h 74"/>
                <a:gd name="T56" fmla="*/ 63 w 71"/>
                <a:gd name="T57" fmla="*/ 60 h 74"/>
                <a:gd name="T58" fmla="*/ 70 w 71"/>
                <a:gd name="T59" fmla="*/ 46 h 74"/>
                <a:gd name="T60" fmla="*/ 71 w 71"/>
                <a:gd name="T61" fmla="*/ 43 h 74"/>
                <a:gd name="T62" fmla="*/ 71 w 71"/>
                <a:gd name="T63" fmla="*/ 43 h 74"/>
                <a:gd name="T64" fmla="*/ 71 w 71"/>
                <a:gd name="T65" fmla="*/ 42 h 74"/>
                <a:gd name="T66" fmla="*/ 71 w 71"/>
                <a:gd name="T67" fmla="*/ 41 h 74"/>
                <a:gd name="T68" fmla="*/ 71 w 71"/>
                <a:gd name="T69" fmla="*/ 39 h 74"/>
                <a:gd name="T70" fmla="*/ 71 w 71"/>
                <a:gd name="T71" fmla="*/ 37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71" h="74">
                  <a:moveTo>
                    <a:pt x="71" y="37"/>
                  </a:moveTo>
                  <a:cubicBezTo>
                    <a:pt x="71" y="36"/>
                    <a:pt x="71" y="35"/>
                    <a:pt x="71" y="34"/>
                  </a:cubicBezTo>
                  <a:cubicBezTo>
                    <a:pt x="71" y="34"/>
                    <a:pt x="71" y="34"/>
                    <a:pt x="71" y="33"/>
                  </a:cubicBezTo>
                  <a:cubicBezTo>
                    <a:pt x="71" y="32"/>
                    <a:pt x="71" y="32"/>
                    <a:pt x="71" y="31"/>
                  </a:cubicBezTo>
                  <a:cubicBezTo>
                    <a:pt x="70" y="30"/>
                    <a:pt x="70" y="30"/>
                    <a:pt x="70" y="30"/>
                  </a:cubicBezTo>
                  <a:cubicBezTo>
                    <a:pt x="70" y="29"/>
                    <a:pt x="70" y="28"/>
                    <a:pt x="70" y="27"/>
                  </a:cubicBezTo>
                  <a:cubicBezTo>
                    <a:pt x="70" y="27"/>
                    <a:pt x="69" y="26"/>
                    <a:pt x="69" y="26"/>
                  </a:cubicBezTo>
                  <a:cubicBezTo>
                    <a:pt x="69" y="25"/>
                    <a:pt x="69" y="25"/>
                    <a:pt x="69" y="24"/>
                  </a:cubicBezTo>
                  <a:cubicBezTo>
                    <a:pt x="68" y="24"/>
                    <a:pt x="68" y="23"/>
                    <a:pt x="68" y="23"/>
                  </a:cubicBezTo>
                  <a:cubicBezTo>
                    <a:pt x="68" y="22"/>
                    <a:pt x="68" y="22"/>
                    <a:pt x="67" y="21"/>
                  </a:cubicBezTo>
                  <a:cubicBezTo>
                    <a:pt x="67" y="21"/>
                    <a:pt x="67" y="20"/>
                    <a:pt x="67" y="20"/>
                  </a:cubicBezTo>
                  <a:cubicBezTo>
                    <a:pt x="66" y="20"/>
                    <a:pt x="66" y="20"/>
                    <a:pt x="66" y="20"/>
                  </a:cubicBezTo>
                  <a:cubicBezTo>
                    <a:pt x="66" y="20"/>
                    <a:pt x="66" y="20"/>
                    <a:pt x="66" y="20"/>
                  </a:cubicBezTo>
                  <a:cubicBezTo>
                    <a:pt x="61" y="10"/>
                    <a:pt x="51" y="3"/>
                    <a:pt x="39" y="2"/>
                  </a:cubicBezTo>
                  <a:cubicBezTo>
                    <a:pt x="20" y="0"/>
                    <a:pt x="3" y="13"/>
                    <a:pt x="0" y="32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0" y="33"/>
                    <a:pt x="0" y="33"/>
                    <a:pt x="0" y="34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0" y="37"/>
                    <a:pt x="0" y="38"/>
                    <a:pt x="0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42"/>
                    <a:pt x="0" y="45"/>
                    <a:pt x="1" y="48"/>
                  </a:cubicBezTo>
                  <a:cubicBezTo>
                    <a:pt x="1" y="48"/>
                    <a:pt x="1" y="48"/>
                    <a:pt x="1" y="48"/>
                  </a:cubicBezTo>
                  <a:cubicBezTo>
                    <a:pt x="1" y="48"/>
                    <a:pt x="1" y="48"/>
                    <a:pt x="1" y="48"/>
                  </a:cubicBezTo>
                  <a:cubicBezTo>
                    <a:pt x="2" y="49"/>
                    <a:pt x="2" y="49"/>
                    <a:pt x="2" y="49"/>
                  </a:cubicBezTo>
                  <a:cubicBezTo>
                    <a:pt x="2" y="50"/>
                    <a:pt x="2" y="50"/>
                    <a:pt x="2" y="51"/>
                  </a:cubicBezTo>
                  <a:cubicBezTo>
                    <a:pt x="3" y="52"/>
                    <a:pt x="3" y="52"/>
                    <a:pt x="3" y="52"/>
                  </a:cubicBezTo>
                  <a:cubicBezTo>
                    <a:pt x="3" y="53"/>
                    <a:pt x="4" y="53"/>
                    <a:pt x="4" y="54"/>
                  </a:cubicBezTo>
                  <a:cubicBezTo>
                    <a:pt x="4" y="55"/>
                    <a:pt x="4" y="55"/>
                    <a:pt x="4" y="55"/>
                  </a:cubicBezTo>
                  <a:cubicBezTo>
                    <a:pt x="5" y="56"/>
                    <a:pt x="5" y="57"/>
                    <a:pt x="6" y="58"/>
                  </a:cubicBezTo>
                  <a:cubicBezTo>
                    <a:pt x="6" y="58"/>
                    <a:pt x="6" y="58"/>
                    <a:pt x="6" y="58"/>
                  </a:cubicBezTo>
                  <a:cubicBezTo>
                    <a:pt x="7" y="59"/>
                    <a:pt x="7" y="59"/>
                    <a:pt x="8" y="60"/>
                  </a:cubicBezTo>
                  <a:cubicBezTo>
                    <a:pt x="8" y="61"/>
                    <a:pt x="8" y="61"/>
                    <a:pt x="8" y="61"/>
                  </a:cubicBezTo>
                  <a:cubicBezTo>
                    <a:pt x="9" y="61"/>
                    <a:pt x="9" y="62"/>
                    <a:pt x="10" y="62"/>
                  </a:cubicBezTo>
                  <a:cubicBezTo>
                    <a:pt x="11" y="63"/>
                    <a:pt x="11" y="63"/>
                    <a:pt x="11" y="63"/>
                  </a:cubicBezTo>
                  <a:cubicBezTo>
                    <a:pt x="11" y="64"/>
                    <a:pt x="12" y="65"/>
                    <a:pt x="13" y="65"/>
                  </a:cubicBezTo>
                  <a:cubicBezTo>
                    <a:pt x="13" y="65"/>
                    <a:pt x="13" y="65"/>
                    <a:pt x="13" y="65"/>
                  </a:cubicBezTo>
                  <a:cubicBezTo>
                    <a:pt x="14" y="66"/>
                    <a:pt x="14" y="67"/>
                    <a:pt x="15" y="67"/>
                  </a:cubicBezTo>
                  <a:cubicBezTo>
                    <a:pt x="16" y="68"/>
                    <a:pt x="16" y="68"/>
                    <a:pt x="16" y="68"/>
                  </a:cubicBezTo>
                  <a:cubicBezTo>
                    <a:pt x="17" y="68"/>
                    <a:pt x="17" y="68"/>
                    <a:pt x="18" y="69"/>
                  </a:cubicBezTo>
                  <a:cubicBezTo>
                    <a:pt x="19" y="69"/>
                    <a:pt x="19" y="69"/>
                    <a:pt x="19" y="69"/>
                  </a:cubicBezTo>
                  <a:cubicBezTo>
                    <a:pt x="20" y="70"/>
                    <a:pt x="21" y="70"/>
                    <a:pt x="22" y="71"/>
                  </a:cubicBezTo>
                  <a:cubicBezTo>
                    <a:pt x="22" y="71"/>
                    <a:pt x="22" y="71"/>
                    <a:pt x="22" y="71"/>
                  </a:cubicBezTo>
                  <a:cubicBezTo>
                    <a:pt x="23" y="71"/>
                    <a:pt x="24" y="71"/>
                    <a:pt x="25" y="72"/>
                  </a:cubicBezTo>
                  <a:cubicBezTo>
                    <a:pt x="26" y="72"/>
                    <a:pt x="26" y="72"/>
                    <a:pt x="26" y="72"/>
                  </a:cubicBezTo>
                  <a:cubicBezTo>
                    <a:pt x="26" y="72"/>
                    <a:pt x="27" y="72"/>
                    <a:pt x="28" y="73"/>
                  </a:cubicBezTo>
                  <a:cubicBezTo>
                    <a:pt x="29" y="73"/>
                    <a:pt x="29" y="73"/>
                    <a:pt x="29" y="73"/>
                  </a:cubicBezTo>
                  <a:cubicBezTo>
                    <a:pt x="30" y="73"/>
                    <a:pt x="31" y="73"/>
                    <a:pt x="32" y="73"/>
                  </a:cubicBezTo>
                  <a:cubicBezTo>
                    <a:pt x="38" y="74"/>
                    <a:pt x="44" y="73"/>
                    <a:pt x="50" y="71"/>
                  </a:cubicBezTo>
                  <a:cubicBezTo>
                    <a:pt x="51" y="70"/>
                    <a:pt x="52" y="70"/>
                    <a:pt x="53" y="69"/>
                  </a:cubicBezTo>
                  <a:cubicBezTo>
                    <a:pt x="54" y="68"/>
                    <a:pt x="55" y="68"/>
                    <a:pt x="56" y="67"/>
                  </a:cubicBezTo>
                  <a:cubicBezTo>
                    <a:pt x="57" y="67"/>
                    <a:pt x="57" y="66"/>
                    <a:pt x="58" y="65"/>
                  </a:cubicBezTo>
                  <a:cubicBezTo>
                    <a:pt x="60" y="64"/>
                    <a:pt x="62" y="62"/>
                    <a:pt x="63" y="60"/>
                  </a:cubicBezTo>
                  <a:cubicBezTo>
                    <a:pt x="67" y="56"/>
                    <a:pt x="69" y="51"/>
                    <a:pt x="70" y="46"/>
                  </a:cubicBezTo>
                  <a:cubicBezTo>
                    <a:pt x="70" y="46"/>
                    <a:pt x="70" y="46"/>
                    <a:pt x="70" y="46"/>
                  </a:cubicBezTo>
                  <a:cubicBezTo>
                    <a:pt x="70" y="45"/>
                    <a:pt x="70" y="45"/>
                    <a:pt x="70" y="45"/>
                  </a:cubicBezTo>
                  <a:cubicBezTo>
                    <a:pt x="71" y="45"/>
                    <a:pt x="71" y="44"/>
                    <a:pt x="71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42"/>
                    <a:pt x="71" y="41"/>
                    <a:pt x="71" y="41"/>
                  </a:cubicBezTo>
                  <a:cubicBezTo>
                    <a:pt x="71" y="40"/>
                    <a:pt x="71" y="39"/>
                    <a:pt x="71" y="39"/>
                  </a:cubicBezTo>
                  <a:cubicBezTo>
                    <a:pt x="71" y="39"/>
                    <a:pt x="71" y="39"/>
                    <a:pt x="71" y="39"/>
                  </a:cubicBezTo>
                  <a:cubicBezTo>
                    <a:pt x="71" y="38"/>
                    <a:pt x="71" y="38"/>
                    <a:pt x="71" y="38"/>
                  </a:cubicBezTo>
                  <a:lnTo>
                    <a:pt x="71" y="37"/>
                  </a:lnTo>
                  <a:close/>
                </a:path>
              </a:pathLst>
            </a:custGeom>
            <a:solidFill>
              <a:srgbClr val="D9D8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6" name="iṣḻîḍe">
              <a:extLst>
                <a:ext uri="{FF2B5EF4-FFF2-40B4-BE49-F238E27FC236}">
                  <a16:creationId xmlns:a16="http://schemas.microsoft.com/office/drawing/2014/main" id="{3B1F5D23-A81F-4319-B0AC-54ADE619F6DA}"/>
                </a:ext>
              </a:extLst>
            </p:cNvPr>
            <p:cNvSpPr/>
            <p:nvPr userDrawn="1"/>
          </p:nvSpPr>
          <p:spPr bwMode="auto">
            <a:xfrm>
              <a:off x="6989763" y="1687513"/>
              <a:ext cx="138113" cy="138113"/>
            </a:xfrm>
            <a:custGeom>
              <a:avLst/>
              <a:gdLst>
                <a:gd name="T0" fmla="*/ 73 w 82"/>
                <a:gd name="T1" fmla="*/ 24 h 82"/>
                <a:gd name="T2" fmla="*/ 58 w 82"/>
                <a:gd name="T3" fmla="*/ 73 h 82"/>
                <a:gd name="T4" fmla="*/ 9 w 82"/>
                <a:gd name="T5" fmla="*/ 58 h 82"/>
                <a:gd name="T6" fmla="*/ 24 w 82"/>
                <a:gd name="T7" fmla="*/ 9 h 82"/>
                <a:gd name="T8" fmla="*/ 73 w 82"/>
                <a:gd name="T9" fmla="*/ 24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2" h="82">
                  <a:moveTo>
                    <a:pt x="73" y="24"/>
                  </a:moveTo>
                  <a:cubicBezTo>
                    <a:pt x="82" y="42"/>
                    <a:pt x="75" y="64"/>
                    <a:pt x="58" y="73"/>
                  </a:cubicBezTo>
                  <a:cubicBezTo>
                    <a:pt x="40" y="82"/>
                    <a:pt x="18" y="75"/>
                    <a:pt x="9" y="58"/>
                  </a:cubicBezTo>
                  <a:cubicBezTo>
                    <a:pt x="0" y="40"/>
                    <a:pt x="7" y="18"/>
                    <a:pt x="24" y="9"/>
                  </a:cubicBezTo>
                  <a:cubicBezTo>
                    <a:pt x="42" y="0"/>
                    <a:pt x="64" y="7"/>
                    <a:pt x="73" y="24"/>
                  </a:cubicBezTo>
                  <a:close/>
                </a:path>
              </a:pathLst>
            </a:custGeom>
            <a:solidFill>
              <a:srgbClr val="4675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7" name="îş1ïḍè">
              <a:extLst>
                <a:ext uri="{FF2B5EF4-FFF2-40B4-BE49-F238E27FC236}">
                  <a16:creationId xmlns:a16="http://schemas.microsoft.com/office/drawing/2014/main" id="{05C5562E-4585-4BBF-ACA5-04FE5024AB5E}"/>
                </a:ext>
              </a:extLst>
            </p:cNvPr>
            <p:cNvSpPr/>
            <p:nvPr userDrawn="1"/>
          </p:nvSpPr>
          <p:spPr bwMode="auto">
            <a:xfrm>
              <a:off x="7019925" y="1703388"/>
              <a:ext cx="107950" cy="119063"/>
            </a:xfrm>
            <a:custGeom>
              <a:avLst/>
              <a:gdLst>
                <a:gd name="T0" fmla="*/ 39 w 64"/>
                <a:gd name="T1" fmla="*/ 0 h 71"/>
                <a:gd name="T2" fmla="*/ 48 w 64"/>
                <a:gd name="T3" fmla="*/ 11 h 71"/>
                <a:gd name="T4" fmla="*/ 33 w 64"/>
                <a:gd name="T5" fmla="*/ 59 h 71"/>
                <a:gd name="T6" fmla="*/ 0 w 64"/>
                <a:gd name="T7" fmla="*/ 59 h 71"/>
                <a:gd name="T8" fmla="*/ 40 w 64"/>
                <a:gd name="T9" fmla="*/ 64 h 71"/>
                <a:gd name="T10" fmla="*/ 55 w 64"/>
                <a:gd name="T11" fmla="*/ 15 h 71"/>
                <a:gd name="T12" fmla="*/ 39 w 64"/>
                <a:gd name="T13" fmla="*/ 0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4" h="71">
                  <a:moveTo>
                    <a:pt x="39" y="0"/>
                  </a:moveTo>
                  <a:cubicBezTo>
                    <a:pt x="43" y="3"/>
                    <a:pt x="46" y="7"/>
                    <a:pt x="48" y="11"/>
                  </a:cubicBezTo>
                  <a:cubicBezTo>
                    <a:pt x="57" y="29"/>
                    <a:pt x="50" y="50"/>
                    <a:pt x="33" y="59"/>
                  </a:cubicBezTo>
                  <a:cubicBezTo>
                    <a:pt x="22" y="65"/>
                    <a:pt x="10" y="65"/>
                    <a:pt x="0" y="59"/>
                  </a:cubicBezTo>
                  <a:cubicBezTo>
                    <a:pt x="11" y="68"/>
                    <a:pt x="26" y="71"/>
                    <a:pt x="40" y="64"/>
                  </a:cubicBezTo>
                  <a:cubicBezTo>
                    <a:pt x="57" y="55"/>
                    <a:pt x="64" y="33"/>
                    <a:pt x="55" y="15"/>
                  </a:cubicBezTo>
                  <a:cubicBezTo>
                    <a:pt x="51" y="9"/>
                    <a:pt x="46" y="3"/>
                    <a:pt x="39" y="0"/>
                  </a:cubicBezTo>
                  <a:close/>
                </a:path>
              </a:pathLst>
            </a:custGeom>
            <a:solidFill>
              <a:srgbClr val="3D69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8" name="íSlídè">
              <a:extLst>
                <a:ext uri="{FF2B5EF4-FFF2-40B4-BE49-F238E27FC236}">
                  <a16:creationId xmlns:a16="http://schemas.microsoft.com/office/drawing/2014/main" id="{43454A8A-E97A-43A2-B5D4-7E7D74C165F3}"/>
                </a:ext>
              </a:extLst>
            </p:cNvPr>
            <p:cNvSpPr/>
            <p:nvPr userDrawn="1"/>
          </p:nvSpPr>
          <p:spPr bwMode="auto">
            <a:xfrm>
              <a:off x="7004050" y="1728788"/>
              <a:ext cx="111125" cy="61913"/>
            </a:xfrm>
            <a:custGeom>
              <a:avLst/>
              <a:gdLst>
                <a:gd name="T0" fmla="*/ 1 w 66"/>
                <a:gd name="T1" fmla="*/ 35 h 37"/>
                <a:gd name="T2" fmla="*/ 3 w 66"/>
                <a:gd name="T3" fmla="*/ 37 h 37"/>
                <a:gd name="T4" fmla="*/ 66 w 66"/>
                <a:gd name="T5" fmla="*/ 5 h 37"/>
                <a:gd name="T6" fmla="*/ 64 w 66"/>
                <a:gd name="T7" fmla="*/ 2 h 37"/>
                <a:gd name="T8" fmla="*/ 64 w 66"/>
                <a:gd name="T9" fmla="*/ 0 h 37"/>
                <a:gd name="T10" fmla="*/ 0 w 66"/>
                <a:gd name="T11" fmla="*/ 33 h 37"/>
                <a:gd name="T12" fmla="*/ 1 w 66"/>
                <a:gd name="T13" fmla="*/ 35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6" h="37">
                  <a:moveTo>
                    <a:pt x="1" y="35"/>
                  </a:moveTo>
                  <a:cubicBezTo>
                    <a:pt x="1" y="36"/>
                    <a:pt x="2" y="37"/>
                    <a:pt x="3" y="37"/>
                  </a:cubicBezTo>
                  <a:cubicBezTo>
                    <a:pt x="66" y="5"/>
                    <a:pt x="66" y="5"/>
                    <a:pt x="66" y="5"/>
                  </a:cubicBezTo>
                  <a:cubicBezTo>
                    <a:pt x="65" y="4"/>
                    <a:pt x="65" y="3"/>
                    <a:pt x="64" y="2"/>
                  </a:cubicBezTo>
                  <a:cubicBezTo>
                    <a:pt x="64" y="1"/>
                    <a:pt x="64" y="1"/>
                    <a:pt x="64" y="0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1" y="34"/>
                    <a:pt x="1" y="34"/>
                    <a:pt x="1" y="35"/>
                  </a:cubicBezTo>
                  <a:close/>
                </a:path>
              </a:pathLst>
            </a:custGeom>
            <a:solidFill>
              <a:srgbClr val="3D69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9" name="ïśḷîďê">
              <a:extLst>
                <a:ext uri="{FF2B5EF4-FFF2-40B4-BE49-F238E27FC236}">
                  <a16:creationId xmlns:a16="http://schemas.microsoft.com/office/drawing/2014/main" id="{0FA5DA8A-85A2-4C8B-A699-E73F56F484D0}"/>
                </a:ext>
              </a:extLst>
            </p:cNvPr>
            <p:cNvSpPr/>
            <p:nvPr userDrawn="1"/>
          </p:nvSpPr>
          <p:spPr bwMode="auto">
            <a:xfrm>
              <a:off x="7002463" y="1725613"/>
              <a:ext cx="111125" cy="63500"/>
            </a:xfrm>
            <a:custGeom>
              <a:avLst/>
              <a:gdLst>
                <a:gd name="T0" fmla="*/ 1 w 66"/>
                <a:gd name="T1" fmla="*/ 36 h 38"/>
                <a:gd name="T2" fmla="*/ 2 w 66"/>
                <a:gd name="T3" fmla="*/ 38 h 38"/>
                <a:gd name="T4" fmla="*/ 66 w 66"/>
                <a:gd name="T5" fmla="*/ 5 h 38"/>
                <a:gd name="T6" fmla="*/ 65 w 66"/>
                <a:gd name="T7" fmla="*/ 2 h 38"/>
                <a:gd name="T8" fmla="*/ 64 w 66"/>
                <a:gd name="T9" fmla="*/ 0 h 38"/>
                <a:gd name="T10" fmla="*/ 0 w 66"/>
                <a:gd name="T11" fmla="*/ 33 h 38"/>
                <a:gd name="T12" fmla="*/ 1 w 66"/>
                <a:gd name="T13" fmla="*/ 36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6" h="38">
                  <a:moveTo>
                    <a:pt x="1" y="36"/>
                  </a:moveTo>
                  <a:cubicBezTo>
                    <a:pt x="2" y="36"/>
                    <a:pt x="2" y="37"/>
                    <a:pt x="2" y="38"/>
                  </a:cubicBezTo>
                  <a:cubicBezTo>
                    <a:pt x="66" y="5"/>
                    <a:pt x="66" y="5"/>
                    <a:pt x="66" y="5"/>
                  </a:cubicBezTo>
                  <a:cubicBezTo>
                    <a:pt x="65" y="4"/>
                    <a:pt x="65" y="3"/>
                    <a:pt x="65" y="2"/>
                  </a:cubicBezTo>
                  <a:cubicBezTo>
                    <a:pt x="64" y="2"/>
                    <a:pt x="64" y="1"/>
                    <a:pt x="64" y="0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1" y="34"/>
                    <a:pt x="1" y="35"/>
                    <a:pt x="1" y="36"/>
                  </a:cubicBezTo>
                  <a:close/>
                </a:path>
              </a:pathLst>
            </a:custGeom>
            <a:solidFill>
              <a:srgbClr val="3245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0" name="ïśļîḓe">
              <a:extLst>
                <a:ext uri="{FF2B5EF4-FFF2-40B4-BE49-F238E27FC236}">
                  <a16:creationId xmlns:a16="http://schemas.microsoft.com/office/drawing/2014/main" id="{3CC490D3-F71B-4B2F-B7E6-8C654CADC69E}"/>
                </a:ext>
              </a:extLst>
            </p:cNvPr>
            <p:cNvSpPr/>
            <p:nvPr userDrawn="1"/>
          </p:nvSpPr>
          <p:spPr bwMode="auto">
            <a:xfrm>
              <a:off x="7154863" y="1620838"/>
              <a:ext cx="120650" cy="123825"/>
            </a:xfrm>
            <a:custGeom>
              <a:avLst/>
              <a:gdLst>
                <a:gd name="T0" fmla="*/ 71 w 71"/>
                <a:gd name="T1" fmla="*/ 34 h 74"/>
                <a:gd name="T2" fmla="*/ 71 w 71"/>
                <a:gd name="T3" fmla="*/ 31 h 74"/>
                <a:gd name="T4" fmla="*/ 70 w 71"/>
                <a:gd name="T5" fmla="*/ 27 h 74"/>
                <a:gd name="T6" fmla="*/ 69 w 71"/>
                <a:gd name="T7" fmla="*/ 24 h 74"/>
                <a:gd name="T8" fmla="*/ 67 w 71"/>
                <a:gd name="T9" fmla="*/ 21 h 74"/>
                <a:gd name="T10" fmla="*/ 67 w 71"/>
                <a:gd name="T11" fmla="*/ 20 h 74"/>
                <a:gd name="T12" fmla="*/ 39 w 71"/>
                <a:gd name="T13" fmla="*/ 2 h 74"/>
                <a:gd name="T14" fmla="*/ 0 w 71"/>
                <a:gd name="T15" fmla="*/ 32 h 74"/>
                <a:gd name="T16" fmla="*/ 0 w 71"/>
                <a:gd name="T17" fmla="*/ 35 h 74"/>
                <a:gd name="T18" fmla="*/ 0 w 71"/>
                <a:gd name="T19" fmla="*/ 36 h 74"/>
                <a:gd name="T20" fmla="*/ 0 w 71"/>
                <a:gd name="T21" fmla="*/ 37 h 74"/>
                <a:gd name="T22" fmla="*/ 0 w 71"/>
                <a:gd name="T23" fmla="*/ 39 h 74"/>
                <a:gd name="T24" fmla="*/ 0 w 71"/>
                <a:gd name="T25" fmla="*/ 39 h 74"/>
                <a:gd name="T26" fmla="*/ 1 w 71"/>
                <a:gd name="T27" fmla="*/ 48 h 74"/>
                <a:gd name="T28" fmla="*/ 2 w 71"/>
                <a:gd name="T29" fmla="*/ 49 h 74"/>
                <a:gd name="T30" fmla="*/ 3 w 71"/>
                <a:gd name="T31" fmla="*/ 52 h 74"/>
                <a:gd name="T32" fmla="*/ 4 w 71"/>
                <a:gd name="T33" fmla="*/ 55 h 74"/>
                <a:gd name="T34" fmla="*/ 6 w 71"/>
                <a:gd name="T35" fmla="*/ 58 h 74"/>
                <a:gd name="T36" fmla="*/ 8 w 71"/>
                <a:gd name="T37" fmla="*/ 61 h 74"/>
                <a:gd name="T38" fmla="*/ 11 w 71"/>
                <a:gd name="T39" fmla="*/ 63 h 74"/>
                <a:gd name="T40" fmla="*/ 13 w 71"/>
                <a:gd name="T41" fmla="*/ 65 h 74"/>
                <a:gd name="T42" fmla="*/ 16 w 71"/>
                <a:gd name="T43" fmla="*/ 68 h 74"/>
                <a:gd name="T44" fmla="*/ 19 w 71"/>
                <a:gd name="T45" fmla="*/ 69 h 74"/>
                <a:gd name="T46" fmla="*/ 22 w 71"/>
                <a:gd name="T47" fmla="*/ 71 h 74"/>
                <a:gd name="T48" fmla="*/ 26 w 71"/>
                <a:gd name="T49" fmla="*/ 72 h 74"/>
                <a:gd name="T50" fmla="*/ 29 w 71"/>
                <a:gd name="T51" fmla="*/ 73 h 74"/>
                <a:gd name="T52" fmla="*/ 50 w 71"/>
                <a:gd name="T53" fmla="*/ 71 h 74"/>
                <a:gd name="T54" fmla="*/ 56 w 71"/>
                <a:gd name="T55" fmla="*/ 67 h 74"/>
                <a:gd name="T56" fmla="*/ 63 w 71"/>
                <a:gd name="T57" fmla="*/ 60 h 74"/>
                <a:gd name="T58" fmla="*/ 70 w 71"/>
                <a:gd name="T59" fmla="*/ 46 h 74"/>
                <a:gd name="T60" fmla="*/ 71 w 71"/>
                <a:gd name="T61" fmla="*/ 43 h 74"/>
                <a:gd name="T62" fmla="*/ 71 w 71"/>
                <a:gd name="T63" fmla="*/ 43 h 74"/>
                <a:gd name="T64" fmla="*/ 71 w 71"/>
                <a:gd name="T65" fmla="*/ 42 h 74"/>
                <a:gd name="T66" fmla="*/ 71 w 71"/>
                <a:gd name="T67" fmla="*/ 41 h 74"/>
                <a:gd name="T68" fmla="*/ 71 w 71"/>
                <a:gd name="T69" fmla="*/ 39 h 74"/>
                <a:gd name="T70" fmla="*/ 71 w 71"/>
                <a:gd name="T71" fmla="*/ 37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71" h="74">
                  <a:moveTo>
                    <a:pt x="71" y="37"/>
                  </a:moveTo>
                  <a:cubicBezTo>
                    <a:pt x="71" y="36"/>
                    <a:pt x="71" y="35"/>
                    <a:pt x="71" y="34"/>
                  </a:cubicBezTo>
                  <a:cubicBezTo>
                    <a:pt x="71" y="34"/>
                    <a:pt x="71" y="34"/>
                    <a:pt x="71" y="33"/>
                  </a:cubicBezTo>
                  <a:cubicBezTo>
                    <a:pt x="71" y="32"/>
                    <a:pt x="71" y="32"/>
                    <a:pt x="71" y="31"/>
                  </a:cubicBezTo>
                  <a:cubicBezTo>
                    <a:pt x="71" y="30"/>
                    <a:pt x="71" y="30"/>
                    <a:pt x="71" y="30"/>
                  </a:cubicBezTo>
                  <a:cubicBezTo>
                    <a:pt x="70" y="29"/>
                    <a:pt x="70" y="28"/>
                    <a:pt x="70" y="27"/>
                  </a:cubicBezTo>
                  <a:cubicBezTo>
                    <a:pt x="70" y="27"/>
                    <a:pt x="70" y="26"/>
                    <a:pt x="69" y="26"/>
                  </a:cubicBezTo>
                  <a:cubicBezTo>
                    <a:pt x="69" y="25"/>
                    <a:pt x="69" y="25"/>
                    <a:pt x="69" y="24"/>
                  </a:cubicBezTo>
                  <a:cubicBezTo>
                    <a:pt x="69" y="24"/>
                    <a:pt x="68" y="23"/>
                    <a:pt x="68" y="23"/>
                  </a:cubicBezTo>
                  <a:cubicBezTo>
                    <a:pt x="68" y="22"/>
                    <a:pt x="68" y="22"/>
                    <a:pt x="67" y="21"/>
                  </a:cubicBezTo>
                  <a:cubicBezTo>
                    <a:pt x="67" y="21"/>
                    <a:pt x="67" y="20"/>
                    <a:pt x="67" y="20"/>
                  </a:cubicBezTo>
                  <a:cubicBezTo>
                    <a:pt x="67" y="20"/>
                    <a:pt x="67" y="20"/>
                    <a:pt x="67" y="20"/>
                  </a:cubicBezTo>
                  <a:cubicBezTo>
                    <a:pt x="67" y="20"/>
                    <a:pt x="67" y="20"/>
                    <a:pt x="67" y="20"/>
                  </a:cubicBezTo>
                  <a:cubicBezTo>
                    <a:pt x="61" y="10"/>
                    <a:pt x="51" y="3"/>
                    <a:pt x="39" y="2"/>
                  </a:cubicBezTo>
                  <a:cubicBezTo>
                    <a:pt x="20" y="0"/>
                    <a:pt x="3" y="13"/>
                    <a:pt x="0" y="32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0" y="33"/>
                    <a:pt x="0" y="33"/>
                    <a:pt x="0" y="34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0" y="37"/>
                    <a:pt x="0" y="38"/>
                    <a:pt x="0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42"/>
                    <a:pt x="1" y="45"/>
                    <a:pt x="1" y="48"/>
                  </a:cubicBezTo>
                  <a:cubicBezTo>
                    <a:pt x="1" y="48"/>
                    <a:pt x="1" y="48"/>
                    <a:pt x="1" y="48"/>
                  </a:cubicBezTo>
                  <a:cubicBezTo>
                    <a:pt x="1" y="48"/>
                    <a:pt x="1" y="48"/>
                    <a:pt x="1" y="48"/>
                  </a:cubicBezTo>
                  <a:cubicBezTo>
                    <a:pt x="2" y="49"/>
                    <a:pt x="2" y="49"/>
                    <a:pt x="2" y="49"/>
                  </a:cubicBezTo>
                  <a:cubicBezTo>
                    <a:pt x="2" y="50"/>
                    <a:pt x="2" y="50"/>
                    <a:pt x="3" y="51"/>
                  </a:cubicBezTo>
                  <a:cubicBezTo>
                    <a:pt x="3" y="52"/>
                    <a:pt x="3" y="52"/>
                    <a:pt x="3" y="52"/>
                  </a:cubicBezTo>
                  <a:cubicBezTo>
                    <a:pt x="3" y="53"/>
                    <a:pt x="4" y="54"/>
                    <a:pt x="4" y="54"/>
                  </a:cubicBezTo>
                  <a:cubicBezTo>
                    <a:pt x="4" y="55"/>
                    <a:pt x="4" y="55"/>
                    <a:pt x="4" y="55"/>
                  </a:cubicBezTo>
                  <a:cubicBezTo>
                    <a:pt x="5" y="56"/>
                    <a:pt x="5" y="57"/>
                    <a:pt x="6" y="58"/>
                  </a:cubicBezTo>
                  <a:cubicBezTo>
                    <a:pt x="6" y="58"/>
                    <a:pt x="6" y="58"/>
                    <a:pt x="6" y="58"/>
                  </a:cubicBezTo>
                  <a:cubicBezTo>
                    <a:pt x="7" y="59"/>
                    <a:pt x="7" y="59"/>
                    <a:pt x="8" y="60"/>
                  </a:cubicBezTo>
                  <a:cubicBezTo>
                    <a:pt x="8" y="61"/>
                    <a:pt x="8" y="61"/>
                    <a:pt x="8" y="61"/>
                  </a:cubicBezTo>
                  <a:cubicBezTo>
                    <a:pt x="9" y="61"/>
                    <a:pt x="9" y="62"/>
                    <a:pt x="10" y="63"/>
                  </a:cubicBezTo>
                  <a:cubicBezTo>
                    <a:pt x="11" y="63"/>
                    <a:pt x="11" y="63"/>
                    <a:pt x="11" y="63"/>
                  </a:cubicBezTo>
                  <a:cubicBezTo>
                    <a:pt x="11" y="64"/>
                    <a:pt x="12" y="65"/>
                    <a:pt x="13" y="65"/>
                  </a:cubicBezTo>
                  <a:cubicBezTo>
                    <a:pt x="13" y="65"/>
                    <a:pt x="13" y="65"/>
                    <a:pt x="13" y="65"/>
                  </a:cubicBezTo>
                  <a:cubicBezTo>
                    <a:pt x="14" y="66"/>
                    <a:pt x="15" y="67"/>
                    <a:pt x="15" y="67"/>
                  </a:cubicBezTo>
                  <a:cubicBezTo>
                    <a:pt x="16" y="68"/>
                    <a:pt x="16" y="68"/>
                    <a:pt x="16" y="68"/>
                  </a:cubicBezTo>
                  <a:cubicBezTo>
                    <a:pt x="17" y="68"/>
                    <a:pt x="17" y="68"/>
                    <a:pt x="18" y="69"/>
                  </a:cubicBezTo>
                  <a:cubicBezTo>
                    <a:pt x="19" y="69"/>
                    <a:pt x="19" y="69"/>
                    <a:pt x="19" y="69"/>
                  </a:cubicBezTo>
                  <a:cubicBezTo>
                    <a:pt x="20" y="70"/>
                    <a:pt x="21" y="70"/>
                    <a:pt x="22" y="71"/>
                  </a:cubicBezTo>
                  <a:cubicBezTo>
                    <a:pt x="22" y="71"/>
                    <a:pt x="22" y="71"/>
                    <a:pt x="22" y="71"/>
                  </a:cubicBezTo>
                  <a:cubicBezTo>
                    <a:pt x="23" y="71"/>
                    <a:pt x="24" y="71"/>
                    <a:pt x="25" y="72"/>
                  </a:cubicBezTo>
                  <a:cubicBezTo>
                    <a:pt x="26" y="72"/>
                    <a:pt x="26" y="72"/>
                    <a:pt x="26" y="72"/>
                  </a:cubicBezTo>
                  <a:cubicBezTo>
                    <a:pt x="26" y="72"/>
                    <a:pt x="27" y="72"/>
                    <a:pt x="28" y="73"/>
                  </a:cubicBezTo>
                  <a:cubicBezTo>
                    <a:pt x="29" y="73"/>
                    <a:pt x="29" y="73"/>
                    <a:pt x="29" y="73"/>
                  </a:cubicBezTo>
                  <a:cubicBezTo>
                    <a:pt x="30" y="73"/>
                    <a:pt x="31" y="73"/>
                    <a:pt x="32" y="73"/>
                  </a:cubicBezTo>
                  <a:cubicBezTo>
                    <a:pt x="38" y="74"/>
                    <a:pt x="44" y="73"/>
                    <a:pt x="50" y="71"/>
                  </a:cubicBezTo>
                  <a:cubicBezTo>
                    <a:pt x="51" y="70"/>
                    <a:pt x="52" y="70"/>
                    <a:pt x="53" y="69"/>
                  </a:cubicBezTo>
                  <a:cubicBezTo>
                    <a:pt x="54" y="69"/>
                    <a:pt x="55" y="68"/>
                    <a:pt x="56" y="67"/>
                  </a:cubicBezTo>
                  <a:cubicBezTo>
                    <a:pt x="57" y="67"/>
                    <a:pt x="58" y="66"/>
                    <a:pt x="58" y="65"/>
                  </a:cubicBezTo>
                  <a:cubicBezTo>
                    <a:pt x="60" y="64"/>
                    <a:pt x="62" y="62"/>
                    <a:pt x="63" y="60"/>
                  </a:cubicBezTo>
                  <a:cubicBezTo>
                    <a:pt x="67" y="56"/>
                    <a:pt x="69" y="51"/>
                    <a:pt x="70" y="46"/>
                  </a:cubicBezTo>
                  <a:cubicBezTo>
                    <a:pt x="70" y="46"/>
                    <a:pt x="70" y="46"/>
                    <a:pt x="70" y="46"/>
                  </a:cubicBezTo>
                  <a:cubicBezTo>
                    <a:pt x="71" y="45"/>
                    <a:pt x="71" y="45"/>
                    <a:pt x="71" y="45"/>
                  </a:cubicBezTo>
                  <a:cubicBezTo>
                    <a:pt x="71" y="45"/>
                    <a:pt x="71" y="44"/>
                    <a:pt x="71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42"/>
                    <a:pt x="71" y="41"/>
                    <a:pt x="71" y="41"/>
                  </a:cubicBezTo>
                  <a:cubicBezTo>
                    <a:pt x="71" y="40"/>
                    <a:pt x="71" y="39"/>
                    <a:pt x="71" y="39"/>
                  </a:cubicBezTo>
                  <a:cubicBezTo>
                    <a:pt x="71" y="39"/>
                    <a:pt x="71" y="39"/>
                    <a:pt x="71" y="39"/>
                  </a:cubicBezTo>
                  <a:cubicBezTo>
                    <a:pt x="71" y="38"/>
                    <a:pt x="71" y="38"/>
                    <a:pt x="71" y="38"/>
                  </a:cubicBezTo>
                  <a:lnTo>
                    <a:pt x="71" y="37"/>
                  </a:lnTo>
                  <a:close/>
                </a:path>
              </a:pathLst>
            </a:custGeom>
            <a:solidFill>
              <a:srgbClr val="D9D8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1" name="ïṩḻíḋè">
              <a:extLst>
                <a:ext uri="{FF2B5EF4-FFF2-40B4-BE49-F238E27FC236}">
                  <a16:creationId xmlns:a16="http://schemas.microsoft.com/office/drawing/2014/main" id="{D181609E-BCF5-41C6-B053-498EC343B32B}"/>
                </a:ext>
              </a:extLst>
            </p:cNvPr>
            <p:cNvSpPr/>
            <p:nvPr userDrawn="1"/>
          </p:nvSpPr>
          <p:spPr bwMode="auto">
            <a:xfrm>
              <a:off x="7132638" y="1611313"/>
              <a:ext cx="138113" cy="138113"/>
            </a:xfrm>
            <a:custGeom>
              <a:avLst/>
              <a:gdLst>
                <a:gd name="T0" fmla="*/ 73 w 82"/>
                <a:gd name="T1" fmla="*/ 24 h 82"/>
                <a:gd name="T2" fmla="*/ 58 w 82"/>
                <a:gd name="T3" fmla="*/ 73 h 82"/>
                <a:gd name="T4" fmla="*/ 9 w 82"/>
                <a:gd name="T5" fmla="*/ 58 h 82"/>
                <a:gd name="T6" fmla="*/ 25 w 82"/>
                <a:gd name="T7" fmla="*/ 9 h 82"/>
                <a:gd name="T8" fmla="*/ 73 w 82"/>
                <a:gd name="T9" fmla="*/ 24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2" h="82">
                  <a:moveTo>
                    <a:pt x="73" y="24"/>
                  </a:moveTo>
                  <a:cubicBezTo>
                    <a:pt x="82" y="42"/>
                    <a:pt x="75" y="64"/>
                    <a:pt x="58" y="73"/>
                  </a:cubicBezTo>
                  <a:cubicBezTo>
                    <a:pt x="40" y="82"/>
                    <a:pt x="18" y="75"/>
                    <a:pt x="9" y="58"/>
                  </a:cubicBezTo>
                  <a:cubicBezTo>
                    <a:pt x="0" y="40"/>
                    <a:pt x="7" y="18"/>
                    <a:pt x="25" y="9"/>
                  </a:cubicBezTo>
                  <a:cubicBezTo>
                    <a:pt x="42" y="0"/>
                    <a:pt x="64" y="7"/>
                    <a:pt x="73" y="24"/>
                  </a:cubicBezTo>
                  <a:close/>
                </a:path>
              </a:pathLst>
            </a:custGeom>
            <a:solidFill>
              <a:srgbClr val="4675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2" name="í$ḻíḋe">
              <a:extLst>
                <a:ext uri="{FF2B5EF4-FFF2-40B4-BE49-F238E27FC236}">
                  <a16:creationId xmlns:a16="http://schemas.microsoft.com/office/drawing/2014/main" id="{DE43E95C-32F7-40DD-9E9D-24CD9487117C}"/>
                </a:ext>
              </a:extLst>
            </p:cNvPr>
            <p:cNvSpPr/>
            <p:nvPr userDrawn="1"/>
          </p:nvSpPr>
          <p:spPr bwMode="auto">
            <a:xfrm>
              <a:off x="7162800" y="1627188"/>
              <a:ext cx="107950" cy="119063"/>
            </a:xfrm>
            <a:custGeom>
              <a:avLst/>
              <a:gdLst>
                <a:gd name="T0" fmla="*/ 39 w 64"/>
                <a:gd name="T1" fmla="*/ 0 h 71"/>
                <a:gd name="T2" fmla="*/ 48 w 64"/>
                <a:gd name="T3" fmla="*/ 11 h 71"/>
                <a:gd name="T4" fmla="*/ 33 w 64"/>
                <a:gd name="T5" fmla="*/ 59 h 71"/>
                <a:gd name="T6" fmla="*/ 0 w 64"/>
                <a:gd name="T7" fmla="*/ 60 h 71"/>
                <a:gd name="T8" fmla="*/ 40 w 64"/>
                <a:gd name="T9" fmla="*/ 64 h 71"/>
                <a:gd name="T10" fmla="*/ 55 w 64"/>
                <a:gd name="T11" fmla="*/ 15 h 71"/>
                <a:gd name="T12" fmla="*/ 39 w 64"/>
                <a:gd name="T13" fmla="*/ 0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4" h="71">
                  <a:moveTo>
                    <a:pt x="39" y="0"/>
                  </a:moveTo>
                  <a:cubicBezTo>
                    <a:pt x="43" y="3"/>
                    <a:pt x="46" y="7"/>
                    <a:pt x="48" y="11"/>
                  </a:cubicBezTo>
                  <a:cubicBezTo>
                    <a:pt x="57" y="29"/>
                    <a:pt x="50" y="50"/>
                    <a:pt x="33" y="59"/>
                  </a:cubicBezTo>
                  <a:cubicBezTo>
                    <a:pt x="22" y="65"/>
                    <a:pt x="10" y="65"/>
                    <a:pt x="0" y="60"/>
                  </a:cubicBezTo>
                  <a:cubicBezTo>
                    <a:pt x="11" y="68"/>
                    <a:pt x="26" y="71"/>
                    <a:pt x="40" y="64"/>
                  </a:cubicBezTo>
                  <a:cubicBezTo>
                    <a:pt x="57" y="55"/>
                    <a:pt x="64" y="33"/>
                    <a:pt x="55" y="15"/>
                  </a:cubicBezTo>
                  <a:cubicBezTo>
                    <a:pt x="51" y="9"/>
                    <a:pt x="46" y="3"/>
                    <a:pt x="39" y="0"/>
                  </a:cubicBezTo>
                  <a:close/>
                </a:path>
              </a:pathLst>
            </a:custGeom>
            <a:solidFill>
              <a:srgbClr val="3D69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3" name="iṡlîḋe">
              <a:extLst>
                <a:ext uri="{FF2B5EF4-FFF2-40B4-BE49-F238E27FC236}">
                  <a16:creationId xmlns:a16="http://schemas.microsoft.com/office/drawing/2014/main" id="{3E448166-6F22-4B3A-B60A-AD0A0CBDF0A8}"/>
                </a:ext>
              </a:extLst>
            </p:cNvPr>
            <p:cNvSpPr/>
            <p:nvPr userDrawn="1"/>
          </p:nvSpPr>
          <p:spPr bwMode="auto">
            <a:xfrm>
              <a:off x="7148513" y="1652588"/>
              <a:ext cx="111125" cy="63500"/>
            </a:xfrm>
            <a:custGeom>
              <a:avLst/>
              <a:gdLst>
                <a:gd name="T0" fmla="*/ 1 w 66"/>
                <a:gd name="T1" fmla="*/ 35 h 38"/>
                <a:gd name="T2" fmla="*/ 3 w 66"/>
                <a:gd name="T3" fmla="*/ 38 h 38"/>
                <a:gd name="T4" fmla="*/ 66 w 66"/>
                <a:gd name="T5" fmla="*/ 5 h 38"/>
                <a:gd name="T6" fmla="*/ 64 w 66"/>
                <a:gd name="T7" fmla="*/ 2 h 38"/>
                <a:gd name="T8" fmla="*/ 64 w 66"/>
                <a:gd name="T9" fmla="*/ 0 h 38"/>
                <a:gd name="T10" fmla="*/ 0 w 66"/>
                <a:gd name="T11" fmla="*/ 34 h 38"/>
                <a:gd name="T12" fmla="*/ 1 w 66"/>
                <a:gd name="T13" fmla="*/ 35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6" h="38">
                  <a:moveTo>
                    <a:pt x="1" y="35"/>
                  </a:moveTo>
                  <a:cubicBezTo>
                    <a:pt x="2" y="36"/>
                    <a:pt x="2" y="37"/>
                    <a:pt x="3" y="38"/>
                  </a:cubicBezTo>
                  <a:cubicBezTo>
                    <a:pt x="66" y="5"/>
                    <a:pt x="66" y="5"/>
                    <a:pt x="66" y="5"/>
                  </a:cubicBezTo>
                  <a:cubicBezTo>
                    <a:pt x="65" y="4"/>
                    <a:pt x="65" y="3"/>
                    <a:pt x="64" y="2"/>
                  </a:cubicBezTo>
                  <a:cubicBezTo>
                    <a:pt x="64" y="1"/>
                    <a:pt x="64" y="1"/>
                    <a:pt x="64" y="0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1" y="34"/>
                    <a:pt x="1" y="34"/>
                    <a:pt x="1" y="35"/>
                  </a:cubicBezTo>
                  <a:close/>
                </a:path>
              </a:pathLst>
            </a:custGeom>
            <a:solidFill>
              <a:srgbClr val="3D69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4" name="ïşľiḑe">
              <a:extLst>
                <a:ext uri="{FF2B5EF4-FFF2-40B4-BE49-F238E27FC236}">
                  <a16:creationId xmlns:a16="http://schemas.microsoft.com/office/drawing/2014/main" id="{354F8376-462D-4516-BCAD-B4B2D5BA1C8B}"/>
                </a:ext>
              </a:extLst>
            </p:cNvPr>
            <p:cNvSpPr/>
            <p:nvPr userDrawn="1"/>
          </p:nvSpPr>
          <p:spPr bwMode="auto">
            <a:xfrm>
              <a:off x="7146925" y="1649413"/>
              <a:ext cx="111125" cy="63500"/>
            </a:xfrm>
            <a:custGeom>
              <a:avLst/>
              <a:gdLst>
                <a:gd name="T0" fmla="*/ 1 w 66"/>
                <a:gd name="T1" fmla="*/ 36 h 38"/>
                <a:gd name="T2" fmla="*/ 3 w 66"/>
                <a:gd name="T3" fmla="*/ 38 h 38"/>
                <a:gd name="T4" fmla="*/ 66 w 66"/>
                <a:gd name="T5" fmla="*/ 5 h 38"/>
                <a:gd name="T6" fmla="*/ 65 w 66"/>
                <a:gd name="T7" fmla="*/ 2 h 38"/>
                <a:gd name="T8" fmla="*/ 64 w 66"/>
                <a:gd name="T9" fmla="*/ 0 h 38"/>
                <a:gd name="T10" fmla="*/ 0 w 66"/>
                <a:gd name="T11" fmla="*/ 33 h 38"/>
                <a:gd name="T12" fmla="*/ 1 w 66"/>
                <a:gd name="T13" fmla="*/ 36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6" h="38">
                  <a:moveTo>
                    <a:pt x="1" y="36"/>
                  </a:moveTo>
                  <a:cubicBezTo>
                    <a:pt x="2" y="36"/>
                    <a:pt x="2" y="37"/>
                    <a:pt x="3" y="38"/>
                  </a:cubicBezTo>
                  <a:cubicBezTo>
                    <a:pt x="66" y="5"/>
                    <a:pt x="66" y="5"/>
                    <a:pt x="66" y="5"/>
                  </a:cubicBezTo>
                  <a:cubicBezTo>
                    <a:pt x="65" y="4"/>
                    <a:pt x="65" y="3"/>
                    <a:pt x="65" y="2"/>
                  </a:cubicBezTo>
                  <a:cubicBezTo>
                    <a:pt x="64" y="2"/>
                    <a:pt x="64" y="1"/>
                    <a:pt x="64" y="0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1" y="34"/>
                    <a:pt x="1" y="35"/>
                    <a:pt x="1" y="36"/>
                  </a:cubicBezTo>
                  <a:close/>
                </a:path>
              </a:pathLst>
            </a:custGeom>
            <a:solidFill>
              <a:srgbClr val="3245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5" name="íṩḷiḑe">
              <a:extLst>
                <a:ext uri="{FF2B5EF4-FFF2-40B4-BE49-F238E27FC236}">
                  <a16:creationId xmlns:a16="http://schemas.microsoft.com/office/drawing/2014/main" id="{F70AEA03-A730-40AA-B4EE-B6229FA22427}"/>
                </a:ext>
              </a:extLst>
            </p:cNvPr>
            <p:cNvSpPr/>
            <p:nvPr userDrawn="1"/>
          </p:nvSpPr>
          <p:spPr bwMode="auto">
            <a:xfrm>
              <a:off x="7297738" y="1544638"/>
              <a:ext cx="120650" cy="123825"/>
            </a:xfrm>
            <a:custGeom>
              <a:avLst/>
              <a:gdLst>
                <a:gd name="T0" fmla="*/ 71 w 71"/>
                <a:gd name="T1" fmla="*/ 34 h 74"/>
                <a:gd name="T2" fmla="*/ 71 w 71"/>
                <a:gd name="T3" fmla="*/ 31 h 74"/>
                <a:gd name="T4" fmla="*/ 70 w 71"/>
                <a:gd name="T5" fmla="*/ 27 h 74"/>
                <a:gd name="T6" fmla="*/ 69 w 71"/>
                <a:gd name="T7" fmla="*/ 24 h 74"/>
                <a:gd name="T8" fmla="*/ 67 w 71"/>
                <a:gd name="T9" fmla="*/ 21 h 74"/>
                <a:gd name="T10" fmla="*/ 67 w 71"/>
                <a:gd name="T11" fmla="*/ 20 h 74"/>
                <a:gd name="T12" fmla="*/ 39 w 71"/>
                <a:gd name="T13" fmla="*/ 2 h 74"/>
                <a:gd name="T14" fmla="*/ 0 w 71"/>
                <a:gd name="T15" fmla="*/ 32 h 74"/>
                <a:gd name="T16" fmla="*/ 0 w 71"/>
                <a:gd name="T17" fmla="*/ 35 h 74"/>
                <a:gd name="T18" fmla="*/ 0 w 71"/>
                <a:gd name="T19" fmla="*/ 36 h 74"/>
                <a:gd name="T20" fmla="*/ 0 w 71"/>
                <a:gd name="T21" fmla="*/ 37 h 74"/>
                <a:gd name="T22" fmla="*/ 0 w 71"/>
                <a:gd name="T23" fmla="*/ 39 h 74"/>
                <a:gd name="T24" fmla="*/ 0 w 71"/>
                <a:gd name="T25" fmla="*/ 39 h 74"/>
                <a:gd name="T26" fmla="*/ 2 w 71"/>
                <a:gd name="T27" fmla="*/ 48 h 74"/>
                <a:gd name="T28" fmla="*/ 2 w 71"/>
                <a:gd name="T29" fmla="*/ 49 h 74"/>
                <a:gd name="T30" fmla="*/ 3 w 71"/>
                <a:gd name="T31" fmla="*/ 52 h 74"/>
                <a:gd name="T32" fmla="*/ 4 w 71"/>
                <a:gd name="T33" fmla="*/ 55 h 74"/>
                <a:gd name="T34" fmla="*/ 6 w 71"/>
                <a:gd name="T35" fmla="*/ 58 h 74"/>
                <a:gd name="T36" fmla="*/ 9 w 71"/>
                <a:gd name="T37" fmla="*/ 61 h 74"/>
                <a:gd name="T38" fmla="*/ 11 w 71"/>
                <a:gd name="T39" fmla="*/ 63 h 74"/>
                <a:gd name="T40" fmla="*/ 13 w 71"/>
                <a:gd name="T41" fmla="*/ 65 h 74"/>
                <a:gd name="T42" fmla="*/ 16 w 71"/>
                <a:gd name="T43" fmla="*/ 68 h 74"/>
                <a:gd name="T44" fmla="*/ 19 w 71"/>
                <a:gd name="T45" fmla="*/ 69 h 74"/>
                <a:gd name="T46" fmla="*/ 22 w 71"/>
                <a:gd name="T47" fmla="*/ 71 h 74"/>
                <a:gd name="T48" fmla="*/ 26 w 71"/>
                <a:gd name="T49" fmla="*/ 72 h 74"/>
                <a:gd name="T50" fmla="*/ 29 w 71"/>
                <a:gd name="T51" fmla="*/ 73 h 74"/>
                <a:gd name="T52" fmla="*/ 50 w 71"/>
                <a:gd name="T53" fmla="*/ 71 h 74"/>
                <a:gd name="T54" fmla="*/ 56 w 71"/>
                <a:gd name="T55" fmla="*/ 67 h 74"/>
                <a:gd name="T56" fmla="*/ 63 w 71"/>
                <a:gd name="T57" fmla="*/ 60 h 74"/>
                <a:gd name="T58" fmla="*/ 71 w 71"/>
                <a:gd name="T59" fmla="*/ 46 h 74"/>
                <a:gd name="T60" fmla="*/ 71 w 71"/>
                <a:gd name="T61" fmla="*/ 43 h 74"/>
                <a:gd name="T62" fmla="*/ 71 w 71"/>
                <a:gd name="T63" fmla="*/ 43 h 74"/>
                <a:gd name="T64" fmla="*/ 71 w 71"/>
                <a:gd name="T65" fmla="*/ 42 h 74"/>
                <a:gd name="T66" fmla="*/ 71 w 71"/>
                <a:gd name="T67" fmla="*/ 41 h 74"/>
                <a:gd name="T68" fmla="*/ 71 w 71"/>
                <a:gd name="T69" fmla="*/ 39 h 74"/>
                <a:gd name="T70" fmla="*/ 71 w 71"/>
                <a:gd name="T71" fmla="*/ 37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71" h="74">
                  <a:moveTo>
                    <a:pt x="71" y="37"/>
                  </a:moveTo>
                  <a:cubicBezTo>
                    <a:pt x="71" y="36"/>
                    <a:pt x="71" y="35"/>
                    <a:pt x="71" y="34"/>
                  </a:cubicBezTo>
                  <a:cubicBezTo>
                    <a:pt x="71" y="34"/>
                    <a:pt x="71" y="34"/>
                    <a:pt x="71" y="33"/>
                  </a:cubicBezTo>
                  <a:cubicBezTo>
                    <a:pt x="71" y="33"/>
                    <a:pt x="71" y="32"/>
                    <a:pt x="71" y="31"/>
                  </a:cubicBezTo>
                  <a:cubicBezTo>
                    <a:pt x="71" y="30"/>
                    <a:pt x="71" y="30"/>
                    <a:pt x="71" y="30"/>
                  </a:cubicBezTo>
                  <a:cubicBezTo>
                    <a:pt x="70" y="29"/>
                    <a:pt x="70" y="28"/>
                    <a:pt x="70" y="27"/>
                  </a:cubicBezTo>
                  <a:cubicBezTo>
                    <a:pt x="70" y="27"/>
                    <a:pt x="70" y="26"/>
                    <a:pt x="69" y="26"/>
                  </a:cubicBezTo>
                  <a:cubicBezTo>
                    <a:pt x="69" y="25"/>
                    <a:pt x="69" y="25"/>
                    <a:pt x="69" y="24"/>
                  </a:cubicBezTo>
                  <a:cubicBezTo>
                    <a:pt x="69" y="24"/>
                    <a:pt x="68" y="23"/>
                    <a:pt x="68" y="23"/>
                  </a:cubicBezTo>
                  <a:cubicBezTo>
                    <a:pt x="68" y="22"/>
                    <a:pt x="68" y="22"/>
                    <a:pt x="67" y="21"/>
                  </a:cubicBezTo>
                  <a:cubicBezTo>
                    <a:pt x="67" y="21"/>
                    <a:pt x="67" y="21"/>
                    <a:pt x="67" y="20"/>
                  </a:cubicBezTo>
                  <a:cubicBezTo>
                    <a:pt x="67" y="20"/>
                    <a:pt x="67" y="20"/>
                    <a:pt x="67" y="20"/>
                  </a:cubicBezTo>
                  <a:cubicBezTo>
                    <a:pt x="67" y="20"/>
                    <a:pt x="67" y="20"/>
                    <a:pt x="67" y="20"/>
                  </a:cubicBezTo>
                  <a:cubicBezTo>
                    <a:pt x="61" y="10"/>
                    <a:pt x="51" y="3"/>
                    <a:pt x="39" y="2"/>
                  </a:cubicBezTo>
                  <a:cubicBezTo>
                    <a:pt x="20" y="0"/>
                    <a:pt x="3" y="14"/>
                    <a:pt x="0" y="32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0" y="33"/>
                    <a:pt x="0" y="34"/>
                    <a:pt x="0" y="34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0" y="37"/>
                    <a:pt x="0" y="38"/>
                    <a:pt x="0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42"/>
                    <a:pt x="1" y="45"/>
                    <a:pt x="2" y="48"/>
                  </a:cubicBezTo>
                  <a:cubicBezTo>
                    <a:pt x="2" y="48"/>
                    <a:pt x="2" y="48"/>
                    <a:pt x="2" y="48"/>
                  </a:cubicBezTo>
                  <a:cubicBezTo>
                    <a:pt x="2" y="48"/>
                    <a:pt x="2" y="48"/>
                    <a:pt x="2" y="48"/>
                  </a:cubicBezTo>
                  <a:cubicBezTo>
                    <a:pt x="2" y="49"/>
                    <a:pt x="2" y="49"/>
                    <a:pt x="2" y="49"/>
                  </a:cubicBezTo>
                  <a:cubicBezTo>
                    <a:pt x="2" y="50"/>
                    <a:pt x="2" y="50"/>
                    <a:pt x="3" y="51"/>
                  </a:cubicBezTo>
                  <a:cubicBezTo>
                    <a:pt x="3" y="52"/>
                    <a:pt x="3" y="52"/>
                    <a:pt x="3" y="52"/>
                  </a:cubicBezTo>
                  <a:cubicBezTo>
                    <a:pt x="3" y="53"/>
                    <a:pt x="4" y="54"/>
                    <a:pt x="4" y="54"/>
                  </a:cubicBezTo>
                  <a:cubicBezTo>
                    <a:pt x="4" y="55"/>
                    <a:pt x="4" y="55"/>
                    <a:pt x="4" y="55"/>
                  </a:cubicBezTo>
                  <a:cubicBezTo>
                    <a:pt x="5" y="56"/>
                    <a:pt x="5" y="57"/>
                    <a:pt x="6" y="58"/>
                  </a:cubicBezTo>
                  <a:cubicBezTo>
                    <a:pt x="6" y="58"/>
                    <a:pt x="6" y="58"/>
                    <a:pt x="6" y="58"/>
                  </a:cubicBezTo>
                  <a:cubicBezTo>
                    <a:pt x="7" y="59"/>
                    <a:pt x="7" y="59"/>
                    <a:pt x="8" y="60"/>
                  </a:cubicBezTo>
                  <a:cubicBezTo>
                    <a:pt x="9" y="61"/>
                    <a:pt x="9" y="61"/>
                    <a:pt x="9" y="61"/>
                  </a:cubicBezTo>
                  <a:cubicBezTo>
                    <a:pt x="9" y="61"/>
                    <a:pt x="10" y="62"/>
                    <a:pt x="10" y="63"/>
                  </a:cubicBezTo>
                  <a:cubicBezTo>
                    <a:pt x="11" y="63"/>
                    <a:pt x="11" y="63"/>
                    <a:pt x="11" y="63"/>
                  </a:cubicBezTo>
                  <a:cubicBezTo>
                    <a:pt x="11" y="64"/>
                    <a:pt x="12" y="65"/>
                    <a:pt x="13" y="65"/>
                  </a:cubicBezTo>
                  <a:cubicBezTo>
                    <a:pt x="13" y="65"/>
                    <a:pt x="13" y="65"/>
                    <a:pt x="13" y="65"/>
                  </a:cubicBezTo>
                  <a:cubicBezTo>
                    <a:pt x="14" y="66"/>
                    <a:pt x="15" y="67"/>
                    <a:pt x="15" y="67"/>
                  </a:cubicBezTo>
                  <a:cubicBezTo>
                    <a:pt x="16" y="68"/>
                    <a:pt x="16" y="68"/>
                    <a:pt x="16" y="68"/>
                  </a:cubicBezTo>
                  <a:cubicBezTo>
                    <a:pt x="17" y="68"/>
                    <a:pt x="18" y="68"/>
                    <a:pt x="18" y="69"/>
                  </a:cubicBezTo>
                  <a:cubicBezTo>
                    <a:pt x="19" y="69"/>
                    <a:pt x="19" y="69"/>
                    <a:pt x="19" y="69"/>
                  </a:cubicBezTo>
                  <a:cubicBezTo>
                    <a:pt x="20" y="70"/>
                    <a:pt x="21" y="70"/>
                    <a:pt x="22" y="71"/>
                  </a:cubicBezTo>
                  <a:cubicBezTo>
                    <a:pt x="22" y="71"/>
                    <a:pt x="22" y="71"/>
                    <a:pt x="22" y="71"/>
                  </a:cubicBezTo>
                  <a:cubicBezTo>
                    <a:pt x="23" y="71"/>
                    <a:pt x="24" y="71"/>
                    <a:pt x="25" y="72"/>
                  </a:cubicBezTo>
                  <a:cubicBezTo>
                    <a:pt x="26" y="72"/>
                    <a:pt x="26" y="72"/>
                    <a:pt x="26" y="72"/>
                  </a:cubicBezTo>
                  <a:cubicBezTo>
                    <a:pt x="27" y="72"/>
                    <a:pt x="27" y="72"/>
                    <a:pt x="28" y="73"/>
                  </a:cubicBezTo>
                  <a:cubicBezTo>
                    <a:pt x="29" y="73"/>
                    <a:pt x="29" y="73"/>
                    <a:pt x="29" y="73"/>
                  </a:cubicBezTo>
                  <a:cubicBezTo>
                    <a:pt x="30" y="73"/>
                    <a:pt x="31" y="73"/>
                    <a:pt x="32" y="73"/>
                  </a:cubicBezTo>
                  <a:cubicBezTo>
                    <a:pt x="38" y="74"/>
                    <a:pt x="44" y="73"/>
                    <a:pt x="50" y="71"/>
                  </a:cubicBezTo>
                  <a:cubicBezTo>
                    <a:pt x="51" y="70"/>
                    <a:pt x="52" y="70"/>
                    <a:pt x="53" y="69"/>
                  </a:cubicBezTo>
                  <a:cubicBezTo>
                    <a:pt x="54" y="69"/>
                    <a:pt x="55" y="68"/>
                    <a:pt x="56" y="67"/>
                  </a:cubicBezTo>
                  <a:cubicBezTo>
                    <a:pt x="57" y="67"/>
                    <a:pt x="58" y="66"/>
                    <a:pt x="58" y="65"/>
                  </a:cubicBezTo>
                  <a:cubicBezTo>
                    <a:pt x="60" y="64"/>
                    <a:pt x="62" y="62"/>
                    <a:pt x="63" y="60"/>
                  </a:cubicBezTo>
                  <a:cubicBezTo>
                    <a:pt x="67" y="56"/>
                    <a:pt x="69" y="51"/>
                    <a:pt x="71" y="46"/>
                  </a:cubicBezTo>
                  <a:cubicBezTo>
                    <a:pt x="71" y="46"/>
                    <a:pt x="71" y="46"/>
                    <a:pt x="71" y="46"/>
                  </a:cubicBezTo>
                  <a:cubicBezTo>
                    <a:pt x="71" y="45"/>
                    <a:pt x="71" y="45"/>
                    <a:pt x="71" y="45"/>
                  </a:cubicBezTo>
                  <a:cubicBezTo>
                    <a:pt x="71" y="45"/>
                    <a:pt x="71" y="44"/>
                    <a:pt x="71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42"/>
                    <a:pt x="71" y="41"/>
                    <a:pt x="71" y="41"/>
                  </a:cubicBezTo>
                  <a:cubicBezTo>
                    <a:pt x="71" y="40"/>
                    <a:pt x="71" y="39"/>
                    <a:pt x="71" y="39"/>
                  </a:cubicBezTo>
                  <a:cubicBezTo>
                    <a:pt x="71" y="39"/>
                    <a:pt x="71" y="39"/>
                    <a:pt x="71" y="39"/>
                  </a:cubicBezTo>
                  <a:cubicBezTo>
                    <a:pt x="71" y="38"/>
                    <a:pt x="71" y="38"/>
                    <a:pt x="71" y="38"/>
                  </a:cubicBezTo>
                  <a:lnTo>
                    <a:pt x="71" y="37"/>
                  </a:lnTo>
                  <a:close/>
                </a:path>
              </a:pathLst>
            </a:custGeom>
            <a:solidFill>
              <a:srgbClr val="D9D8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6" name="îşlïďê">
              <a:extLst>
                <a:ext uri="{FF2B5EF4-FFF2-40B4-BE49-F238E27FC236}">
                  <a16:creationId xmlns:a16="http://schemas.microsoft.com/office/drawing/2014/main" id="{FB2950CB-10ED-4A2E-9F9B-C876116CD058}"/>
                </a:ext>
              </a:extLst>
            </p:cNvPr>
            <p:cNvSpPr/>
            <p:nvPr userDrawn="1"/>
          </p:nvSpPr>
          <p:spPr bwMode="auto">
            <a:xfrm>
              <a:off x="7277100" y="1535113"/>
              <a:ext cx="138113" cy="139700"/>
            </a:xfrm>
            <a:custGeom>
              <a:avLst/>
              <a:gdLst>
                <a:gd name="T0" fmla="*/ 73 w 82"/>
                <a:gd name="T1" fmla="*/ 24 h 82"/>
                <a:gd name="T2" fmla="*/ 58 w 82"/>
                <a:gd name="T3" fmla="*/ 73 h 82"/>
                <a:gd name="T4" fmla="*/ 9 w 82"/>
                <a:gd name="T5" fmla="*/ 58 h 82"/>
                <a:gd name="T6" fmla="*/ 25 w 82"/>
                <a:gd name="T7" fmla="*/ 9 h 82"/>
                <a:gd name="T8" fmla="*/ 73 w 82"/>
                <a:gd name="T9" fmla="*/ 24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2" h="82">
                  <a:moveTo>
                    <a:pt x="73" y="24"/>
                  </a:moveTo>
                  <a:cubicBezTo>
                    <a:pt x="82" y="42"/>
                    <a:pt x="75" y="64"/>
                    <a:pt x="58" y="73"/>
                  </a:cubicBezTo>
                  <a:cubicBezTo>
                    <a:pt x="40" y="82"/>
                    <a:pt x="19" y="75"/>
                    <a:pt x="9" y="58"/>
                  </a:cubicBezTo>
                  <a:cubicBezTo>
                    <a:pt x="0" y="40"/>
                    <a:pt x="7" y="18"/>
                    <a:pt x="25" y="9"/>
                  </a:cubicBezTo>
                  <a:cubicBezTo>
                    <a:pt x="42" y="0"/>
                    <a:pt x="64" y="7"/>
                    <a:pt x="73" y="24"/>
                  </a:cubicBezTo>
                  <a:close/>
                </a:path>
              </a:pathLst>
            </a:custGeom>
            <a:solidFill>
              <a:srgbClr val="4675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7" name="íSḻidê">
              <a:extLst>
                <a:ext uri="{FF2B5EF4-FFF2-40B4-BE49-F238E27FC236}">
                  <a16:creationId xmlns:a16="http://schemas.microsoft.com/office/drawing/2014/main" id="{2865E1A7-CB1E-4878-A234-571A5884FC79}"/>
                </a:ext>
              </a:extLst>
            </p:cNvPr>
            <p:cNvSpPr/>
            <p:nvPr userDrawn="1"/>
          </p:nvSpPr>
          <p:spPr bwMode="auto">
            <a:xfrm>
              <a:off x="7307263" y="1550988"/>
              <a:ext cx="107950" cy="119063"/>
            </a:xfrm>
            <a:custGeom>
              <a:avLst/>
              <a:gdLst>
                <a:gd name="T0" fmla="*/ 39 w 64"/>
                <a:gd name="T1" fmla="*/ 0 h 71"/>
                <a:gd name="T2" fmla="*/ 48 w 64"/>
                <a:gd name="T3" fmla="*/ 11 h 71"/>
                <a:gd name="T4" fmla="*/ 33 w 64"/>
                <a:gd name="T5" fmla="*/ 59 h 71"/>
                <a:gd name="T6" fmla="*/ 0 w 64"/>
                <a:gd name="T7" fmla="*/ 60 h 71"/>
                <a:gd name="T8" fmla="*/ 40 w 64"/>
                <a:gd name="T9" fmla="*/ 64 h 71"/>
                <a:gd name="T10" fmla="*/ 55 w 64"/>
                <a:gd name="T11" fmla="*/ 15 h 71"/>
                <a:gd name="T12" fmla="*/ 39 w 64"/>
                <a:gd name="T13" fmla="*/ 0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4" h="71">
                  <a:moveTo>
                    <a:pt x="39" y="0"/>
                  </a:moveTo>
                  <a:cubicBezTo>
                    <a:pt x="43" y="3"/>
                    <a:pt x="46" y="7"/>
                    <a:pt x="48" y="11"/>
                  </a:cubicBezTo>
                  <a:cubicBezTo>
                    <a:pt x="57" y="29"/>
                    <a:pt x="51" y="50"/>
                    <a:pt x="33" y="59"/>
                  </a:cubicBezTo>
                  <a:cubicBezTo>
                    <a:pt x="22" y="65"/>
                    <a:pt x="10" y="65"/>
                    <a:pt x="0" y="60"/>
                  </a:cubicBezTo>
                  <a:cubicBezTo>
                    <a:pt x="11" y="68"/>
                    <a:pt x="27" y="71"/>
                    <a:pt x="40" y="64"/>
                  </a:cubicBezTo>
                  <a:cubicBezTo>
                    <a:pt x="57" y="55"/>
                    <a:pt x="64" y="33"/>
                    <a:pt x="55" y="15"/>
                  </a:cubicBezTo>
                  <a:cubicBezTo>
                    <a:pt x="51" y="9"/>
                    <a:pt x="46" y="3"/>
                    <a:pt x="39" y="0"/>
                  </a:cubicBezTo>
                  <a:close/>
                </a:path>
              </a:pathLst>
            </a:custGeom>
            <a:solidFill>
              <a:srgbClr val="3D69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8" name="íṥ1îḍé">
              <a:extLst>
                <a:ext uri="{FF2B5EF4-FFF2-40B4-BE49-F238E27FC236}">
                  <a16:creationId xmlns:a16="http://schemas.microsoft.com/office/drawing/2014/main" id="{8A6CA597-CBEB-42DD-BCF1-96BE61E7977A}"/>
                </a:ext>
              </a:extLst>
            </p:cNvPr>
            <p:cNvSpPr/>
            <p:nvPr userDrawn="1"/>
          </p:nvSpPr>
          <p:spPr bwMode="auto">
            <a:xfrm>
              <a:off x="7292975" y="1577975"/>
              <a:ext cx="111125" cy="61913"/>
            </a:xfrm>
            <a:custGeom>
              <a:avLst/>
              <a:gdLst>
                <a:gd name="T0" fmla="*/ 0 w 65"/>
                <a:gd name="T1" fmla="*/ 34 h 37"/>
                <a:gd name="T2" fmla="*/ 2 w 65"/>
                <a:gd name="T3" fmla="*/ 37 h 37"/>
                <a:gd name="T4" fmla="*/ 65 w 65"/>
                <a:gd name="T5" fmla="*/ 4 h 37"/>
                <a:gd name="T6" fmla="*/ 63 w 65"/>
                <a:gd name="T7" fmla="*/ 1 h 37"/>
                <a:gd name="T8" fmla="*/ 63 w 65"/>
                <a:gd name="T9" fmla="*/ 0 h 37"/>
                <a:gd name="T10" fmla="*/ 0 w 65"/>
                <a:gd name="T11" fmla="*/ 33 h 37"/>
                <a:gd name="T12" fmla="*/ 0 w 65"/>
                <a:gd name="T13" fmla="*/ 34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5" h="37">
                  <a:moveTo>
                    <a:pt x="0" y="34"/>
                  </a:moveTo>
                  <a:cubicBezTo>
                    <a:pt x="1" y="35"/>
                    <a:pt x="1" y="36"/>
                    <a:pt x="2" y="37"/>
                  </a:cubicBezTo>
                  <a:cubicBezTo>
                    <a:pt x="65" y="4"/>
                    <a:pt x="65" y="4"/>
                    <a:pt x="65" y="4"/>
                  </a:cubicBezTo>
                  <a:cubicBezTo>
                    <a:pt x="64" y="3"/>
                    <a:pt x="64" y="2"/>
                    <a:pt x="63" y="1"/>
                  </a:cubicBezTo>
                  <a:cubicBezTo>
                    <a:pt x="63" y="0"/>
                    <a:pt x="63" y="0"/>
                    <a:pt x="63" y="0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0" y="33"/>
                    <a:pt x="0" y="33"/>
                    <a:pt x="0" y="34"/>
                  </a:cubicBezTo>
                  <a:close/>
                </a:path>
              </a:pathLst>
            </a:custGeom>
            <a:solidFill>
              <a:srgbClr val="3D69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9" name="î$1íďê">
              <a:extLst>
                <a:ext uri="{FF2B5EF4-FFF2-40B4-BE49-F238E27FC236}">
                  <a16:creationId xmlns:a16="http://schemas.microsoft.com/office/drawing/2014/main" id="{46E6F15A-2B83-483E-9E6D-972FB37985B5}"/>
                </a:ext>
              </a:extLst>
            </p:cNvPr>
            <p:cNvSpPr/>
            <p:nvPr userDrawn="1"/>
          </p:nvSpPr>
          <p:spPr bwMode="auto">
            <a:xfrm>
              <a:off x="7289800" y="1573213"/>
              <a:ext cx="111125" cy="63500"/>
            </a:xfrm>
            <a:custGeom>
              <a:avLst/>
              <a:gdLst>
                <a:gd name="T0" fmla="*/ 1 w 66"/>
                <a:gd name="T1" fmla="*/ 36 h 38"/>
                <a:gd name="T2" fmla="*/ 3 w 66"/>
                <a:gd name="T3" fmla="*/ 38 h 38"/>
                <a:gd name="T4" fmla="*/ 66 w 66"/>
                <a:gd name="T5" fmla="*/ 5 h 38"/>
                <a:gd name="T6" fmla="*/ 65 w 66"/>
                <a:gd name="T7" fmla="*/ 2 h 38"/>
                <a:gd name="T8" fmla="*/ 64 w 66"/>
                <a:gd name="T9" fmla="*/ 0 h 38"/>
                <a:gd name="T10" fmla="*/ 0 w 66"/>
                <a:gd name="T11" fmla="*/ 33 h 38"/>
                <a:gd name="T12" fmla="*/ 1 w 66"/>
                <a:gd name="T13" fmla="*/ 36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6" h="38">
                  <a:moveTo>
                    <a:pt x="1" y="36"/>
                  </a:moveTo>
                  <a:cubicBezTo>
                    <a:pt x="2" y="36"/>
                    <a:pt x="2" y="37"/>
                    <a:pt x="3" y="38"/>
                  </a:cubicBezTo>
                  <a:cubicBezTo>
                    <a:pt x="66" y="5"/>
                    <a:pt x="66" y="5"/>
                    <a:pt x="66" y="5"/>
                  </a:cubicBezTo>
                  <a:cubicBezTo>
                    <a:pt x="66" y="4"/>
                    <a:pt x="65" y="3"/>
                    <a:pt x="65" y="2"/>
                  </a:cubicBezTo>
                  <a:cubicBezTo>
                    <a:pt x="64" y="2"/>
                    <a:pt x="64" y="1"/>
                    <a:pt x="64" y="0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1" y="34"/>
                    <a:pt x="1" y="35"/>
                    <a:pt x="1" y="36"/>
                  </a:cubicBezTo>
                  <a:close/>
                </a:path>
              </a:pathLst>
            </a:custGeom>
            <a:solidFill>
              <a:srgbClr val="3245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90" name="îŝḻîdé">
              <a:extLst>
                <a:ext uri="{FF2B5EF4-FFF2-40B4-BE49-F238E27FC236}">
                  <a16:creationId xmlns:a16="http://schemas.microsoft.com/office/drawing/2014/main" id="{63C9E6BB-71BE-4CBD-B9B8-1300C6BD3545}"/>
                </a:ext>
              </a:extLst>
            </p:cNvPr>
            <p:cNvSpPr/>
            <p:nvPr userDrawn="1"/>
          </p:nvSpPr>
          <p:spPr bwMode="auto">
            <a:xfrm>
              <a:off x="7442200" y="1468438"/>
              <a:ext cx="122238" cy="125413"/>
            </a:xfrm>
            <a:custGeom>
              <a:avLst/>
              <a:gdLst>
                <a:gd name="T0" fmla="*/ 71 w 72"/>
                <a:gd name="T1" fmla="*/ 34 h 74"/>
                <a:gd name="T2" fmla="*/ 71 w 72"/>
                <a:gd name="T3" fmla="*/ 31 h 74"/>
                <a:gd name="T4" fmla="*/ 70 w 72"/>
                <a:gd name="T5" fmla="*/ 27 h 74"/>
                <a:gd name="T6" fmla="*/ 69 w 72"/>
                <a:gd name="T7" fmla="*/ 24 h 74"/>
                <a:gd name="T8" fmla="*/ 68 w 72"/>
                <a:gd name="T9" fmla="*/ 21 h 74"/>
                <a:gd name="T10" fmla="*/ 67 w 72"/>
                <a:gd name="T11" fmla="*/ 20 h 74"/>
                <a:gd name="T12" fmla="*/ 39 w 72"/>
                <a:gd name="T13" fmla="*/ 2 h 74"/>
                <a:gd name="T14" fmla="*/ 0 w 72"/>
                <a:gd name="T15" fmla="*/ 32 h 74"/>
                <a:gd name="T16" fmla="*/ 0 w 72"/>
                <a:gd name="T17" fmla="*/ 35 h 74"/>
                <a:gd name="T18" fmla="*/ 0 w 72"/>
                <a:gd name="T19" fmla="*/ 36 h 74"/>
                <a:gd name="T20" fmla="*/ 0 w 72"/>
                <a:gd name="T21" fmla="*/ 37 h 74"/>
                <a:gd name="T22" fmla="*/ 0 w 72"/>
                <a:gd name="T23" fmla="*/ 39 h 74"/>
                <a:gd name="T24" fmla="*/ 0 w 72"/>
                <a:gd name="T25" fmla="*/ 39 h 74"/>
                <a:gd name="T26" fmla="*/ 2 w 72"/>
                <a:gd name="T27" fmla="*/ 48 h 74"/>
                <a:gd name="T28" fmla="*/ 2 w 72"/>
                <a:gd name="T29" fmla="*/ 49 h 74"/>
                <a:gd name="T30" fmla="*/ 3 w 72"/>
                <a:gd name="T31" fmla="*/ 52 h 74"/>
                <a:gd name="T32" fmla="*/ 5 w 72"/>
                <a:gd name="T33" fmla="*/ 55 h 74"/>
                <a:gd name="T34" fmla="*/ 6 w 72"/>
                <a:gd name="T35" fmla="*/ 58 h 74"/>
                <a:gd name="T36" fmla="*/ 9 w 72"/>
                <a:gd name="T37" fmla="*/ 61 h 74"/>
                <a:gd name="T38" fmla="*/ 11 w 72"/>
                <a:gd name="T39" fmla="*/ 63 h 74"/>
                <a:gd name="T40" fmla="*/ 13 w 72"/>
                <a:gd name="T41" fmla="*/ 65 h 74"/>
                <a:gd name="T42" fmla="*/ 16 w 72"/>
                <a:gd name="T43" fmla="*/ 68 h 74"/>
                <a:gd name="T44" fmla="*/ 19 w 72"/>
                <a:gd name="T45" fmla="*/ 69 h 74"/>
                <a:gd name="T46" fmla="*/ 22 w 72"/>
                <a:gd name="T47" fmla="*/ 71 h 74"/>
                <a:gd name="T48" fmla="*/ 26 w 72"/>
                <a:gd name="T49" fmla="*/ 72 h 74"/>
                <a:gd name="T50" fmla="*/ 29 w 72"/>
                <a:gd name="T51" fmla="*/ 73 h 74"/>
                <a:gd name="T52" fmla="*/ 50 w 72"/>
                <a:gd name="T53" fmla="*/ 71 h 74"/>
                <a:gd name="T54" fmla="*/ 56 w 72"/>
                <a:gd name="T55" fmla="*/ 67 h 74"/>
                <a:gd name="T56" fmla="*/ 63 w 72"/>
                <a:gd name="T57" fmla="*/ 60 h 74"/>
                <a:gd name="T58" fmla="*/ 71 w 72"/>
                <a:gd name="T59" fmla="*/ 46 h 74"/>
                <a:gd name="T60" fmla="*/ 71 w 72"/>
                <a:gd name="T61" fmla="*/ 43 h 74"/>
                <a:gd name="T62" fmla="*/ 71 w 72"/>
                <a:gd name="T63" fmla="*/ 43 h 74"/>
                <a:gd name="T64" fmla="*/ 71 w 72"/>
                <a:gd name="T65" fmla="*/ 42 h 74"/>
                <a:gd name="T66" fmla="*/ 71 w 72"/>
                <a:gd name="T67" fmla="*/ 41 h 74"/>
                <a:gd name="T68" fmla="*/ 72 w 72"/>
                <a:gd name="T69" fmla="*/ 39 h 74"/>
                <a:gd name="T70" fmla="*/ 72 w 72"/>
                <a:gd name="T71" fmla="*/ 37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72" h="74">
                  <a:moveTo>
                    <a:pt x="72" y="37"/>
                  </a:moveTo>
                  <a:cubicBezTo>
                    <a:pt x="71" y="36"/>
                    <a:pt x="71" y="35"/>
                    <a:pt x="71" y="34"/>
                  </a:cubicBezTo>
                  <a:cubicBezTo>
                    <a:pt x="71" y="34"/>
                    <a:pt x="71" y="34"/>
                    <a:pt x="71" y="33"/>
                  </a:cubicBezTo>
                  <a:cubicBezTo>
                    <a:pt x="71" y="33"/>
                    <a:pt x="71" y="32"/>
                    <a:pt x="71" y="31"/>
                  </a:cubicBezTo>
                  <a:cubicBezTo>
                    <a:pt x="71" y="30"/>
                    <a:pt x="71" y="30"/>
                    <a:pt x="71" y="30"/>
                  </a:cubicBezTo>
                  <a:cubicBezTo>
                    <a:pt x="70" y="29"/>
                    <a:pt x="70" y="28"/>
                    <a:pt x="70" y="27"/>
                  </a:cubicBezTo>
                  <a:cubicBezTo>
                    <a:pt x="70" y="27"/>
                    <a:pt x="70" y="26"/>
                    <a:pt x="70" y="26"/>
                  </a:cubicBezTo>
                  <a:cubicBezTo>
                    <a:pt x="69" y="25"/>
                    <a:pt x="69" y="25"/>
                    <a:pt x="69" y="24"/>
                  </a:cubicBezTo>
                  <a:cubicBezTo>
                    <a:pt x="69" y="24"/>
                    <a:pt x="69" y="23"/>
                    <a:pt x="68" y="23"/>
                  </a:cubicBezTo>
                  <a:cubicBezTo>
                    <a:pt x="68" y="22"/>
                    <a:pt x="68" y="22"/>
                    <a:pt x="68" y="21"/>
                  </a:cubicBezTo>
                  <a:cubicBezTo>
                    <a:pt x="67" y="21"/>
                    <a:pt x="67" y="21"/>
                    <a:pt x="67" y="20"/>
                  </a:cubicBezTo>
                  <a:cubicBezTo>
                    <a:pt x="67" y="20"/>
                    <a:pt x="67" y="20"/>
                    <a:pt x="67" y="20"/>
                  </a:cubicBezTo>
                  <a:cubicBezTo>
                    <a:pt x="67" y="20"/>
                    <a:pt x="67" y="20"/>
                    <a:pt x="67" y="20"/>
                  </a:cubicBezTo>
                  <a:cubicBezTo>
                    <a:pt x="61" y="10"/>
                    <a:pt x="51" y="3"/>
                    <a:pt x="39" y="2"/>
                  </a:cubicBezTo>
                  <a:cubicBezTo>
                    <a:pt x="20" y="0"/>
                    <a:pt x="3" y="14"/>
                    <a:pt x="1" y="32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0" y="33"/>
                    <a:pt x="0" y="34"/>
                    <a:pt x="0" y="34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0" y="37"/>
                    <a:pt x="0" y="38"/>
                    <a:pt x="0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42"/>
                    <a:pt x="1" y="45"/>
                    <a:pt x="2" y="48"/>
                  </a:cubicBezTo>
                  <a:cubicBezTo>
                    <a:pt x="2" y="48"/>
                    <a:pt x="2" y="48"/>
                    <a:pt x="2" y="48"/>
                  </a:cubicBezTo>
                  <a:cubicBezTo>
                    <a:pt x="2" y="48"/>
                    <a:pt x="2" y="48"/>
                    <a:pt x="2" y="48"/>
                  </a:cubicBezTo>
                  <a:cubicBezTo>
                    <a:pt x="2" y="49"/>
                    <a:pt x="2" y="49"/>
                    <a:pt x="2" y="49"/>
                  </a:cubicBezTo>
                  <a:cubicBezTo>
                    <a:pt x="2" y="50"/>
                    <a:pt x="2" y="50"/>
                    <a:pt x="3" y="51"/>
                  </a:cubicBezTo>
                  <a:cubicBezTo>
                    <a:pt x="3" y="52"/>
                    <a:pt x="3" y="52"/>
                    <a:pt x="3" y="52"/>
                  </a:cubicBezTo>
                  <a:cubicBezTo>
                    <a:pt x="3" y="53"/>
                    <a:pt x="4" y="54"/>
                    <a:pt x="4" y="54"/>
                  </a:cubicBezTo>
                  <a:cubicBezTo>
                    <a:pt x="5" y="55"/>
                    <a:pt x="5" y="55"/>
                    <a:pt x="5" y="55"/>
                  </a:cubicBezTo>
                  <a:cubicBezTo>
                    <a:pt x="5" y="56"/>
                    <a:pt x="6" y="57"/>
                    <a:pt x="6" y="58"/>
                  </a:cubicBezTo>
                  <a:cubicBezTo>
                    <a:pt x="6" y="58"/>
                    <a:pt x="6" y="58"/>
                    <a:pt x="6" y="58"/>
                  </a:cubicBezTo>
                  <a:cubicBezTo>
                    <a:pt x="7" y="59"/>
                    <a:pt x="7" y="59"/>
                    <a:pt x="8" y="60"/>
                  </a:cubicBezTo>
                  <a:cubicBezTo>
                    <a:pt x="9" y="61"/>
                    <a:pt x="9" y="61"/>
                    <a:pt x="9" y="61"/>
                  </a:cubicBezTo>
                  <a:cubicBezTo>
                    <a:pt x="9" y="62"/>
                    <a:pt x="10" y="62"/>
                    <a:pt x="10" y="63"/>
                  </a:cubicBezTo>
                  <a:cubicBezTo>
                    <a:pt x="11" y="63"/>
                    <a:pt x="11" y="63"/>
                    <a:pt x="11" y="63"/>
                  </a:cubicBezTo>
                  <a:cubicBezTo>
                    <a:pt x="12" y="64"/>
                    <a:pt x="12" y="65"/>
                    <a:pt x="13" y="65"/>
                  </a:cubicBezTo>
                  <a:cubicBezTo>
                    <a:pt x="13" y="65"/>
                    <a:pt x="13" y="65"/>
                    <a:pt x="13" y="65"/>
                  </a:cubicBezTo>
                  <a:cubicBezTo>
                    <a:pt x="14" y="66"/>
                    <a:pt x="15" y="67"/>
                    <a:pt x="16" y="67"/>
                  </a:cubicBezTo>
                  <a:cubicBezTo>
                    <a:pt x="16" y="68"/>
                    <a:pt x="16" y="68"/>
                    <a:pt x="16" y="68"/>
                  </a:cubicBezTo>
                  <a:cubicBezTo>
                    <a:pt x="17" y="68"/>
                    <a:pt x="18" y="69"/>
                    <a:pt x="18" y="69"/>
                  </a:cubicBezTo>
                  <a:cubicBezTo>
                    <a:pt x="19" y="69"/>
                    <a:pt x="19" y="69"/>
                    <a:pt x="19" y="69"/>
                  </a:cubicBezTo>
                  <a:cubicBezTo>
                    <a:pt x="20" y="70"/>
                    <a:pt x="21" y="70"/>
                    <a:pt x="22" y="71"/>
                  </a:cubicBezTo>
                  <a:cubicBezTo>
                    <a:pt x="22" y="71"/>
                    <a:pt x="22" y="71"/>
                    <a:pt x="22" y="71"/>
                  </a:cubicBezTo>
                  <a:cubicBezTo>
                    <a:pt x="23" y="71"/>
                    <a:pt x="24" y="71"/>
                    <a:pt x="25" y="72"/>
                  </a:cubicBezTo>
                  <a:cubicBezTo>
                    <a:pt x="26" y="72"/>
                    <a:pt x="26" y="72"/>
                    <a:pt x="26" y="72"/>
                  </a:cubicBezTo>
                  <a:cubicBezTo>
                    <a:pt x="27" y="72"/>
                    <a:pt x="27" y="72"/>
                    <a:pt x="28" y="73"/>
                  </a:cubicBezTo>
                  <a:cubicBezTo>
                    <a:pt x="29" y="73"/>
                    <a:pt x="29" y="73"/>
                    <a:pt x="29" y="73"/>
                  </a:cubicBezTo>
                  <a:cubicBezTo>
                    <a:pt x="30" y="73"/>
                    <a:pt x="31" y="73"/>
                    <a:pt x="32" y="73"/>
                  </a:cubicBezTo>
                  <a:cubicBezTo>
                    <a:pt x="39" y="74"/>
                    <a:pt x="44" y="73"/>
                    <a:pt x="50" y="71"/>
                  </a:cubicBezTo>
                  <a:cubicBezTo>
                    <a:pt x="51" y="70"/>
                    <a:pt x="52" y="70"/>
                    <a:pt x="53" y="69"/>
                  </a:cubicBezTo>
                  <a:cubicBezTo>
                    <a:pt x="54" y="69"/>
                    <a:pt x="55" y="68"/>
                    <a:pt x="56" y="67"/>
                  </a:cubicBezTo>
                  <a:cubicBezTo>
                    <a:pt x="57" y="67"/>
                    <a:pt x="58" y="66"/>
                    <a:pt x="59" y="65"/>
                  </a:cubicBezTo>
                  <a:cubicBezTo>
                    <a:pt x="60" y="64"/>
                    <a:pt x="62" y="62"/>
                    <a:pt x="63" y="60"/>
                  </a:cubicBezTo>
                  <a:cubicBezTo>
                    <a:pt x="67" y="56"/>
                    <a:pt x="69" y="51"/>
                    <a:pt x="71" y="46"/>
                  </a:cubicBezTo>
                  <a:cubicBezTo>
                    <a:pt x="71" y="46"/>
                    <a:pt x="71" y="46"/>
                    <a:pt x="71" y="46"/>
                  </a:cubicBezTo>
                  <a:cubicBezTo>
                    <a:pt x="71" y="45"/>
                    <a:pt x="71" y="45"/>
                    <a:pt x="71" y="45"/>
                  </a:cubicBezTo>
                  <a:cubicBezTo>
                    <a:pt x="71" y="45"/>
                    <a:pt x="71" y="44"/>
                    <a:pt x="71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42"/>
                    <a:pt x="71" y="41"/>
                    <a:pt x="71" y="41"/>
                  </a:cubicBezTo>
                  <a:cubicBezTo>
                    <a:pt x="71" y="40"/>
                    <a:pt x="71" y="40"/>
                    <a:pt x="72" y="39"/>
                  </a:cubicBezTo>
                  <a:cubicBezTo>
                    <a:pt x="72" y="39"/>
                    <a:pt x="72" y="39"/>
                    <a:pt x="72" y="39"/>
                  </a:cubicBezTo>
                  <a:cubicBezTo>
                    <a:pt x="72" y="38"/>
                    <a:pt x="72" y="38"/>
                    <a:pt x="72" y="38"/>
                  </a:cubicBezTo>
                  <a:lnTo>
                    <a:pt x="72" y="37"/>
                  </a:lnTo>
                  <a:close/>
                </a:path>
              </a:pathLst>
            </a:custGeom>
            <a:solidFill>
              <a:srgbClr val="D9D8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91" name="îsļïḑè">
              <a:extLst>
                <a:ext uri="{FF2B5EF4-FFF2-40B4-BE49-F238E27FC236}">
                  <a16:creationId xmlns:a16="http://schemas.microsoft.com/office/drawing/2014/main" id="{9360206F-0EF3-4F54-B108-B207972C2BB1}"/>
                </a:ext>
              </a:extLst>
            </p:cNvPr>
            <p:cNvSpPr/>
            <p:nvPr userDrawn="1"/>
          </p:nvSpPr>
          <p:spPr bwMode="auto">
            <a:xfrm>
              <a:off x="7419975" y="1460500"/>
              <a:ext cx="139700" cy="138113"/>
            </a:xfrm>
            <a:custGeom>
              <a:avLst/>
              <a:gdLst>
                <a:gd name="T0" fmla="*/ 73 w 82"/>
                <a:gd name="T1" fmla="*/ 25 h 82"/>
                <a:gd name="T2" fmla="*/ 58 w 82"/>
                <a:gd name="T3" fmla="*/ 73 h 82"/>
                <a:gd name="T4" fmla="*/ 10 w 82"/>
                <a:gd name="T5" fmla="*/ 58 h 82"/>
                <a:gd name="T6" fmla="*/ 25 w 82"/>
                <a:gd name="T7" fmla="*/ 9 h 82"/>
                <a:gd name="T8" fmla="*/ 73 w 82"/>
                <a:gd name="T9" fmla="*/ 25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2" h="82">
                  <a:moveTo>
                    <a:pt x="73" y="25"/>
                  </a:moveTo>
                  <a:cubicBezTo>
                    <a:pt x="82" y="42"/>
                    <a:pt x="75" y="64"/>
                    <a:pt x="58" y="73"/>
                  </a:cubicBezTo>
                  <a:cubicBezTo>
                    <a:pt x="40" y="82"/>
                    <a:pt x="19" y="75"/>
                    <a:pt x="10" y="58"/>
                  </a:cubicBezTo>
                  <a:cubicBezTo>
                    <a:pt x="0" y="40"/>
                    <a:pt x="7" y="18"/>
                    <a:pt x="25" y="9"/>
                  </a:cubicBezTo>
                  <a:cubicBezTo>
                    <a:pt x="42" y="0"/>
                    <a:pt x="64" y="7"/>
                    <a:pt x="73" y="25"/>
                  </a:cubicBezTo>
                  <a:close/>
                </a:path>
              </a:pathLst>
            </a:custGeom>
            <a:solidFill>
              <a:srgbClr val="4675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92" name="ï$ľíḋè">
              <a:extLst>
                <a:ext uri="{FF2B5EF4-FFF2-40B4-BE49-F238E27FC236}">
                  <a16:creationId xmlns:a16="http://schemas.microsoft.com/office/drawing/2014/main" id="{E8B1F4FB-1063-4F8C-ACA5-3732A4279C74}"/>
                </a:ext>
              </a:extLst>
            </p:cNvPr>
            <p:cNvSpPr/>
            <p:nvPr userDrawn="1"/>
          </p:nvSpPr>
          <p:spPr bwMode="auto">
            <a:xfrm>
              <a:off x="7450138" y="1474788"/>
              <a:ext cx="109538" cy="120650"/>
            </a:xfrm>
            <a:custGeom>
              <a:avLst/>
              <a:gdLst>
                <a:gd name="T0" fmla="*/ 39 w 64"/>
                <a:gd name="T1" fmla="*/ 0 h 71"/>
                <a:gd name="T2" fmla="*/ 48 w 64"/>
                <a:gd name="T3" fmla="*/ 11 h 71"/>
                <a:gd name="T4" fmla="*/ 33 w 64"/>
                <a:gd name="T5" fmla="*/ 59 h 71"/>
                <a:gd name="T6" fmla="*/ 0 w 64"/>
                <a:gd name="T7" fmla="*/ 60 h 71"/>
                <a:gd name="T8" fmla="*/ 40 w 64"/>
                <a:gd name="T9" fmla="*/ 64 h 71"/>
                <a:gd name="T10" fmla="*/ 55 w 64"/>
                <a:gd name="T11" fmla="*/ 16 h 71"/>
                <a:gd name="T12" fmla="*/ 39 w 64"/>
                <a:gd name="T13" fmla="*/ 0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4" h="71">
                  <a:moveTo>
                    <a:pt x="39" y="0"/>
                  </a:moveTo>
                  <a:cubicBezTo>
                    <a:pt x="43" y="3"/>
                    <a:pt x="46" y="7"/>
                    <a:pt x="48" y="11"/>
                  </a:cubicBezTo>
                  <a:cubicBezTo>
                    <a:pt x="57" y="29"/>
                    <a:pt x="51" y="50"/>
                    <a:pt x="33" y="59"/>
                  </a:cubicBezTo>
                  <a:cubicBezTo>
                    <a:pt x="22" y="65"/>
                    <a:pt x="10" y="65"/>
                    <a:pt x="0" y="60"/>
                  </a:cubicBezTo>
                  <a:cubicBezTo>
                    <a:pt x="11" y="69"/>
                    <a:pt x="27" y="71"/>
                    <a:pt x="40" y="64"/>
                  </a:cubicBezTo>
                  <a:cubicBezTo>
                    <a:pt x="57" y="55"/>
                    <a:pt x="64" y="33"/>
                    <a:pt x="55" y="16"/>
                  </a:cubicBezTo>
                  <a:cubicBezTo>
                    <a:pt x="51" y="9"/>
                    <a:pt x="46" y="3"/>
                    <a:pt x="39" y="0"/>
                  </a:cubicBezTo>
                  <a:close/>
                </a:path>
              </a:pathLst>
            </a:custGeom>
            <a:solidFill>
              <a:srgbClr val="3D69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93" name="íšḻîḓê">
              <a:extLst>
                <a:ext uri="{FF2B5EF4-FFF2-40B4-BE49-F238E27FC236}">
                  <a16:creationId xmlns:a16="http://schemas.microsoft.com/office/drawing/2014/main" id="{029D8797-4073-4C6E-96F0-B2E6E41C0380}"/>
                </a:ext>
              </a:extLst>
            </p:cNvPr>
            <p:cNvSpPr/>
            <p:nvPr userDrawn="1"/>
          </p:nvSpPr>
          <p:spPr bwMode="auto">
            <a:xfrm>
              <a:off x="7437438" y="1501775"/>
              <a:ext cx="109538" cy="61913"/>
            </a:xfrm>
            <a:custGeom>
              <a:avLst/>
              <a:gdLst>
                <a:gd name="T0" fmla="*/ 0 w 65"/>
                <a:gd name="T1" fmla="*/ 34 h 37"/>
                <a:gd name="T2" fmla="*/ 2 w 65"/>
                <a:gd name="T3" fmla="*/ 37 h 37"/>
                <a:gd name="T4" fmla="*/ 65 w 65"/>
                <a:gd name="T5" fmla="*/ 4 h 37"/>
                <a:gd name="T6" fmla="*/ 64 w 65"/>
                <a:gd name="T7" fmla="*/ 1 h 37"/>
                <a:gd name="T8" fmla="*/ 63 w 65"/>
                <a:gd name="T9" fmla="*/ 0 h 37"/>
                <a:gd name="T10" fmla="*/ 0 w 65"/>
                <a:gd name="T11" fmla="*/ 33 h 37"/>
                <a:gd name="T12" fmla="*/ 0 w 65"/>
                <a:gd name="T13" fmla="*/ 34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5" h="37">
                  <a:moveTo>
                    <a:pt x="0" y="34"/>
                  </a:moveTo>
                  <a:cubicBezTo>
                    <a:pt x="1" y="35"/>
                    <a:pt x="1" y="36"/>
                    <a:pt x="2" y="37"/>
                  </a:cubicBezTo>
                  <a:cubicBezTo>
                    <a:pt x="65" y="4"/>
                    <a:pt x="65" y="4"/>
                    <a:pt x="65" y="4"/>
                  </a:cubicBezTo>
                  <a:cubicBezTo>
                    <a:pt x="64" y="3"/>
                    <a:pt x="64" y="2"/>
                    <a:pt x="64" y="1"/>
                  </a:cubicBezTo>
                  <a:cubicBezTo>
                    <a:pt x="63" y="0"/>
                    <a:pt x="63" y="0"/>
                    <a:pt x="63" y="0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0" y="33"/>
                    <a:pt x="0" y="33"/>
                    <a:pt x="0" y="34"/>
                  </a:cubicBezTo>
                  <a:close/>
                </a:path>
              </a:pathLst>
            </a:custGeom>
            <a:solidFill>
              <a:srgbClr val="3D69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94" name="iŝ1iḑè">
              <a:extLst>
                <a:ext uri="{FF2B5EF4-FFF2-40B4-BE49-F238E27FC236}">
                  <a16:creationId xmlns:a16="http://schemas.microsoft.com/office/drawing/2014/main" id="{B2F23B02-47E3-41CF-9E8A-BF0220B76897}"/>
                </a:ext>
              </a:extLst>
            </p:cNvPr>
            <p:cNvSpPr/>
            <p:nvPr userDrawn="1"/>
          </p:nvSpPr>
          <p:spPr bwMode="auto">
            <a:xfrm>
              <a:off x="7435850" y="1497013"/>
              <a:ext cx="109538" cy="63500"/>
            </a:xfrm>
            <a:custGeom>
              <a:avLst/>
              <a:gdLst>
                <a:gd name="T0" fmla="*/ 1 w 65"/>
                <a:gd name="T1" fmla="*/ 36 h 38"/>
                <a:gd name="T2" fmla="*/ 2 w 65"/>
                <a:gd name="T3" fmla="*/ 38 h 38"/>
                <a:gd name="T4" fmla="*/ 65 w 65"/>
                <a:gd name="T5" fmla="*/ 5 h 38"/>
                <a:gd name="T6" fmla="*/ 64 w 65"/>
                <a:gd name="T7" fmla="*/ 3 h 38"/>
                <a:gd name="T8" fmla="*/ 63 w 65"/>
                <a:gd name="T9" fmla="*/ 0 h 38"/>
                <a:gd name="T10" fmla="*/ 0 w 65"/>
                <a:gd name="T11" fmla="*/ 34 h 38"/>
                <a:gd name="T12" fmla="*/ 1 w 65"/>
                <a:gd name="T13" fmla="*/ 36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5" h="38">
                  <a:moveTo>
                    <a:pt x="1" y="36"/>
                  </a:moveTo>
                  <a:cubicBezTo>
                    <a:pt x="1" y="36"/>
                    <a:pt x="1" y="37"/>
                    <a:pt x="2" y="38"/>
                  </a:cubicBezTo>
                  <a:cubicBezTo>
                    <a:pt x="65" y="5"/>
                    <a:pt x="65" y="5"/>
                    <a:pt x="65" y="5"/>
                  </a:cubicBezTo>
                  <a:cubicBezTo>
                    <a:pt x="65" y="4"/>
                    <a:pt x="64" y="3"/>
                    <a:pt x="64" y="3"/>
                  </a:cubicBezTo>
                  <a:cubicBezTo>
                    <a:pt x="64" y="2"/>
                    <a:pt x="63" y="1"/>
                    <a:pt x="63" y="0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34"/>
                    <a:pt x="0" y="35"/>
                    <a:pt x="1" y="36"/>
                  </a:cubicBezTo>
                  <a:close/>
                </a:path>
              </a:pathLst>
            </a:custGeom>
            <a:solidFill>
              <a:srgbClr val="3245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95" name="iś1íḋè">
              <a:extLst>
                <a:ext uri="{FF2B5EF4-FFF2-40B4-BE49-F238E27FC236}">
                  <a16:creationId xmlns:a16="http://schemas.microsoft.com/office/drawing/2014/main" id="{DBEDBF37-B352-4C92-88A5-F0AEA4C5C216}"/>
                </a:ext>
              </a:extLst>
            </p:cNvPr>
            <p:cNvSpPr/>
            <p:nvPr userDrawn="1"/>
          </p:nvSpPr>
          <p:spPr bwMode="auto">
            <a:xfrm>
              <a:off x="7586663" y="1392238"/>
              <a:ext cx="120650" cy="125413"/>
            </a:xfrm>
            <a:custGeom>
              <a:avLst/>
              <a:gdLst>
                <a:gd name="T0" fmla="*/ 71 w 72"/>
                <a:gd name="T1" fmla="*/ 35 h 74"/>
                <a:gd name="T2" fmla="*/ 71 w 72"/>
                <a:gd name="T3" fmla="*/ 31 h 74"/>
                <a:gd name="T4" fmla="*/ 70 w 72"/>
                <a:gd name="T5" fmla="*/ 27 h 74"/>
                <a:gd name="T6" fmla="*/ 69 w 72"/>
                <a:gd name="T7" fmla="*/ 24 h 74"/>
                <a:gd name="T8" fmla="*/ 68 w 72"/>
                <a:gd name="T9" fmla="*/ 21 h 74"/>
                <a:gd name="T10" fmla="*/ 67 w 72"/>
                <a:gd name="T11" fmla="*/ 20 h 74"/>
                <a:gd name="T12" fmla="*/ 39 w 72"/>
                <a:gd name="T13" fmla="*/ 2 h 74"/>
                <a:gd name="T14" fmla="*/ 1 w 72"/>
                <a:gd name="T15" fmla="*/ 32 h 74"/>
                <a:gd name="T16" fmla="*/ 0 w 72"/>
                <a:gd name="T17" fmla="*/ 36 h 74"/>
                <a:gd name="T18" fmla="*/ 0 w 72"/>
                <a:gd name="T19" fmla="*/ 36 h 74"/>
                <a:gd name="T20" fmla="*/ 0 w 72"/>
                <a:gd name="T21" fmla="*/ 37 h 74"/>
                <a:gd name="T22" fmla="*/ 0 w 72"/>
                <a:gd name="T23" fmla="*/ 39 h 74"/>
                <a:gd name="T24" fmla="*/ 0 w 72"/>
                <a:gd name="T25" fmla="*/ 39 h 74"/>
                <a:gd name="T26" fmla="*/ 2 w 72"/>
                <a:gd name="T27" fmla="*/ 48 h 74"/>
                <a:gd name="T28" fmla="*/ 2 w 72"/>
                <a:gd name="T29" fmla="*/ 49 h 74"/>
                <a:gd name="T30" fmla="*/ 3 w 72"/>
                <a:gd name="T31" fmla="*/ 52 h 74"/>
                <a:gd name="T32" fmla="*/ 5 w 72"/>
                <a:gd name="T33" fmla="*/ 55 h 74"/>
                <a:gd name="T34" fmla="*/ 6 w 72"/>
                <a:gd name="T35" fmla="*/ 58 h 74"/>
                <a:gd name="T36" fmla="*/ 9 w 72"/>
                <a:gd name="T37" fmla="*/ 61 h 74"/>
                <a:gd name="T38" fmla="*/ 11 w 72"/>
                <a:gd name="T39" fmla="*/ 63 h 74"/>
                <a:gd name="T40" fmla="*/ 13 w 72"/>
                <a:gd name="T41" fmla="*/ 65 h 74"/>
                <a:gd name="T42" fmla="*/ 16 w 72"/>
                <a:gd name="T43" fmla="*/ 68 h 74"/>
                <a:gd name="T44" fmla="*/ 19 w 72"/>
                <a:gd name="T45" fmla="*/ 69 h 74"/>
                <a:gd name="T46" fmla="*/ 22 w 72"/>
                <a:gd name="T47" fmla="*/ 71 h 74"/>
                <a:gd name="T48" fmla="*/ 26 w 72"/>
                <a:gd name="T49" fmla="*/ 72 h 74"/>
                <a:gd name="T50" fmla="*/ 29 w 72"/>
                <a:gd name="T51" fmla="*/ 73 h 74"/>
                <a:gd name="T52" fmla="*/ 50 w 72"/>
                <a:gd name="T53" fmla="*/ 71 h 74"/>
                <a:gd name="T54" fmla="*/ 56 w 72"/>
                <a:gd name="T55" fmla="*/ 67 h 74"/>
                <a:gd name="T56" fmla="*/ 63 w 72"/>
                <a:gd name="T57" fmla="*/ 60 h 74"/>
                <a:gd name="T58" fmla="*/ 71 w 72"/>
                <a:gd name="T59" fmla="*/ 46 h 74"/>
                <a:gd name="T60" fmla="*/ 71 w 72"/>
                <a:gd name="T61" fmla="*/ 43 h 74"/>
                <a:gd name="T62" fmla="*/ 71 w 72"/>
                <a:gd name="T63" fmla="*/ 43 h 74"/>
                <a:gd name="T64" fmla="*/ 71 w 72"/>
                <a:gd name="T65" fmla="*/ 42 h 74"/>
                <a:gd name="T66" fmla="*/ 71 w 72"/>
                <a:gd name="T67" fmla="*/ 41 h 74"/>
                <a:gd name="T68" fmla="*/ 72 w 72"/>
                <a:gd name="T69" fmla="*/ 39 h 74"/>
                <a:gd name="T70" fmla="*/ 72 w 72"/>
                <a:gd name="T71" fmla="*/ 37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72" h="74">
                  <a:moveTo>
                    <a:pt x="72" y="37"/>
                  </a:moveTo>
                  <a:cubicBezTo>
                    <a:pt x="72" y="36"/>
                    <a:pt x="72" y="35"/>
                    <a:pt x="71" y="35"/>
                  </a:cubicBezTo>
                  <a:cubicBezTo>
                    <a:pt x="71" y="34"/>
                    <a:pt x="71" y="34"/>
                    <a:pt x="71" y="33"/>
                  </a:cubicBezTo>
                  <a:cubicBezTo>
                    <a:pt x="71" y="33"/>
                    <a:pt x="71" y="32"/>
                    <a:pt x="71" y="31"/>
                  </a:cubicBezTo>
                  <a:cubicBezTo>
                    <a:pt x="71" y="30"/>
                    <a:pt x="71" y="30"/>
                    <a:pt x="71" y="30"/>
                  </a:cubicBezTo>
                  <a:cubicBezTo>
                    <a:pt x="71" y="29"/>
                    <a:pt x="70" y="28"/>
                    <a:pt x="70" y="27"/>
                  </a:cubicBezTo>
                  <a:cubicBezTo>
                    <a:pt x="70" y="27"/>
                    <a:pt x="70" y="26"/>
                    <a:pt x="70" y="26"/>
                  </a:cubicBezTo>
                  <a:cubicBezTo>
                    <a:pt x="69" y="26"/>
                    <a:pt x="69" y="25"/>
                    <a:pt x="69" y="24"/>
                  </a:cubicBezTo>
                  <a:cubicBezTo>
                    <a:pt x="69" y="24"/>
                    <a:pt x="69" y="23"/>
                    <a:pt x="68" y="23"/>
                  </a:cubicBezTo>
                  <a:cubicBezTo>
                    <a:pt x="68" y="22"/>
                    <a:pt x="68" y="22"/>
                    <a:pt x="68" y="21"/>
                  </a:cubicBezTo>
                  <a:cubicBezTo>
                    <a:pt x="67" y="21"/>
                    <a:pt x="67" y="21"/>
                    <a:pt x="67" y="20"/>
                  </a:cubicBezTo>
                  <a:cubicBezTo>
                    <a:pt x="67" y="20"/>
                    <a:pt x="67" y="20"/>
                    <a:pt x="67" y="20"/>
                  </a:cubicBezTo>
                  <a:cubicBezTo>
                    <a:pt x="67" y="20"/>
                    <a:pt x="67" y="20"/>
                    <a:pt x="67" y="20"/>
                  </a:cubicBezTo>
                  <a:cubicBezTo>
                    <a:pt x="61" y="10"/>
                    <a:pt x="51" y="3"/>
                    <a:pt x="39" y="2"/>
                  </a:cubicBezTo>
                  <a:cubicBezTo>
                    <a:pt x="20" y="0"/>
                    <a:pt x="4" y="14"/>
                    <a:pt x="1" y="32"/>
                  </a:cubicBezTo>
                  <a:cubicBezTo>
                    <a:pt x="1" y="32"/>
                    <a:pt x="1" y="32"/>
                    <a:pt x="1" y="32"/>
                  </a:cubicBezTo>
                  <a:cubicBezTo>
                    <a:pt x="0" y="33"/>
                    <a:pt x="0" y="34"/>
                    <a:pt x="0" y="34"/>
                  </a:cubicBezTo>
                  <a:cubicBezTo>
                    <a:pt x="0" y="35"/>
                    <a:pt x="0" y="35"/>
                    <a:pt x="0" y="36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0" y="37"/>
                    <a:pt x="0" y="38"/>
                    <a:pt x="0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42"/>
                    <a:pt x="1" y="45"/>
                    <a:pt x="2" y="48"/>
                  </a:cubicBezTo>
                  <a:cubicBezTo>
                    <a:pt x="2" y="48"/>
                    <a:pt x="2" y="48"/>
                    <a:pt x="2" y="48"/>
                  </a:cubicBezTo>
                  <a:cubicBezTo>
                    <a:pt x="2" y="48"/>
                    <a:pt x="2" y="48"/>
                    <a:pt x="2" y="48"/>
                  </a:cubicBezTo>
                  <a:cubicBezTo>
                    <a:pt x="2" y="49"/>
                    <a:pt x="2" y="49"/>
                    <a:pt x="2" y="49"/>
                  </a:cubicBezTo>
                  <a:cubicBezTo>
                    <a:pt x="2" y="50"/>
                    <a:pt x="2" y="51"/>
                    <a:pt x="3" y="51"/>
                  </a:cubicBezTo>
                  <a:cubicBezTo>
                    <a:pt x="3" y="52"/>
                    <a:pt x="3" y="52"/>
                    <a:pt x="3" y="52"/>
                  </a:cubicBezTo>
                  <a:cubicBezTo>
                    <a:pt x="4" y="53"/>
                    <a:pt x="4" y="54"/>
                    <a:pt x="4" y="54"/>
                  </a:cubicBezTo>
                  <a:cubicBezTo>
                    <a:pt x="5" y="55"/>
                    <a:pt x="5" y="55"/>
                    <a:pt x="5" y="55"/>
                  </a:cubicBezTo>
                  <a:cubicBezTo>
                    <a:pt x="5" y="56"/>
                    <a:pt x="6" y="57"/>
                    <a:pt x="6" y="58"/>
                  </a:cubicBezTo>
                  <a:cubicBezTo>
                    <a:pt x="6" y="58"/>
                    <a:pt x="6" y="58"/>
                    <a:pt x="6" y="58"/>
                  </a:cubicBezTo>
                  <a:cubicBezTo>
                    <a:pt x="7" y="59"/>
                    <a:pt x="7" y="60"/>
                    <a:pt x="8" y="60"/>
                  </a:cubicBezTo>
                  <a:cubicBezTo>
                    <a:pt x="9" y="61"/>
                    <a:pt x="9" y="61"/>
                    <a:pt x="9" y="61"/>
                  </a:cubicBezTo>
                  <a:cubicBezTo>
                    <a:pt x="9" y="62"/>
                    <a:pt x="10" y="62"/>
                    <a:pt x="10" y="63"/>
                  </a:cubicBezTo>
                  <a:cubicBezTo>
                    <a:pt x="11" y="63"/>
                    <a:pt x="11" y="63"/>
                    <a:pt x="11" y="63"/>
                  </a:cubicBezTo>
                  <a:cubicBezTo>
                    <a:pt x="12" y="64"/>
                    <a:pt x="12" y="65"/>
                    <a:pt x="13" y="65"/>
                  </a:cubicBezTo>
                  <a:cubicBezTo>
                    <a:pt x="13" y="65"/>
                    <a:pt x="13" y="65"/>
                    <a:pt x="13" y="65"/>
                  </a:cubicBezTo>
                  <a:cubicBezTo>
                    <a:pt x="14" y="66"/>
                    <a:pt x="15" y="67"/>
                    <a:pt x="16" y="67"/>
                  </a:cubicBezTo>
                  <a:cubicBezTo>
                    <a:pt x="16" y="68"/>
                    <a:pt x="16" y="68"/>
                    <a:pt x="16" y="68"/>
                  </a:cubicBezTo>
                  <a:cubicBezTo>
                    <a:pt x="17" y="68"/>
                    <a:pt x="18" y="69"/>
                    <a:pt x="18" y="69"/>
                  </a:cubicBezTo>
                  <a:cubicBezTo>
                    <a:pt x="19" y="69"/>
                    <a:pt x="19" y="69"/>
                    <a:pt x="19" y="69"/>
                  </a:cubicBezTo>
                  <a:cubicBezTo>
                    <a:pt x="20" y="70"/>
                    <a:pt x="21" y="70"/>
                    <a:pt x="22" y="71"/>
                  </a:cubicBezTo>
                  <a:cubicBezTo>
                    <a:pt x="22" y="71"/>
                    <a:pt x="22" y="71"/>
                    <a:pt x="22" y="71"/>
                  </a:cubicBezTo>
                  <a:cubicBezTo>
                    <a:pt x="23" y="71"/>
                    <a:pt x="24" y="72"/>
                    <a:pt x="25" y="72"/>
                  </a:cubicBezTo>
                  <a:cubicBezTo>
                    <a:pt x="26" y="72"/>
                    <a:pt x="26" y="72"/>
                    <a:pt x="26" y="72"/>
                  </a:cubicBezTo>
                  <a:cubicBezTo>
                    <a:pt x="27" y="72"/>
                    <a:pt x="27" y="73"/>
                    <a:pt x="28" y="73"/>
                  </a:cubicBezTo>
                  <a:cubicBezTo>
                    <a:pt x="29" y="73"/>
                    <a:pt x="29" y="73"/>
                    <a:pt x="29" y="73"/>
                  </a:cubicBezTo>
                  <a:cubicBezTo>
                    <a:pt x="30" y="73"/>
                    <a:pt x="31" y="73"/>
                    <a:pt x="32" y="73"/>
                  </a:cubicBezTo>
                  <a:cubicBezTo>
                    <a:pt x="39" y="74"/>
                    <a:pt x="45" y="73"/>
                    <a:pt x="50" y="71"/>
                  </a:cubicBezTo>
                  <a:cubicBezTo>
                    <a:pt x="51" y="70"/>
                    <a:pt x="52" y="70"/>
                    <a:pt x="53" y="69"/>
                  </a:cubicBezTo>
                  <a:cubicBezTo>
                    <a:pt x="54" y="69"/>
                    <a:pt x="55" y="68"/>
                    <a:pt x="56" y="67"/>
                  </a:cubicBezTo>
                  <a:cubicBezTo>
                    <a:pt x="57" y="67"/>
                    <a:pt x="58" y="66"/>
                    <a:pt x="59" y="65"/>
                  </a:cubicBezTo>
                  <a:cubicBezTo>
                    <a:pt x="60" y="64"/>
                    <a:pt x="62" y="62"/>
                    <a:pt x="63" y="60"/>
                  </a:cubicBezTo>
                  <a:cubicBezTo>
                    <a:pt x="67" y="56"/>
                    <a:pt x="69" y="51"/>
                    <a:pt x="71" y="46"/>
                  </a:cubicBezTo>
                  <a:cubicBezTo>
                    <a:pt x="71" y="46"/>
                    <a:pt x="71" y="46"/>
                    <a:pt x="71" y="46"/>
                  </a:cubicBezTo>
                  <a:cubicBezTo>
                    <a:pt x="71" y="45"/>
                    <a:pt x="71" y="45"/>
                    <a:pt x="71" y="45"/>
                  </a:cubicBezTo>
                  <a:cubicBezTo>
                    <a:pt x="71" y="45"/>
                    <a:pt x="71" y="44"/>
                    <a:pt x="71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42"/>
                    <a:pt x="71" y="42"/>
                    <a:pt x="71" y="41"/>
                  </a:cubicBezTo>
                  <a:cubicBezTo>
                    <a:pt x="72" y="40"/>
                    <a:pt x="72" y="40"/>
                    <a:pt x="72" y="39"/>
                  </a:cubicBezTo>
                  <a:cubicBezTo>
                    <a:pt x="72" y="39"/>
                    <a:pt x="72" y="39"/>
                    <a:pt x="72" y="39"/>
                  </a:cubicBezTo>
                  <a:cubicBezTo>
                    <a:pt x="72" y="38"/>
                    <a:pt x="72" y="38"/>
                    <a:pt x="72" y="38"/>
                  </a:cubicBezTo>
                  <a:lnTo>
                    <a:pt x="72" y="37"/>
                  </a:lnTo>
                  <a:close/>
                </a:path>
              </a:pathLst>
            </a:custGeom>
            <a:solidFill>
              <a:srgbClr val="D9D8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96" name="ïŝḻiḍê">
              <a:extLst>
                <a:ext uri="{FF2B5EF4-FFF2-40B4-BE49-F238E27FC236}">
                  <a16:creationId xmlns:a16="http://schemas.microsoft.com/office/drawing/2014/main" id="{918CAD95-B4A0-4E2A-99AD-6223B74D7C5E}"/>
                </a:ext>
              </a:extLst>
            </p:cNvPr>
            <p:cNvSpPr/>
            <p:nvPr userDrawn="1"/>
          </p:nvSpPr>
          <p:spPr bwMode="auto">
            <a:xfrm>
              <a:off x="7564438" y="1384300"/>
              <a:ext cx="138113" cy="138113"/>
            </a:xfrm>
            <a:custGeom>
              <a:avLst/>
              <a:gdLst>
                <a:gd name="T0" fmla="*/ 73 w 82"/>
                <a:gd name="T1" fmla="*/ 25 h 82"/>
                <a:gd name="T2" fmla="*/ 58 w 82"/>
                <a:gd name="T3" fmla="*/ 73 h 82"/>
                <a:gd name="T4" fmla="*/ 10 w 82"/>
                <a:gd name="T5" fmla="*/ 58 h 82"/>
                <a:gd name="T6" fmla="*/ 25 w 82"/>
                <a:gd name="T7" fmla="*/ 9 h 82"/>
                <a:gd name="T8" fmla="*/ 73 w 82"/>
                <a:gd name="T9" fmla="*/ 25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2" h="82">
                  <a:moveTo>
                    <a:pt x="73" y="25"/>
                  </a:moveTo>
                  <a:cubicBezTo>
                    <a:pt x="82" y="42"/>
                    <a:pt x="75" y="64"/>
                    <a:pt x="58" y="73"/>
                  </a:cubicBezTo>
                  <a:cubicBezTo>
                    <a:pt x="40" y="82"/>
                    <a:pt x="19" y="75"/>
                    <a:pt x="10" y="58"/>
                  </a:cubicBezTo>
                  <a:cubicBezTo>
                    <a:pt x="0" y="40"/>
                    <a:pt x="7" y="19"/>
                    <a:pt x="25" y="9"/>
                  </a:cubicBezTo>
                  <a:cubicBezTo>
                    <a:pt x="42" y="0"/>
                    <a:pt x="64" y="7"/>
                    <a:pt x="73" y="25"/>
                  </a:cubicBezTo>
                  <a:close/>
                </a:path>
              </a:pathLst>
            </a:custGeom>
            <a:solidFill>
              <a:srgbClr val="4675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97" name="iṡḻïḑe">
              <a:extLst>
                <a:ext uri="{FF2B5EF4-FFF2-40B4-BE49-F238E27FC236}">
                  <a16:creationId xmlns:a16="http://schemas.microsoft.com/office/drawing/2014/main" id="{27AA7198-C116-4517-B2E5-A67A73650052}"/>
                </a:ext>
              </a:extLst>
            </p:cNvPr>
            <p:cNvSpPr/>
            <p:nvPr userDrawn="1"/>
          </p:nvSpPr>
          <p:spPr bwMode="auto">
            <a:xfrm>
              <a:off x="7594600" y="1398588"/>
              <a:ext cx="107950" cy="120650"/>
            </a:xfrm>
            <a:custGeom>
              <a:avLst/>
              <a:gdLst>
                <a:gd name="T0" fmla="*/ 39 w 64"/>
                <a:gd name="T1" fmla="*/ 0 h 71"/>
                <a:gd name="T2" fmla="*/ 48 w 64"/>
                <a:gd name="T3" fmla="*/ 11 h 71"/>
                <a:gd name="T4" fmla="*/ 33 w 64"/>
                <a:gd name="T5" fmla="*/ 59 h 71"/>
                <a:gd name="T6" fmla="*/ 0 w 64"/>
                <a:gd name="T7" fmla="*/ 60 h 71"/>
                <a:gd name="T8" fmla="*/ 40 w 64"/>
                <a:gd name="T9" fmla="*/ 64 h 71"/>
                <a:gd name="T10" fmla="*/ 55 w 64"/>
                <a:gd name="T11" fmla="*/ 16 h 71"/>
                <a:gd name="T12" fmla="*/ 39 w 64"/>
                <a:gd name="T13" fmla="*/ 0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4" h="71">
                  <a:moveTo>
                    <a:pt x="39" y="0"/>
                  </a:moveTo>
                  <a:cubicBezTo>
                    <a:pt x="43" y="3"/>
                    <a:pt x="46" y="7"/>
                    <a:pt x="48" y="11"/>
                  </a:cubicBezTo>
                  <a:cubicBezTo>
                    <a:pt x="57" y="29"/>
                    <a:pt x="51" y="50"/>
                    <a:pt x="33" y="59"/>
                  </a:cubicBezTo>
                  <a:cubicBezTo>
                    <a:pt x="23" y="65"/>
                    <a:pt x="10" y="65"/>
                    <a:pt x="0" y="60"/>
                  </a:cubicBezTo>
                  <a:cubicBezTo>
                    <a:pt x="11" y="69"/>
                    <a:pt x="27" y="71"/>
                    <a:pt x="40" y="64"/>
                  </a:cubicBezTo>
                  <a:cubicBezTo>
                    <a:pt x="57" y="55"/>
                    <a:pt x="64" y="33"/>
                    <a:pt x="55" y="16"/>
                  </a:cubicBezTo>
                  <a:cubicBezTo>
                    <a:pt x="51" y="9"/>
                    <a:pt x="46" y="3"/>
                    <a:pt x="39" y="0"/>
                  </a:cubicBezTo>
                  <a:close/>
                </a:path>
              </a:pathLst>
            </a:custGeom>
            <a:solidFill>
              <a:srgbClr val="3D69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98" name="iṡḻîdê">
              <a:extLst>
                <a:ext uri="{FF2B5EF4-FFF2-40B4-BE49-F238E27FC236}">
                  <a16:creationId xmlns:a16="http://schemas.microsoft.com/office/drawing/2014/main" id="{99CA0B4C-9FB4-4876-86A1-ED236FEA6E6F}"/>
                </a:ext>
              </a:extLst>
            </p:cNvPr>
            <p:cNvSpPr/>
            <p:nvPr userDrawn="1"/>
          </p:nvSpPr>
          <p:spPr bwMode="auto">
            <a:xfrm>
              <a:off x="7580313" y="1425575"/>
              <a:ext cx="111125" cy="63500"/>
            </a:xfrm>
            <a:custGeom>
              <a:avLst/>
              <a:gdLst>
                <a:gd name="T0" fmla="*/ 0 w 65"/>
                <a:gd name="T1" fmla="*/ 34 h 37"/>
                <a:gd name="T2" fmla="*/ 2 w 65"/>
                <a:gd name="T3" fmla="*/ 37 h 37"/>
                <a:gd name="T4" fmla="*/ 65 w 65"/>
                <a:gd name="T5" fmla="*/ 4 h 37"/>
                <a:gd name="T6" fmla="*/ 64 w 65"/>
                <a:gd name="T7" fmla="*/ 1 h 37"/>
                <a:gd name="T8" fmla="*/ 63 w 65"/>
                <a:gd name="T9" fmla="*/ 0 h 37"/>
                <a:gd name="T10" fmla="*/ 0 w 65"/>
                <a:gd name="T11" fmla="*/ 33 h 37"/>
                <a:gd name="T12" fmla="*/ 0 w 65"/>
                <a:gd name="T13" fmla="*/ 34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5" h="37">
                  <a:moveTo>
                    <a:pt x="0" y="34"/>
                  </a:moveTo>
                  <a:cubicBezTo>
                    <a:pt x="1" y="35"/>
                    <a:pt x="1" y="36"/>
                    <a:pt x="2" y="37"/>
                  </a:cubicBezTo>
                  <a:cubicBezTo>
                    <a:pt x="65" y="4"/>
                    <a:pt x="65" y="4"/>
                    <a:pt x="65" y="4"/>
                  </a:cubicBezTo>
                  <a:cubicBezTo>
                    <a:pt x="65" y="3"/>
                    <a:pt x="64" y="2"/>
                    <a:pt x="64" y="1"/>
                  </a:cubicBezTo>
                  <a:cubicBezTo>
                    <a:pt x="63" y="0"/>
                    <a:pt x="63" y="0"/>
                    <a:pt x="63" y="0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0" y="33"/>
                    <a:pt x="0" y="33"/>
                    <a:pt x="0" y="34"/>
                  </a:cubicBezTo>
                  <a:close/>
                </a:path>
              </a:pathLst>
            </a:custGeom>
            <a:solidFill>
              <a:srgbClr val="3D69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99" name="ïsḻïḑè">
              <a:extLst>
                <a:ext uri="{FF2B5EF4-FFF2-40B4-BE49-F238E27FC236}">
                  <a16:creationId xmlns:a16="http://schemas.microsoft.com/office/drawing/2014/main" id="{FB6AFADC-6D39-41A6-A771-6022A97EE219}"/>
                </a:ext>
              </a:extLst>
            </p:cNvPr>
            <p:cNvSpPr/>
            <p:nvPr userDrawn="1"/>
          </p:nvSpPr>
          <p:spPr bwMode="auto">
            <a:xfrm>
              <a:off x="7578725" y="1422400"/>
              <a:ext cx="111125" cy="61913"/>
            </a:xfrm>
            <a:custGeom>
              <a:avLst/>
              <a:gdLst>
                <a:gd name="T0" fmla="*/ 1 w 65"/>
                <a:gd name="T1" fmla="*/ 35 h 37"/>
                <a:gd name="T2" fmla="*/ 2 w 65"/>
                <a:gd name="T3" fmla="*/ 37 h 37"/>
                <a:gd name="T4" fmla="*/ 65 w 65"/>
                <a:gd name="T5" fmla="*/ 4 h 37"/>
                <a:gd name="T6" fmla="*/ 64 w 65"/>
                <a:gd name="T7" fmla="*/ 2 h 37"/>
                <a:gd name="T8" fmla="*/ 63 w 65"/>
                <a:gd name="T9" fmla="*/ 0 h 37"/>
                <a:gd name="T10" fmla="*/ 0 w 65"/>
                <a:gd name="T11" fmla="*/ 33 h 37"/>
                <a:gd name="T12" fmla="*/ 1 w 65"/>
                <a:gd name="T13" fmla="*/ 35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5" h="37">
                  <a:moveTo>
                    <a:pt x="1" y="35"/>
                  </a:moveTo>
                  <a:cubicBezTo>
                    <a:pt x="1" y="35"/>
                    <a:pt x="1" y="36"/>
                    <a:pt x="2" y="37"/>
                  </a:cubicBezTo>
                  <a:cubicBezTo>
                    <a:pt x="65" y="4"/>
                    <a:pt x="65" y="4"/>
                    <a:pt x="65" y="4"/>
                  </a:cubicBezTo>
                  <a:cubicBezTo>
                    <a:pt x="65" y="3"/>
                    <a:pt x="64" y="2"/>
                    <a:pt x="64" y="2"/>
                  </a:cubicBezTo>
                  <a:cubicBezTo>
                    <a:pt x="64" y="1"/>
                    <a:pt x="63" y="0"/>
                    <a:pt x="63" y="0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0" y="33"/>
                    <a:pt x="0" y="34"/>
                    <a:pt x="1" y="35"/>
                  </a:cubicBezTo>
                  <a:close/>
                </a:path>
              </a:pathLst>
            </a:custGeom>
            <a:solidFill>
              <a:srgbClr val="3245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00" name="îṩļíďè">
              <a:extLst>
                <a:ext uri="{FF2B5EF4-FFF2-40B4-BE49-F238E27FC236}">
                  <a16:creationId xmlns:a16="http://schemas.microsoft.com/office/drawing/2014/main" id="{8D7CDA2B-A2FC-44C3-A1A6-3F89106C72F1}"/>
                </a:ext>
              </a:extLst>
            </p:cNvPr>
            <p:cNvSpPr/>
            <p:nvPr userDrawn="1"/>
          </p:nvSpPr>
          <p:spPr bwMode="auto">
            <a:xfrm>
              <a:off x="7080250" y="1828800"/>
              <a:ext cx="122238" cy="123825"/>
            </a:xfrm>
            <a:custGeom>
              <a:avLst/>
              <a:gdLst>
                <a:gd name="T0" fmla="*/ 72 w 72"/>
                <a:gd name="T1" fmla="*/ 34 h 73"/>
                <a:gd name="T2" fmla="*/ 71 w 72"/>
                <a:gd name="T3" fmla="*/ 31 h 73"/>
                <a:gd name="T4" fmla="*/ 70 w 72"/>
                <a:gd name="T5" fmla="*/ 27 h 73"/>
                <a:gd name="T6" fmla="*/ 69 w 72"/>
                <a:gd name="T7" fmla="*/ 24 h 73"/>
                <a:gd name="T8" fmla="*/ 68 w 72"/>
                <a:gd name="T9" fmla="*/ 21 h 73"/>
                <a:gd name="T10" fmla="*/ 67 w 72"/>
                <a:gd name="T11" fmla="*/ 19 h 73"/>
                <a:gd name="T12" fmla="*/ 39 w 72"/>
                <a:gd name="T13" fmla="*/ 1 h 73"/>
                <a:gd name="T14" fmla="*/ 1 w 72"/>
                <a:gd name="T15" fmla="*/ 31 h 73"/>
                <a:gd name="T16" fmla="*/ 0 w 72"/>
                <a:gd name="T17" fmla="*/ 35 h 73"/>
                <a:gd name="T18" fmla="*/ 0 w 72"/>
                <a:gd name="T19" fmla="*/ 35 h 73"/>
                <a:gd name="T20" fmla="*/ 0 w 72"/>
                <a:gd name="T21" fmla="*/ 36 h 73"/>
                <a:gd name="T22" fmla="*/ 0 w 72"/>
                <a:gd name="T23" fmla="*/ 38 h 73"/>
                <a:gd name="T24" fmla="*/ 0 w 72"/>
                <a:gd name="T25" fmla="*/ 38 h 73"/>
                <a:gd name="T26" fmla="*/ 2 w 72"/>
                <a:gd name="T27" fmla="*/ 48 h 73"/>
                <a:gd name="T28" fmla="*/ 2 w 72"/>
                <a:gd name="T29" fmla="*/ 48 h 73"/>
                <a:gd name="T30" fmla="*/ 3 w 72"/>
                <a:gd name="T31" fmla="*/ 52 h 73"/>
                <a:gd name="T32" fmla="*/ 5 w 72"/>
                <a:gd name="T33" fmla="*/ 54 h 73"/>
                <a:gd name="T34" fmla="*/ 7 w 72"/>
                <a:gd name="T35" fmla="*/ 57 h 73"/>
                <a:gd name="T36" fmla="*/ 9 w 72"/>
                <a:gd name="T37" fmla="*/ 60 h 73"/>
                <a:gd name="T38" fmla="*/ 11 w 72"/>
                <a:gd name="T39" fmla="*/ 63 h 73"/>
                <a:gd name="T40" fmla="*/ 13 w 72"/>
                <a:gd name="T41" fmla="*/ 65 h 73"/>
                <a:gd name="T42" fmla="*/ 17 w 72"/>
                <a:gd name="T43" fmla="*/ 67 h 73"/>
                <a:gd name="T44" fmla="*/ 19 w 72"/>
                <a:gd name="T45" fmla="*/ 69 h 73"/>
                <a:gd name="T46" fmla="*/ 22 w 72"/>
                <a:gd name="T47" fmla="*/ 70 h 73"/>
                <a:gd name="T48" fmla="*/ 26 w 72"/>
                <a:gd name="T49" fmla="*/ 71 h 73"/>
                <a:gd name="T50" fmla="*/ 29 w 72"/>
                <a:gd name="T51" fmla="*/ 72 h 73"/>
                <a:gd name="T52" fmla="*/ 50 w 72"/>
                <a:gd name="T53" fmla="*/ 70 h 73"/>
                <a:gd name="T54" fmla="*/ 56 w 72"/>
                <a:gd name="T55" fmla="*/ 67 h 73"/>
                <a:gd name="T56" fmla="*/ 64 w 72"/>
                <a:gd name="T57" fmla="*/ 60 h 73"/>
                <a:gd name="T58" fmla="*/ 71 w 72"/>
                <a:gd name="T59" fmla="*/ 45 h 73"/>
                <a:gd name="T60" fmla="*/ 71 w 72"/>
                <a:gd name="T61" fmla="*/ 43 h 73"/>
                <a:gd name="T62" fmla="*/ 71 w 72"/>
                <a:gd name="T63" fmla="*/ 43 h 73"/>
                <a:gd name="T64" fmla="*/ 71 w 72"/>
                <a:gd name="T65" fmla="*/ 42 h 73"/>
                <a:gd name="T66" fmla="*/ 72 w 72"/>
                <a:gd name="T67" fmla="*/ 40 h 73"/>
                <a:gd name="T68" fmla="*/ 72 w 72"/>
                <a:gd name="T69" fmla="*/ 38 h 73"/>
                <a:gd name="T70" fmla="*/ 72 w 72"/>
                <a:gd name="T71" fmla="*/ 36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72" h="73">
                  <a:moveTo>
                    <a:pt x="72" y="36"/>
                  </a:moveTo>
                  <a:cubicBezTo>
                    <a:pt x="72" y="35"/>
                    <a:pt x="72" y="35"/>
                    <a:pt x="72" y="34"/>
                  </a:cubicBezTo>
                  <a:cubicBezTo>
                    <a:pt x="72" y="33"/>
                    <a:pt x="72" y="33"/>
                    <a:pt x="71" y="33"/>
                  </a:cubicBezTo>
                  <a:cubicBezTo>
                    <a:pt x="71" y="32"/>
                    <a:pt x="71" y="31"/>
                    <a:pt x="71" y="31"/>
                  </a:cubicBezTo>
                  <a:cubicBezTo>
                    <a:pt x="71" y="29"/>
                    <a:pt x="71" y="29"/>
                    <a:pt x="71" y="29"/>
                  </a:cubicBezTo>
                  <a:cubicBezTo>
                    <a:pt x="71" y="28"/>
                    <a:pt x="70" y="27"/>
                    <a:pt x="70" y="27"/>
                  </a:cubicBezTo>
                  <a:cubicBezTo>
                    <a:pt x="70" y="26"/>
                    <a:pt x="70" y="26"/>
                    <a:pt x="70" y="25"/>
                  </a:cubicBezTo>
                  <a:cubicBezTo>
                    <a:pt x="70" y="25"/>
                    <a:pt x="69" y="24"/>
                    <a:pt x="69" y="24"/>
                  </a:cubicBezTo>
                  <a:cubicBezTo>
                    <a:pt x="69" y="23"/>
                    <a:pt x="69" y="23"/>
                    <a:pt x="69" y="22"/>
                  </a:cubicBezTo>
                  <a:cubicBezTo>
                    <a:pt x="68" y="22"/>
                    <a:pt x="68" y="21"/>
                    <a:pt x="68" y="21"/>
                  </a:cubicBezTo>
                  <a:cubicBezTo>
                    <a:pt x="68" y="20"/>
                    <a:pt x="67" y="20"/>
                    <a:pt x="67" y="19"/>
                  </a:cubicBezTo>
                  <a:cubicBezTo>
                    <a:pt x="67" y="19"/>
                    <a:pt x="67" y="19"/>
                    <a:pt x="67" y="19"/>
                  </a:cubicBezTo>
                  <a:cubicBezTo>
                    <a:pt x="67" y="19"/>
                    <a:pt x="67" y="19"/>
                    <a:pt x="67" y="19"/>
                  </a:cubicBezTo>
                  <a:cubicBezTo>
                    <a:pt x="61" y="10"/>
                    <a:pt x="51" y="3"/>
                    <a:pt x="39" y="1"/>
                  </a:cubicBezTo>
                  <a:cubicBezTo>
                    <a:pt x="21" y="0"/>
                    <a:pt x="4" y="13"/>
                    <a:pt x="1" y="31"/>
                  </a:cubicBezTo>
                  <a:cubicBezTo>
                    <a:pt x="1" y="31"/>
                    <a:pt x="1" y="31"/>
                    <a:pt x="1" y="31"/>
                  </a:cubicBezTo>
                  <a:cubicBezTo>
                    <a:pt x="1" y="32"/>
                    <a:pt x="0" y="33"/>
                    <a:pt x="0" y="34"/>
                  </a:cubicBezTo>
                  <a:cubicBezTo>
                    <a:pt x="0" y="34"/>
                    <a:pt x="0" y="34"/>
                    <a:pt x="0" y="35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0" y="37"/>
                    <a:pt x="0" y="37"/>
                    <a:pt x="0" y="38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0" y="42"/>
                    <a:pt x="1" y="45"/>
                    <a:pt x="2" y="48"/>
                  </a:cubicBezTo>
                  <a:cubicBezTo>
                    <a:pt x="2" y="48"/>
                    <a:pt x="2" y="48"/>
                    <a:pt x="2" y="48"/>
                  </a:cubicBezTo>
                  <a:cubicBezTo>
                    <a:pt x="2" y="48"/>
                    <a:pt x="2" y="48"/>
                    <a:pt x="2" y="48"/>
                  </a:cubicBezTo>
                  <a:cubicBezTo>
                    <a:pt x="2" y="48"/>
                    <a:pt x="2" y="48"/>
                    <a:pt x="2" y="48"/>
                  </a:cubicBezTo>
                  <a:cubicBezTo>
                    <a:pt x="2" y="49"/>
                    <a:pt x="3" y="50"/>
                    <a:pt x="3" y="51"/>
                  </a:cubicBezTo>
                  <a:cubicBezTo>
                    <a:pt x="3" y="52"/>
                    <a:pt x="3" y="52"/>
                    <a:pt x="3" y="52"/>
                  </a:cubicBezTo>
                  <a:cubicBezTo>
                    <a:pt x="4" y="52"/>
                    <a:pt x="4" y="53"/>
                    <a:pt x="4" y="54"/>
                  </a:cubicBezTo>
                  <a:cubicBezTo>
                    <a:pt x="5" y="54"/>
                    <a:pt x="5" y="54"/>
                    <a:pt x="5" y="54"/>
                  </a:cubicBezTo>
                  <a:cubicBezTo>
                    <a:pt x="5" y="55"/>
                    <a:pt x="6" y="56"/>
                    <a:pt x="6" y="57"/>
                  </a:cubicBezTo>
                  <a:cubicBezTo>
                    <a:pt x="7" y="57"/>
                    <a:pt x="7" y="57"/>
                    <a:pt x="7" y="57"/>
                  </a:cubicBezTo>
                  <a:cubicBezTo>
                    <a:pt x="7" y="58"/>
                    <a:pt x="8" y="59"/>
                    <a:pt x="8" y="60"/>
                  </a:cubicBezTo>
                  <a:cubicBezTo>
                    <a:pt x="9" y="60"/>
                    <a:pt x="9" y="60"/>
                    <a:pt x="9" y="60"/>
                  </a:cubicBezTo>
                  <a:cubicBezTo>
                    <a:pt x="9" y="61"/>
                    <a:pt x="10" y="61"/>
                    <a:pt x="10" y="62"/>
                  </a:cubicBezTo>
                  <a:cubicBezTo>
                    <a:pt x="11" y="63"/>
                    <a:pt x="11" y="63"/>
                    <a:pt x="11" y="63"/>
                  </a:cubicBezTo>
                  <a:cubicBezTo>
                    <a:pt x="12" y="63"/>
                    <a:pt x="12" y="64"/>
                    <a:pt x="13" y="65"/>
                  </a:cubicBezTo>
                  <a:cubicBezTo>
                    <a:pt x="13" y="65"/>
                    <a:pt x="13" y="65"/>
                    <a:pt x="13" y="65"/>
                  </a:cubicBezTo>
                  <a:cubicBezTo>
                    <a:pt x="14" y="65"/>
                    <a:pt x="15" y="66"/>
                    <a:pt x="16" y="67"/>
                  </a:cubicBezTo>
                  <a:cubicBezTo>
                    <a:pt x="17" y="67"/>
                    <a:pt x="17" y="67"/>
                    <a:pt x="17" y="67"/>
                  </a:cubicBezTo>
                  <a:cubicBezTo>
                    <a:pt x="17" y="67"/>
                    <a:pt x="18" y="68"/>
                    <a:pt x="19" y="68"/>
                  </a:cubicBezTo>
                  <a:cubicBezTo>
                    <a:pt x="19" y="69"/>
                    <a:pt x="19" y="69"/>
                    <a:pt x="19" y="69"/>
                  </a:cubicBezTo>
                  <a:cubicBezTo>
                    <a:pt x="20" y="69"/>
                    <a:pt x="21" y="70"/>
                    <a:pt x="22" y="70"/>
                  </a:cubicBezTo>
                  <a:cubicBezTo>
                    <a:pt x="22" y="70"/>
                    <a:pt x="22" y="70"/>
                    <a:pt x="22" y="70"/>
                  </a:cubicBezTo>
                  <a:cubicBezTo>
                    <a:pt x="23" y="71"/>
                    <a:pt x="24" y="71"/>
                    <a:pt x="25" y="71"/>
                  </a:cubicBezTo>
                  <a:cubicBezTo>
                    <a:pt x="26" y="71"/>
                    <a:pt x="26" y="71"/>
                    <a:pt x="26" y="71"/>
                  </a:cubicBezTo>
                  <a:cubicBezTo>
                    <a:pt x="27" y="72"/>
                    <a:pt x="28" y="72"/>
                    <a:pt x="28" y="72"/>
                  </a:cubicBezTo>
                  <a:cubicBezTo>
                    <a:pt x="29" y="72"/>
                    <a:pt x="29" y="72"/>
                    <a:pt x="29" y="72"/>
                  </a:cubicBezTo>
                  <a:cubicBezTo>
                    <a:pt x="30" y="72"/>
                    <a:pt x="32" y="73"/>
                    <a:pt x="33" y="73"/>
                  </a:cubicBezTo>
                  <a:cubicBezTo>
                    <a:pt x="39" y="73"/>
                    <a:pt x="45" y="72"/>
                    <a:pt x="50" y="70"/>
                  </a:cubicBezTo>
                  <a:cubicBezTo>
                    <a:pt x="51" y="70"/>
                    <a:pt x="52" y="69"/>
                    <a:pt x="53" y="68"/>
                  </a:cubicBezTo>
                  <a:cubicBezTo>
                    <a:pt x="54" y="68"/>
                    <a:pt x="55" y="67"/>
                    <a:pt x="56" y="67"/>
                  </a:cubicBezTo>
                  <a:cubicBezTo>
                    <a:pt x="57" y="66"/>
                    <a:pt x="58" y="65"/>
                    <a:pt x="59" y="65"/>
                  </a:cubicBezTo>
                  <a:cubicBezTo>
                    <a:pt x="61" y="63"/>
                    <a:pt x="62" y="62"/>
                    <a:pt x="64" y="60"/>
                  </a:cubicBezTo>
                  <a:cubicBezTo>
                    <a:pt x="67" y="56"/>
                    <a:pt x="70" y="51"/>
                    <a:pt x="71" y="45"/>
                  </a:cubicBezTo>
                  <a:cubicBezTo>
                    <a:pt x="71" y="45"/>
                    <a:pt x="71" y="45"/>
                    <a:pt x="71" y="45"/>
                  </a:cubicBezTo>
                  <a:cubicBezTo>
                    <a:pt x="71" y="45"/>
                    <a:pt x="71" y="45"/>
                    <a:pt x="71" y="45"/>
                  </a:cubicBezTo>
                  <a:cubicBezTo>
                    <a:pt x="71" y="44"/>
                    <a:pt x="71" y="43"/>
                    <a:pt x="71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41"/>
                    <a:pt x="72" y="41"/>
                    <a:pt x="72" y="40"/>
                  </a:cubicBezTo>
                  <a:cubicBezTo>
                    <a:pt x="72" y="40"/>
                    <a:pt x="72" y="39"/>
                    <a:pt x="72" y="38"/>
                  </a:cubicBezTo>
                  <a:cubicBezTo>
                    <a:pt x="72" y="38"/>
                    <a:pt x="72" y="38"/>
                    <a:pt x="72" y="38"/>
                  </a:cubicBezTo>
                  <a:cubicBezTo>
                    <a:pt x="72" y="37"/>
                    <a:pt x="72" y="37"/>
                    <a:pt x="72" y="37"/>
                  </a:cubicBezTo>
                  <a:lnTo>
                    <a:pt x="72" y="36"/>
                  </a:lnTo>
                  <a:close/>
                </a:path>
              </a:pathLst>
            </a:custGeom>
            <a:solidFill>
              <a:srgbClr val="D9D8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01" name="iṩḻiḋé">
              <a:extLst>
                <a:ext uri="{FF2B5EF4-FFF2-40B4-BE49-F238E27FC236}">
                  <a16:creationId xmlns:a16="http://schemas.microsoft.com/office/drawing/2014/main" id="{CE5EF747-60AD-4937-BBA0-5088184C907D}"/>
                </a:ext>
              </a:extLst>
            </p:cNvPr>
            <p:cNvSpPr/>
            <p:nvPr userDrawn="1"/>
          </p:nvSpPr>
          <p:spPr bwMode="auto">
            <a:xfrm>
              <a:off x="7059613" y="1820863"/>
              <a:ext cx="138113" cy="136525"/>
            </a:xfrm>
            <a:custGeom>
              <a:avLst/>
              <a:gdLst>
                <a:gd name="T0" fmla="*/ 72 w 81"/>
                <a:gd name="T1" fmla="*/ 24 h 81"/>
                <a:gd name="T2" fmla="*/ 57 w 81"/>
                <a:gd name="T3" fmla="*/ 72 h 81"/>
                <a:gd name="T4" fmla="*/ 9 w 81"/>
                <a:gd name="T5" fmla="*/ 57 h 81"/>
                <a:gd name="T6" fmla="*/ 24 w 81"/>
                <a:gd name="T7" fmla="*/ 9 h 81"/>
                <a:gd name="T8" fmla="*/ 72 w 81"/>
                <a:gd name="T9" fmla="*/ 24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1" h="81">
                  <a:moveTo>
                    <a:pt x="72" y="24"/>
                  </a:moveTo>
                  <a:cubicBezTo>
                    <a:pt x="81" y="41"/>
                    <a:pt x="75" y="63"/>
                    <a:pt x="57" y="72"/>
                  </a:cubicBezTo>
                  <a:cubicBezTo>
                    <a:pt x="39" y="81"/>
                    <a:pt x="18" y="74"/>
                    <a:pt x="9" y="57"/>
                  </a:cubicBezTo>
                  <a:cubicBezTo>
                    <a:pt x="0" y="39"/>
                    <a:pt x="6" y="18"/>
                    <a:pt x="24" y="9"/>
                  </a:cubicBezTo>
                  <a:cubicBezTo>
                    <a:pt x="41" y="0"/>
                    <a:pt x="63" y="6"/>
                    <a:pt x="72" y="24"/>
                  </a:cubicBezTo>
                  <a:close/>
                </a:path>
              </a:pathLst>
            </a:custGeom>
            <a:solidFill>
              <a:srgbClr val="4675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02" name="ísľiḋè">
              <a:extLst>
                <a:ext uri="{FF2B5EF4-FFF2-40B4-BE49-F238E27FC236}">
                  <a16:creationId xmlns:a16="http://schemas.microsoft.com/office/drawing/2014/main" id="{A7A2FFCA-F6B9-4BA8-9D33-25F229926AF0}"/>
                </a:ext>
              </a:extLst>
            </p:cNvPr>
            <p:cNvSpPr/>
            <p:nvPr userDrawn="1"/>
          </p:nvSpPr>
          <p:spPr bwMode="auto">
            <a:xfrm>
              <a:off x="7089775" y="1836738"/>
              <a:ext cx="107950" cy="117475"/>
            </a:xfrm>
            <a:custGeom>
              <a:avLst/>
              <a:gdLst>
                <a:gd name="T0" fmla="*/ 39 w 63"/>
                <a:gd name="T1" fmla="*/ 0 h 70"/>
                <a:gd name="T2" fmla="*/ 48 w 63"/>
                <a:gd name="T3" fmla="*/ 11 h 70"/>
                <a:gd name="T4" fmla="*/ 32 w 63"/>
                <a:gd name="T5" fmla="*/ 59 h 70"/>
                <a:gd name="T6" fmla="*/ 0 w 63"/>
                <a:gd name="T7" fmla="*/ 59 h 70"/>
                <a:gd name="T8" fmla="*/ 39 w 63"/>
                <a:gd name="T9" fmla="*/ 63 h 70"/>
                <a:gd name="T10" fmla="*/ 54 w 63"/>
                <a:gd name="T11" fmla="*/ 15 h 70"/>
                <a:gd name="T12" fmla="*/ 39 w 63"/>
                <a:gd name="T13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3" h="70">
                  <a:moveTo>
                    <a:pt x="39" y="0"/>
                  </a:moveTo>
                  <a:cubicBezTo>
                    <a:pt x="42" y="3"/>
                    <a:pt x="45" y="6"/>
                    <a:pt x="48" y="11"/>
                  </a:cubicBezTo>
                  <a:cubicBezTo>
                    <a:pt x="57" y="28"/>
                    <a:pt x="50" y="50"/>
                    <a:pt x="32" y="59"/>
                  </a:cubicBezTo>
                  <a:cubicBezTo>
                    <a:pt x="22" y="64"/>
                    <a:pt x="10" y="64"/>
                    <a:pt x="0" y="59"/>
                  </a:cubicBezTo>
                  <a:cubicBezTo>
                    <a:pt x="10" y="68"/>
                    <a:pt x="26" y="70"/>
                    <a:pt x="39" y="63"/>
                  </a:cubicBezTo>
                  <a:cubicBezTo>
                    <a:pt x="57" y="54"/>
                    <a:pt x="63" y="32"/>
                    <a:pt x="54" y="15"/>
                  </a:cubicBezTo>
                  <a:cubicBezTo>
                    <a:pt x="51" y="8"/>
                    <a:pt x="45" y="3"/>
                    <a:pt x="39" y="0"/>
                  </a:cubicBezTo>
                  <a:close/>
                </a:path>
              </a:pathLst>
            </a:custGeom>
            <a:solidFill>
              <a:srgbClr val="3D69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03" name="ïś1ïďe">
              <a:extLst>
                <a:ext uri="{FF2B5EF4-FFF2-40B4-BE49-F238E27FC236}">
                  <a16:creationId xmlns:a16="http://schemas.microsoft.com/office/drawing/2014/main" id="{8B7DBCAD-4A44-4B35-8C7E-3FA81870A4D3}"/>
                </a:ext>
              </a:extLst>
            </p:cNvPr>
            <p:cNvSpPr/>
            <p:nvPr userDrawn="1"/>
          </p:nvSpPr>
          <p:spPr bwMode="auto">
            <a:xfrm>
              <a:off x="7075488" y="1862138"/>
              <a:ext cx="109538" cy="61913"/>
            </a:xfrm>
            <a:custGeom>
              <a:avLst/>
              <a:gdLst>
                <a:gd name="T0" fmla="*/ 0 w 65"/>
                <a:gd name="T1" fmla="*/ 34 h 37"/>
                <a:gd name="T2" fmla="*/ 2 w 65"/>
                <a:gd name="T3" fmla="*/ 37 h 37"/>
                <a:gd name="T4" fmla="*/ 65 w 65"/>
                <a:gd name="T5" fmla="*/ 4 h 37"/>
                <a:gd name="T6" fmla="*/ 64 w 65"/>
                <a:gd name="T7" fmla="*/ 1 h 37"/>
                <a:gd name="T8" fmla="*/ 63 w 65"/>
                <a:gd name="T9" fmla="*/ 0 h 37"/>
                <a:gd name="T10" fmla="*/ 0 w 65"/>
                <a:gd name="T11" fmla="*/ 33 h 37"/>
                <a:gd name="T12" fmla="*/ 0 w 65"/>
                <a:gd name="T13" fmla="*/ 34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5" h="37">
                  <a:moveTo>
                    <a:pt x="0" y="34"/>
                  </a:moveTo>
                  <a:cubicBezTo>
                    <a:pt x="1" y="35"/>
                    <a:pt x="2" y="36"/>
                    <a:pt x="2" y="37"/>
                  </a:cubicBezTo>
                  <a:cubicBezTo>
                    <a:pt x="65" y="4"/>
                    <a:pt x="65" y="4"/>
                    <a:pt x="65" y="4"/>
                  </a:cubicBezTo>
                  <a:cubicBezTo>
                    <a:pt x="65" y="3"/>
                    <a:pt x="64" y="2"/>
                    <a:pt x="64" y="1"/>
                  </a:cubicBezTo>
                  <a:cubicBezTo>
                    <a:pt x="64" y="1"/>
                    <a:pt x="63" y="0"/>
                    <a:pt x="63" y="0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0" y="33"/>
                    <a:pt x="0" y="34"/>
                    <a:pt x="0" y="34"/>
                  </a:cubicBezTo>
                  <a:close/>
                </a:path>
              </a:pathLst>
            </a:custGeom>
            <a:solidFill>
              <a:srgbClr val="3D69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04" name="íśliḑe">
              <a:extLst>
                <a:ext uri="{FF2B5EF4-FFF2-40B4-BE49-F238E27FC236}">
                  <a16:creationId xmlns:a16="http://schemas.microsoft.com/office/drawing/2014/main" id="{08DFC4E8-78B2-4726-8BE1-3C8DDC0B066F}"/>
                </a:ext>
              </a:extLst>
            </p:cNvPr>
            <p:cNvSpPr/>
            <p:nvPr userDrawn="1"/>
          </p:nvSpPr>
          <p:spPr bwMode="auto">
            <a:xfrm>
              <a:off x="7073900" y="1858963"/>
              <a:ext cx="109538" cy="61913"/>
            </a:xfrm>
            <a:custGeom>
              <a:avLst/>
              <a:gdLst>
                <a:gd name="T0" fmla="*/ 1 w 65"/>
                <a:gd name="T1" fmla="*/ 35 h 37"/>
                <a:gd name="T2" fmla="*/ 2 w 65"/>
                <a:gd name="T3" fmla="*/ 37 h 37"/>
                <a:gd name="T4" fmla="*/ 65 w 65"/>
                <a:gd name="T5" fmla="*/ 4 h 37"/>
                <a:gd name="T6" fmla="*/ 64 w 65"/>
                <a:gd name="T7" fmla="*/ 2 h 37"/>
                <a:gd name="T8" fmla="*/ 63 w 65"/>
                <a:gd name="T9" fmla="*/ 0 h 37"/>
                <a:gd name="T10" fmla="*/ 0 w 65"/>
                <a:gd name="T11" fmla="*/ 33 h 37"/>
                <a:gd name="T12" fmla="*/ 1 w 65"/>
                <a:gd name="T13" fmla="*/ 35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5" h="37">
                  <a:moveTo>
                    <a:pt x="1" y="35"/>
                  </a:moveTo>
                  <a:cubicBezTo>
                    <a:pt x="1" y="36"/>
                    <a:pt x="1" y="36"/>
                    <a:pt x="2" y="37"/>
                  </a:cubicBezTo>
                  <a:cubicBezTo>
                    <a:pt x="65" y="4"/>
                    <a:pt x="65" y="4"/>
                    <a:pt x="65" y="4"/>
                  </a:cubicBezTo>
                  <a:cubicBezTo>
                    <a:pt x="65" y="3"/>
                    <a:pt x="65" y="3"/>
                    <a:pt x="64" y="2"/>
                  </a:cubicBezTo>
                  <a:cubicBezTo>
                    <a:pt x="64" y="1"/>
                    <a:pt x="63" y="1"/>
                    <a:pt x="63" y="0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0" y="34"/>
                    <a:pt x="0" y="34"/>
                    <a:pt x="1" y="35"/>
                  </a:cubicBezTo>
                  <a:close/>
                </a:path>
              </a:pathLst>
            </a:custGeom>
            <a:solidFill>
              <a:srgbClr val="3245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05" name="íş1îḑê">
              <a:extLst>
                <a:ext uri="{FF2B5EF4-FFF2-40B4-BE49-F238E27FC236}">
                  <a16:creationId xmlns:a16="http://schemas.microsoft.com/office/drawing/2014/main" id="{657957B7-0A8B-4565-8DDF-CFE299B660D1}"/>
                </a:ext>
              </a:extLst>
            </p:cNvPr>
            <p:cNvSpPr/>
            <p:nvPr userDrawn="1"/>
          </p:nvSpPr>
          <p:spPr bwMode="auto">
            <a:xfrm>
              <a:off x="7224713" y="1754188"/>
              <a:ext cx="120650" cy="122238"/>
            </a:xfrm>
            <a:custGeom>
              <a:avLst/>
              <a:gdLst>
                <a:gd name="T0" fmla="*/ 72 w 72"/>
                <a:gd name="T1" fmla="*/ 34 h 73"/>
                <a:gd name="T2" fmla="*/ 71 w 72"/>
                <a:gd name="T3" fmla="*/ 31 h 73"/>
                <a:gd name="T4" fmla="*/ 70 w 72"/>
                <a:gd name="T5" fmla="*/ 27 h 73"/>
                <a:gd name="T6" fmla="*/ 69 w 72"/>
                <a:gd name="T7" fmla="*/ 24 h 73"/>
                <a:gd name="T8" fmla="*/ 68 w 72"/>
                <a:gd name="T9" fmla="*/ 21 h 73"/>
                <a:gd name="T10" fmla="*/ 67 w 72"/>
                <a:gd name="T11" fmla="*/ 19 h 73"/>
                <a:gd name="T12" fmla="*/ 39 w 72"/>
                <a:gd name="T13" fmla="*/ 2 h 73"/>
                <a:gd name="T14" fmla="*/ 1 w 72"/>
                <a:gd name="T15" fmla="*/ 31 h 73"/>
                <a:gd name="T16" fmla="*/ 0 w 72"/>
                <a:gd name="T17" fmla="*/ 35 h 73"/>
                <a:gd name="T18" fmla="*/ 0 w 72"/>
                <a:gd name="T19" fmla="*/ 35 h 73"/>
                <a:gd name="T20" fmla="*/ 0 w 72"/>
                <a:gd name="T21" fmla="*/ 36 h 73"/>
                <a:gd name="T22" fmla="*/ 0 w 72"/>
                <a:gd name="T23" fmla="*/ 38 h 73"/>
                <a:gd name="T24" fmla="*/ 0 w 72"/>
                <a:gd name="T25" fmla="*/ 38 h 73"/>
                <a:gd name="T26" fmla="*/ 2 w 72"/>
                <a:gd name="T27" fmla="*/ 48 h 73"/>
                <a:gd name="T28" fmla="*/ 2 w 72"/>
                <a:gd name="T29" fmla="*/ 48 h 73"/>
                <a:gd name="T30" fmla="*/ 3 w 72"/>
                <a:gd name="T31" fmla="*/ 52 h 73"/>
                <a:gd name="T32" fmla="*/ 5 w 72"/>
                <a:gd name="T33" fmla="*/ 55 h 73"/>
                <a:gd name="T34" fmla="*/ 7 w 72"/>
                <a:gd name="T35" fmla="*/ 57 h 73"/>
                <a:gd name="T36" fmla="*/ 9 w 72"/>
                <a:gd name="T37" fmla="*/ 60 h 73"/>
                <a:gd name="T38" fmla="*/ 11 w 72"/>
                <a:gd name="T39" fmla="*/ 63 h 73"/>
                <a:gd name="T40" fmla="*/ 14 w 72"/>
                <a:gd name="T41" fmla="*/ 65 h 73"/>
                <a:gd name="T42" fmla="*/ 17 w 72"/>
                <a:gd name="T43" fmla="*/ 67 h 73"/>
                <a:gd name="T44" fmla="*/ 19 w 72"/>
                <a:gd name="T45" fmla="*/ 69 h 73"/>
                <a:gd name="T46" fmla="*/ 22 w 72"/>
                <a:gd name="T47" fmla="*/ 70 h 73"/>
                <a:gd name="T48" fmla="*/ 26 w 72"/>
                <a:gd name="T49" fmla="*/ 71 h 73"/>
                <a:gd name="T50" fmla="*/ 29 w 72"/>
                <a:gd name="T51" fmla="*/ 72 h 73"/>
                <a:gd name="T52" fmla="*/ 50 w 72"/>
                <a:gd name="T53" fmla="*/ 70 h 73"/>
                <a:gd name="T54" fmla="*/ 56 w 72"/>
                <a:gd name="T55" fmla="*/ 67 h 73"/>
                <a:gd name="T56" fmla="*/ 64 w 72"/>
                <a:gd name="T57" fmla="*/ 60 h 73"/>
                <a:gd name="T58" fmla="*/ 71 w 72"/>
                <a:gd name="T59" fmla="*/ 45 h 73"/>
                <a:gd name="T60" fmla="*/ 71 w 72"/>
                <a:gd name="T61" fmla="*/ 43 h 73"/>
                <a:gd name="T62" fmla="*/ 71 w 72"/>
                <a:gd name="T63" fmla="*/ 43 h 73"/>
                <a:gd name="T64" fmla="*/ 72 w 72"/>
                <a:gd name="T65" fmla="*/ 42 h 73"/>
                <a:gd name="T66" fmla="*/ 72 w 72"/>
                <a:gd name="T67" fmla="*/ 40 h 73"/>
                <a:gd name="T68" fmla="*/ 72 w 72"/>
                <a:gd name="T69" fmla="*/ 38 h 73"/>
                <a:gd name="T70" fmla="*/ 72 w 72"/>
                <a:gd name="T71" fmla="*/ 36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72" h="73">
                  <a:moveTo>
                    <a:pt x="72" y="36"/>
                  </a:moveTo>
                  <a:cubicBezTo>
                    <a:pt x="72" y="35"/>
                    <a:pt x="72" y="35"/>
                    <a:pt x="72" y="34"/>
                  </a:cubicBezTo>
                  <a:cubicBezTo>
                    <a:pt x="72" y="33"/>
                    <a:pt x="72" y="33"/>
                    <a:pt x="72" y="33"/>
                  </a:cubicBezTo>
                  <a:cubicBezTo>
                    <a:pt x="71" y="32"/>
                    <a:pt x="71" y="31"/>
                    <a:pt x="71" y="31"/>
                  </a:cubicBezTo>
                  <a:cubicBezTo>
                    <a:pt x="71" y="29"/>
                    <a:pt x="71" y="29"/>
                    <a:pt x="71" y="29"/>
                  </a:cubicBezTo>
                  <a:cubicBezTo>
                    <a:pt x="71" y="28"/>
                    <a:pt x="71" y="28"/>
                    <a:pt x="70" y="27"/>
                  </a:cubicBezTo>
                  <a:cubicBezTo>
                    <a:pt x="70" y="26"/>
                    <a:pt x="70" y="26"/>
                    <a:pt x="70" y="25"/>
                  </a:cubicBezTo>
                  <a:cubicBezTo>
                    <a:pt x="70" y="25"/>
                    <a:pt x="69" y="24"/>
                    <a:pt x="69" y="24"/>
                  </a:cubicBezTo>
                  <a:cubicBezTo>
                    <a:pt x="69" y="23"/>
                    <a:pt x="69" y="23"/>
                    <a:pt x="69" y="22"/>
                  </a:cubicBezTo>
                  <a:cubicBezTo>
                    <a:pt x="68" y="22"/>
                    <a:pt x="68" y="21"/>
                    <a:pt x="68" y="21"/>
                  </a:cubicBezTo>
                  <a:cubicBezTo>
                    <a:pt x="68" y="20"/>
                    <a:pt x="67" y="20"/>
                    <a:pt x="67" y="20"/>
                  </a:cubicBezTo>
                  <a:cubicBezTo>
                    <a:pt x="67" y="19"/>
                    <a:pt x="67" y="19"/>
                    <a:pt x="67" y="19"/>
                  </a:cubicBezTo>
                  <a:cubicBezTo>
                    <a:pt x="67" y="19"/>
                    <a:pt x="67" y="19"/>
                    <a:pt x="67" y="19"/>
                  </a:cubicBezTo>
                  <a:cubicBezTo>
                    <a:pt x="61" y="10"/>
                    <a:pt x="51" y="3"/>
                    <a:pt x="39" y="2"/>
                  </a:cubicBezTo>
                  <a:cubicBezTo>
                    <a:pt x="21" y="0"/>
                    <a:pt x="4" y="13"/>
                    <a:pt x="1" y="31"/>
                  </a:cubicBezTo>
                  <a:cubicBezTo>
                    <a:pt x="1" y="31"/>
                    <a:pt x="1" y="31"/>
                    <a:pt x="1" y="31"/>
                  </a:cubicBezTo>
                  <a:cubicBezTo>
                    <a:pt x="1" y="32"/>
                    <a:pt x="1" y="33"/>
                    <a:pt x="0" y="34"/>
                  </a:cubicBezTo>
                  <a:cubicBezTo>
                    <a:pt x="0" y="34"/>
                    <a:pt x="0" y="35"/>
                    <a:pt x="0" y="35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0" y="37"/>
                    <a:pt x="0" y="37"/>
                    <a:pt x="0" y="38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0" y="42"/>
                    <a:pt x="1" y="45"/>
                    <a:pt x="2" y="48"/>
                  </a:cubicBezTo>
                  <a:cubicBezTo>
                    <a:pt x="2" y="48"/>
                    <a:pt x="2" y="48"/>
                    <a:pt x="2" y="48"/>
                  </a:cubicBezTo>
                  <a:cubicBezTo>
                    <a:pt x="2" y="48"/>
                    <a:pt x="2" y="48"/>
                    <a:pt x="2" y="48"/>
                  </a:cubicBezTo>
                  <a:cubicBezTo>
                    <a:pt x="2" y="48"/>
                    <a:pt x="2" y="48"/>
                    <a:pt x="2" y="48"/>
                  </a:cubicBezTo>
                  <a:cubicBezTo>
                    <a:pt x="2" y="49"/>
                    <a:pt x="3" y="50"/>
                    <a:pt x="3" y="51"/>
                  </a:cubicBezTo>
                  <a:cubicBezTo>
                    <a:pt x="3" y="52"/>
                    <a:pt x="3" y="52"/>
                    <a:pt x="3" y="52"/>
                  </a:cubicBezTo>
                  <a:cubicBezTo>
                    <a:pt x="4" y="52"/>
                    <a:pt x="4" y="53"/>
                    <a:pt x="4" y="54"/>
                  </a:cubicBezTo>
                  <a:cubicBezTo>
                    <a:pt x="5" y="55"/>
                    <a:pt x="5" y="55"/>
                    <a:pt x="5" y="55"/>
                  </a:cubicBezTo>
                  <a:cubicBezTo>
                    <a:pt x="5" y="55"/>
                    <a:pt x="6" y="56"/>
                    <a:pt x="6" y="57"/>
                  </a:cubicBezTo>
                  <a:cubicBezTo>
                    <a:pt x="7" y="57"/>
                    <a:pt x="7" y="57"/>
                    <a:pt x="7" y="57"/>
                  </a:cubicBezTo>
                  <a:cubicBezTo>
                    <a:pt x="7" y="58"/>
                    <a:pt x="8" y="59"/>
                    <a:pt x="8" y="60"/>
                  </a:cubicBezTo>
                  <a:cubicBezTo>
                    <a:pt x="9" y="60"/>
                    <a:pt x="9" y="60"/>
                    <a:pt x="9" y="60"/>
                  </a:cubicBezTo>
                  <a:cubicBezTo>
                    <a:pt x="9" y="61"/>
                    <a:pt x="10" y="61"/>
                    <a:pt x="10" y="62"/>
                  </a:cubicBezTo>
                  <a:cubicBezTo>
                    <a:pt x="11" y="63"/>
                    <a:pt x="11" y="63"/>
                    <a:pt x="11" y="63"/>
                  </a:cubicBezTo>
                  <a:cubicBezTo>
                    <a:pt x="12" y="63"/>
                    <a:pt x="13" y="64"/>
                    <a:pt x="13" y="65"/>
                  </a:cubicBezTo>
                  <a:cubicBezTo>
                    <a:pt x="14" y="65"/>
                    <a:pt x="14" y="65"/>
                    <a:pt x="14" y="65"/>
                  </a:cubicBezTo>
                  <a:cubicBezTo>
                    <a:pt x="14" y="65"/>
                    <a:pt x="15" y="66"/>
                    <a:pt x="16" y="67"/>
                  </a:cubicBezTo>
                  <a:cubicBezTo>
                    <a:pt x="17" y="67"/>
                    <a:pt x="17" y="67"/>
                    <a:pt x="17" y="67"/>
                  </a:cubicBezTo>
                  <a:cubicBezTo>
                    <a:pt x="17" y="68"/>
                    <a:pt x="18" y="68"/>
                    <a:pt x="19" y="68"/>
                  </a:cubicBezTo>
                  <a:cubicBezTo>
                    <a:pt x="19" y="69"/>
                    <a:pt x="19" y="69"/>
                    <a:pt x="19" y="69"/>
                  </a:cubicBezTo>
                  <a:cubicBezTo>
                    <a:pt x="20" y="69"/>
                    <a:pt x="21" y="70"/>
                    <a:pt x="22" y="70"/>
                  </a:cubicBezTo>
                  <a:cubicBezTo>
                    <a:pt x="22" y="70"/>
                    <a:pt x="22" y="70"/>
                    <a:pt x="22" y="70"/>
                  </a:cubicBezTo>
                  <a:cubicBezTo>
                    <a:pt x="23" y="71"/>
                    <a:pt x="24" y="71"/>
                    <a:pt x="25" y="71"/>
                  </a:cubicBezTo>
                  <a:cubicBezTo>
                    <a:pt x="26" y="71"/>
                    <a:pt x="26" y="71"/>
                    <a:pt x="26" y="71"/>
                  </a:cubicBezTo>
                  <a:cubicBezTo>
                    <a:pt x="27" y="72"/>
                    <a:pt x="28" y="72"/>
                    <a:pt x="28" y="72"/>
                  </a:cubicBezTo>
                  <a:cubicBezTo>
                    <a:pt x="29" y="72"/>
                    <a:pt x="29" y="72"/>
                    <a:pt x="29" y="72"/>
                  </a:cubicBezTo>
                  <a:cubicBezTo>
                    <a:pt x="31" y="72"/>
                    <a:pt x="32" y="73"/>
                    <a:pt x="33" y="73"/>
                  </a:cubicBezTo>
                  <a:cubicBezTo>
                    <a:pt x="39" y="73"/>
                    <a:pt x="45" y="72"/>
                    <a:pt x="50" y="70"/>
                  </a:cubicBezTo>
                  <a:cubicBezTo>
                    <a:pt x="51" y="70"/>
                    <a:pt x="52" y="69"/>
                    <a:pt x="53" y="69"/>
                  </a:cubicBezTo>
                  <a:cubicBezTo>
                    <a:pt x="54" y="68"/>
                    <a:pt x="55" y="67"/>
                    <a:pt x="56" y="67"/>
                  </a:cubicBezTo>
                  <a:cubicBezTo>
                    <a:pt x="57" y="66"/>
                    <a:pt x="58" y="65"/>
                    <a:pt x="59" y="65"/>
                  </a:cubicBezTo>
                  <a:cubicBezTo>
                    <a:pt x="61" y="63"/>
                    <a:pt x="62" y="62"/>
                    <a:pt x="64" y="60"/>
                  </a:cubicBezTo>
                  <a:cubicBezTo>
                    <a:pt x="67" y="56"/>
                    <a:pt x="70" y="51"/>
                    <a:pt x="71" y="45"/>
                  </a:cubicBezTo>
                  <a:cubicBezTo>
                    <a:pt x="71" y="45"/>
                    <a:pt x="71" y="45"/>
                    <a:pt x="71" y="45"/>
                  </a:cubicBezTo>
                  <a:cubicBezTo>
                    <a:pt x="71" y="45"/>
                    <a:pt x="71" y="45"/>
                    <a:pt x="71" y="45"/>
                  </a:cubicBezTo>
                  <a:cubicBezTo>
                    <a:pt x="71" y="44"/>
                    <a:pt x="71" y="43"/>
                    <a:pt x="71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42"/>
                    <a:pt x="72" y="42"/>
                    <a:pt x="72" y="42"/>
                  </a:cubicBezTo>
                  <a:cubicBezTo>
                    <a:pt x="72" y="42"/>
                    <a:pt x="72" y="42"/>
                    <a:pt x="72" y="42"/>
                  </a:cubicBezTo>
                  <a:cubicBezTo>
                    <a:pt x="72" y="41"/>
                    <a:pt x="72" y="41"/>
                    <a:pt x="72" y="40"/>
                  </a:cubicBezTo>
                  <a:cubicBezTo>
                    <a:pt x="72" y="40"/>
                    <a:pt x="72" y="39"/>
                    <a:pt x="72" y="38"/>
                  </a:cubicBezTo>
                  <a:cubicBezTo>
                    <a:pt x="72" y="38"/>
                    <a:pt x="72" y="38"/>
                    <a:pt x="72" y="38"/>
                  </a:cubicBezTo>
                  <a:cubicBezTo>
                    <a:pt x="72" y="37"/>
                    <a:pt x="72" y="37"/>
                    <a:pt x="72" y="37"/>
                  </a:cubicBezTo>
                  <a:lnTo>
                    <a:pt x="72" y="36"/>
                  </a:lnTo>
                  <a:close/>
                </a:path>
              </a:pathLst>
            </a:custGeom>
            <a:solidFill>
              <a:srgbClr val="D9D8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06" name="işľîḑe">
              <a:extLst>
                <a:ext uri="{FF2B5EF4-FFF2-40B4-BE49-F238E27FC236}">
                  <a16:creationId xmlns:a16="http://schemas.microsoft.com/office/drawing/2014/main" id="{CDD4FDE0-A7BB-4441-AF30-4AC1931F16A8}"/>
                </a:ext>
              </a:extLst>
            </p:cNvPr>
            <p:cNvSpPr/>
            <p:nvPr userDrawn="1"/>
          </p:nvSpPr>
          <p:spPr bwMode="auto">
            <a:xfrm>
              <a:off x="7204075" y="1744663"/>
              <a:ext cx="136525" cy="136525"/>
            </a:xfrm>
            <a:custGeom>
              <a:avLst/>
              <a:gdLst>
                <a:gd name="T0" fmla="*/ 72 w 81"/>
                <a:gd name="T1" fmla="*/ 24 h 81"/>
                <a:gd name="T2" fmla="*/ 57 w 81"/>
                <a:gd name="T3" fmla="*/ 72 h 81"/>
                <a:gd name="T4" fmla="*/ 9 w 81"/>
                <a:gd name="T5" fmla="*/ 57 h 81"/>
                <a:gd name="T6" fmla="*/ 24 w 81"/>
                <a:gd name="T7" fmla="*/ 9 h 81"/>
                <a:gd name="T8" fmla="*/ 72 w 81"/>
                <a:gd name="T9" fmla="*/ 24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1" h="81">
                  <a:moveTo>
                    <a:pt x="72" y="24"/>
                  </a:moveTo>
                  <a:cubicBezTo>
                    <a:pt x="81" y="41"/>
                    <a:pt x="75" y="63"/>
                    <a:pt x="57" y="72"/>
                  </a:cubicBezTo>
                  <a:cubicBezTo>
                    <a:pt x="40" y="81"/>
                    <a:pt x="18" y="75"/>
                    <a:pt x="9" y="57"/>
                  </a:cubicBezTo>
                  <a:cubicBezTo>
                    <a:pt x="0" y="40"/>
                    <a:pt x="6" y="18"/>
                    <a:pt x="24" y="9"/>
                  </a:cubicBezTo>
                  <a:cubicBezTo>
                    <a:pt x="42" y="0"/>
                    <a:pt x="63" y="6"/>
                    <a:pt x="72" y="24"/>
                  </a:cubicBezTo>
                  <a:close/>
                </a:path>
              </a:pathLst>
            </a:custGeom>
            <a:solidFill>
              <a:srgbClr val="4675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07" name="iS1íḍê">
              <a:extLst>
                <a:ext uri="{FF2B5EF4-FFF2-40B4-BE49-F238E27FC236}">
                  <a16:creationId xmlns:a16="http://schemas.microsoft.com/office/drawing/2014/main" id="{D397B9AC-47BB-4D67-BEA9-83CB3A8B2AAC}"/>
                </a:ext>
              </a:extLst>
            </p:cNvPr>
            <p:cNvSpPr/>
            <p:nvPr userDrawn="1"/>
          </p:nvSpPr>
          <p:spPr bwMode="auto">
            <a:xfrm>
              <a:off x="7234238" y="1760538"/>
              <a:ext cx="106363" cy="117475"/>
            </a:xfrm>
            <a:custGeom>
              <a:avLst/>
              <a:gdLst>
                <a:gd name="T0" fmla="*/ 39 w 63"/>
                <a:gd name="T1" fmla="*/ 0 h 70"/>
                <a:gd name="T2" fmla="*/ 48 w 63"/>
                <a:gd name="T3" fmla="*/ 11 h 70"/>
                <a:gd name="T4" fmla="*/ 32 w 63"/>
                <a:gd name="T5" fmla="*/ 59 h 70"/>
                <a:gd name="T6" fmla="*/ 0 w 63"/>
                <a:gd name="T7" fmla="*/ 59 h 70"/>
                <a:gd name="T8" fmla="*/ 39 w 63"/>
                <a:gd name="T9" fmla="*/ 63 h 70"/>
                <a:gd name="T10" fmla="*/ 54 w 63"/>
                <a:gd name="T11" fmla="*/ 15 h 70"/>
                <a:gd name="T12" fmla="*/ 39 w 63"/>
                <a:gd name="T13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3" h="70">
                  <a:moveTo>
                    <a:pt x="39" y="0"/>
                  </a:moveTo>
                  <a:cubicBezTo>
                    <a:pt x="42" y="3"/>
                    <a:pt x="45" y="6"/>
                    <a:pt x="48" y="11"/>
                  </a:cubicBezTo>
                  <a:cubicBezTo>
                    <a:pt x="57" y="28"/>
                    <a:pt x="50" y="50"/>
                    <a:pt x="32" y="59"/>
                  </a:cubicBezTo>
                  <a:cubicBezTo>
                    <a:pt x="22" y="64"/>
                    <a:pt x="10" y="64"/>
                    <a:pt x="0" y="59"/>
                  </a:cubicBezTo>
                  <a:cubicBezTo>
                    <a:pt x="10" y="68"/>
                    <a:pt x="26" y="70"/>
                    <a:pt x="39" y="63"/>
                  </a:cubicBezTo>
                  <a:cubicBezTo>
                    <a:pt x="57" y="54"/>
                    <a:pt x="63" y="32"/>
                    <a:pt x="54" y="15"/>
                  </a:cubicBezTo>
                  <a:cubicBezTo>
                    <a:pt x="51" y="8"/>
                    <a:pt x="45" y="3"/>
                    <a:pt x="39" y="0"/>
                  </a:cubicBezTo>
                  <a:close/>
                </a:path>
              </a:pathLst>
            </a:custGeom>
            <a:solidFill>
              <a:srgbClr val="3D69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08" name="îšḻîdè">
              <a:extLst>
                <a:ext uri="{FF2B5EF4-FFF2-40B4-BE49-F238E27FC236}">
                  <a16:creationId xmlns:a16="http://schemas.microsoft.com/office/drawing/2014/main" id="{C71919A8-D904-463B-B441-5B7CB4F96BFF}"/>
                </a:ext>
              </a:extLst>
            </p:cNvPr>
            <p:cNvSpPr/>
            <p:nvPr userDrawn="1"/>
          </p:nvSpPr>
          <p:spPr bwMode="auto">
            <a:xfrm>
              <a:off x="7218363" y="1785938"/>
              <a:ext cx="111125" cy="61913"/>
            </a:xfrm>
            <a:custGeom>
              <a:avLst/>
              <a:gdLst>
                <a:gd name="T0" fmla="*/ 0 w 65"/>
                <a:gd name="T1" fmla="*/ 34 h 37"/>
                <a:gd name="T2" fmla="*/ 2 w 65"/>
                <a:gd name="T3" fmla="*/ 37 h 37"/>
                <a:gd name="T4" fmla="*/ 65 w 65"/>
                <a:gd name="T5" fmla="*/ 4 h 37"/>
                <a:gd name="T6" fmla="*/ 64 w 65"/>
                <a:gd name="T7" fmla="*/ 1 h 37"/>
                <a:gd name="T8" fmla="*/ 63 w 65"/>
                <a:gd name="T9" fmla="*/ 0 h 37"/>
                <a:gd name="T10" fmla="*/ 0 w 65"/>
                <a:gd name="T11" fmla="*/ 33 h 37"/>
                <a:gd name="T12" fmla="*/ 0 w 65"/>
                <a:gd name="T13" fmla="*/ 34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5" h="37">
                  <a:moveTo>
                    <a:pt x="0" y="34"/>
                  </a:moveTo>
                  <a:cubicBezTo>
                    <a:pt x="1" y="35"/>
                    <a:pt x="2" y="36"/>
                    <a:pt x="2" y="37"/>
                  </a:cubicBezTo>
                  <a:cubicBezTo>
                    <a:pt x="65" y="4"/>
                    <a:pt x="65" y="4"/>
                    <a:pt x="65" y="4"/>
                  </a:cubicBezTo>
                  <a:cubicBezTo>
                    <a:pt x="65" y="3"/>
                    <a:pt x="64" y="2"/>
                    <a:pt x="64" y="1"/>
                  </a:cubicBezTo>
                  <a:cubicBezTo>
                    <a:pt x="64" y="1"/>
                    <a:pt x="63" y="0"/>
                    <a:pt x="63" y="0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0" y="33"/>
                    <a:pt x="0" y="34"/>
                    <a:pt x="0" y="34"/>
                  </a:cubicBezTo>
                  <a:close/>
                </a:path>
              </a:pathLst>
            </a:custGeom>
            <a:solidFill>
              <a:srgbClr val="3D69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09" name="íṣļíďé">
              <a:extLst>
                <a:ext uri="{FF2B5EF4-FFF2-40B4-BE49-F238E27FC236}">
                  <a16:creationId xmlns:a16="http://schemas.microsoft.com/office/drawing/2014/main" id="{E35BEE5A-7494-45F2-9D5E-E97452085269}"/>
                </a:ext>
              </a:extLst>
            </p:cNvPr>
            <p:cNvSpPr/>
            <p:nvPr userDrawn="1"/>
          </p:nvSpPr>
          <p:spPr bwMode="auto">
            <a:xfrm>
              <a:off x="7216775" y="1782763"/>
              <a:ext cx="111125" cy="61913"/>
            </a:xfrm>
            <a:custGeom>
              <a:avLst/>
              <a:gdLst>
                <a:gd name="T0" fmla="*/ 1 w 65"/>
                <a:gd name="T1" fmla="*/ 35 h 37"/>
                <a:gd name="T2" fmla="*/ 2 w 65"/>
                <a:gd name="T3" fmla="*/ 37 h 37"/>
                <a:gd name="T4" fmla="*/ 65 w 65"/>
                <a:gd name="T5" fmla="*/ 4 h 37"/>
                <a:gd name="T6" fmla="*/ 64 w 65"/>
                <a:gd name="T7" fmla="*/ 2 h 37"/>
                <a:gd name="T8" fmla="*/ 63 w 65"/>
                <a:gd name="T9" fmla="*/ 0 h 37"/>
                <a:gd name="T10" fmla="*/ 0 w 65"/>
                <a:gd name="T11" fmla="*/ 33 h 37"/>
                <a:gd name="T12" fmla="*/ 1 w 65"/>
                <a:gd name="T13" fmla="*/ 35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5" h="37">
                  <a:moveTo>
                    <a:pt x="1" y="35"/>
                  </a:moveTo>
                  <a:cubicBezTo>
                    <a:pt x="1" y="36"/>
                    <a:pt x="2" y="36"/>
                    <a:pt x="2" y="37"/>
                  </a:cubicBezTo>
                  <a:cubicBezTo>
                    <a:pt x="65" y="4"/>
                    <a:pt x="65" y="4"/>
                    <a:pt x="65" y="4"/>
                  </a:cubicBezTo>
                  <a:cubicBezTo>
                    <a:pt x="65" y="3"/>
                    <a:pt x="65" y="3"/>
                    <a:pt x="64" y="2"/>
                  </a:cubicBezTo>
                  <a:cubicBezTo>
                    <a:pt x="64" y="1"/>
                    <a:pt x="63" y="1"/>
                    <a:pt x="63" y="0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0" y="34"/>
                    <a:pt x="0" y="34"/>
                    <a:pt x="1" y="35"/>
                  </a:cubicBezTo>
                  <a:close/>
                </a:path>
              </a:pathLst>
            </a:custGeom>
            <a:solidFill>
              <a:srgbClr val="3245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10" name="isḻïḓè">
              <a:extLst>
                <a:ext uri="{FF2B5EF4-FFF2-40B4-BE49-F238E27FC236}">
                  <a16:creationId xmlns:a16="http://schemas.microsoft.com/office/drawing/2014/main" id="{6B50AFD7-447D-427A-AABD-CCD547F68ADB}"/>
                </a:ext>
              </a:extLst>
            </p:cNvPr>
            <p:cNvSpPr/>
            <p:nvPr userDrawn="1"/>
          </p:nvSpPr>
          <p:spPr bwMode="auto">
            <a:xfrm>
              <a:off x="7367588" y="1677988"/>
              <a:ext cx="122238" cy="122238"/>
            </a:xfrm>
            <a:custGeom>
              <a:avLst/>
              <a:gdLst>
                <a:gd name="T0" fmla="*/ 72 w 72"/>
                <a:gd name="T1" fmla="*/ 34 h 73"/>
                <a:gd name="T2" fmla="*/ 71 w 72"/>
                <a:gd name="T3" fmla="*/ 31 h 73"/>
                <a:gd name="T4" fmla="*/ 70 w 72"/>
                <a:gd name="T5" fmla="*/ 27 h 73"/>
                <a:gd name="T6" fmla="*/ 69 w 72"/>
                <a:gd name="T7" fmla="*/ 24 h 73"/>
                <a:gd name="T8" fmla="*/ 68 w 72"/>
                <a:gd name="T9" fmla="*/ 21 h 73"/>
                <a:gd name="T10" fmla="*/ 67 w 72"/>
                <a:gd name="T11" fmla="*/ 19 h 73"/>
                <a:gd name="T12" fmla="*/ 40 w 72"/>
                <a:gd name="T13" fmla="*/ 2 h 73"/>
                <a:gd name="T14" fmla="*/ 1 w 72"/>
                <a:gd name="T15" fmla="*/ 31 h 73"/>
                <a:gd name="T16" fmla="*/ 0 w 72"/>
                <a:gd name="T17" fmla="*/ 35 h 73"/>
                <a:gd name="T18" fmla="*/ 0 w 72"/>
                <a:gd name="T19" fmla="*/ 35 h 73"/>
                <a:gd name="T20" fmla="*/ 0 w 72"/>
                <a:gd name="T21" fmla="*/ 36 h 73"/>
                <a:gd name="T22" fmla="*/ 0 w 72"/>
                <a:gd name="T23" fmla="*/ 38 h 73"/>
                <a:gd name="T24" fmla="*/ 0 w 72"/>
                <a:gd name="T25" fmla="*/ 38 h 73"/>
                <a:gd name="T26" fmla="*/ 2 w 72"/>
                <a:gd name="T27" fmla="*/ 48 h 73"/>
                <a:gd name="T28" fmla="*/ 2 w 72"/>
                <a:gd name="T29" fmla="*/ 48 h 73"/>
                <a:gd name="T30" fmla="*/ 4 w 72"/>
                <a:gd name="T31" fmla="*/ 52 h 73"/>
                <a:gd name="T32" fmla="*/ 5 w 72"/>
                <a:gd name="T33" fmla="*/ 55 h 73"/>
                <a:gd name="T34" fmla="*/ 7 w 72"/>
                <a:gd name="T35" fmla="*/ 57 h 73"/>
                <a:gd name="T36" fmla="*/ 9 w 72"/>
                <a:gd name="T37" fmla="*/ 60 h 73"/>
                <a:gd name="T38" fmla="*/ 11 w 72"/>
                <a:gd name="T39" fmla="*/ 63 h 73"/>
                <a:gd name="T40" fmla="*/ 14 w 72"/>
                <a:gd name="T41" fmla="*/ 65 h 73"/>
                <a:gd name="T42" fmla="*/ 17 w 72"/>
                <a:gd name="T43" fmla="*/ 67 h 73"/>
                <a:gd name="T44" fmla="*/ 20 w 72"/>
                <a:gd name="T45" fmla="*/ 69 h 73"/>
                <a:gd name="T46" fmla="*/ 22 w 72"/>
                <a:gd name="T47" fmla="*/ 70 h 73"/>
                <a:gd name="T48" fmla="*/ 26 w 72"/>
                <a:gd name="T49" fmla="*/ 72 h 73"/>
                <a:gd name="T50" fmla="*/ 30 w 72"/>
                <a:gd name="T51" fmla="*/ 72 h 73"/>
                <a:gd name="T52" fmla="*/ 50 w 72"/>
                <a:gd name="T53" fmla="*/ 70 h 73"/>
                <a:gd name="T54" fmla="*/ 56 w 72"/>
                <a:gd name="T55" fmla="*/ 67 h 73"/>
                <a:gd name="T56" fmla="*/ 64 w 72"/>
                <a:gd name="T57" fmla="*/ 60 h 73"/>
                <a:gd name="T58" fmla="*/ 71 w 72"/>
                <a:gd name="T59" fmla="*/ 45 h 73"/>
                <a:gd name="T60" fmla="*/ 71 w 72"/>
                <a:gd name="T61" fmla="*/ 43 h 73"/>
                <a:gd name="T62" fmla="*/ 71 w 72"/>
                <a:gd name="T63" fmla="*/ 43 h 73"/>
                <a:gd name="T64" fmla="*/ 72 w 72"/>
                <a:gd name="T65" fmla="*/ 42 h 73"/>
                <a:gd name="T66" fmla="*/ 72 w 72"/>
                <a:gd name="T67" fmla="*/ 41 h 73"/>
                <a:gd name="T68" fmla="*/ 72 w 72"/>
                <a:gd name="T69" fmla="*/ 38 h 73"/>
                <a:gd name="T70" fmla="*/ 72 w 72"/>
                <a:gd name="T71" fmla="*/ 36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72" h="73">
                  <a:moveTo>
                    <a:pt x="72" y="36"/>
                  </a:moveTo>
                  <a:cubicBezTo>
                    <a:pt x="72" y="35"/>
                    <a:pt x="72" y="35"/>
                    <a:pt x="72" y="34"/>
                  </a:cubicBezTo>
                  <a:cubicBezTo>
                    <a:pt x="72" y="34"/>
                    <a:pt x="72" y="33"/>
                    <a:pt x="72" y="33"/>
                  </a:cubicBezTo>
                  <a:cubicBezTo>
                    <a:pt x="72" y="32"/>
                    <a:pt x="71" y="31"/>
                    <a:pt x="71" y="31"/>
                  </a:cubicBezTo>
                  <a:cubicBezTo>
                    <a:pt x="71" y="30"/>
                    <a:pt x="71" y="30"/>
                    <a:pt x="71" y="30"/>
                  </a:cubicBezTo>
                  <a:cubicBezTo>
                    <a:pt x="71" y="29"/>
                    <a:pt x="71" y="28"/>
                    <a:pt x="70" y="27"/>
                  </a:cubicBezTo>
                  <a:cubicBezTo>
                    <a:pt x="70" y="26"/>
                    <a:pt x="70" y="26"/>
                    <a:pt x="70" y="26"/>
                  </a:cubicBezTo>
                  <a:cubicBezTo>
                    <a:pt x="70" y="25"/>
                    <a:pt x="70" y="24"/>
                    <a:pt x="69" y="24"/>
                  </a:cubicBezTo>
                  <a:cubicBezTo>
                    <a:pt x="69" y="23"/>
                    <a:pt x="69" y="23"/>
                    <a:pt x="69" y="22"/>
                  </a:cubicBezTo>
                  <a:cubicBezTo>
                    <a:pt x="68" y="22"/>
                    <a:pt x="68" y="21"/>
                    <a:pt x="68" y="21"/>
                  </a:cubicBezTo>
                  <a:cubicBezTo>
                    <a:pt x="68" y="20"/>
                    <a:pt x="68" y="20"/>
                    <a:pt x="67" y="20"/>
                  </a:cubicBezTo>
                  <a:cubicBezTo>
                    <a:pt x="67" y="19"/>
                    <a:pt x="67" y="19"/>
                    <a:pt x="67" y="19"/>
                  </a:cubicBezTo>
                  <a:cubicBezTo>
                    <a:pt x="67" y="19"/>
                    <a:pt x="67" y="19"/>
                    <a:pt x="67" y="19"/>
                  </a:cubicBezTo>
                  <a:cubicBezTo>
                    <a:pt x="62" y="10"/>
                    <a:pt x="52" y="3"/>
                    <a:pt x="40" y="2"/>
                  </a:cubicBezTo>
                  <a:cubicBezTo>
                    <a:pt x="21" y="0"/>
                    <a:pt x="4" y="13"/>
                    <a:pt x="1" y="31"/>
                  </a:cubicBezTo>
                  <a:cubicBezTo>
                    <a:pt x="1" y="31"/>
                    <a:pt x="1" y="31"/>
                    <a:pt x="1" y="31"/>
                  </a:cubicBezTo>
                  <a:cubicBezTo>
                    <a:pt x="1" y="32"/>
                    <a:pt x="1" y="33"/>
                    <a:pt x="1" y="34"/>
                  </a:cubicBezTo>
                  <a:cubicBezTo>
                    <a:pt x="1" y="34"/>
                    <a:pt x="1" y="35"/>
                    <a:pt x="0" y="35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0" y="37"/>
                    <a:pt x="0" y="37"/>
                    <a:pt x="0" y="38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1" y="42"/>
                    <a:pt x="1" y="45"/>
                    <a:pt x="2" y="48"/>
                  </a:cubicBezTo>
                  <a:cubicBezTo>
                    <a:pt x="2" y="48"/>
                    <a:pt x="2" y="48"/>
                    <a:pt x="2" y="48"/>
                  </a:cubicBezTo>
                  <a:cubicBezTo>
                    <a:pt x="2" y="48"/>
                    <a:pt x="2" y="48"/>
                    <a:pt x="2" y="48"/>
                  </a:cubicBezTo>
                  <a:cubicBezTo>
                    <a:pt x="2" y="48"/>
                    <a:pt x="2" y="48"/>
                    <a:pt x="2" y="48"/>
                  </a:cubicBezTo>
                  <a:cubicBezTo>
                    <a:pt x="2" y="49"/>
                    <a:pt x="3" y="50"/>
                    <a:pt x="3" y="51"/>
                  </a:cubicBezTo>
                  <a:cubicBezTo>
                    <a:pt x="4" y="52"/>
                    <a:pt x="4" y="52"/>
                    <a:pt x="4" y="52"/>
                  </a:cubicBezTo>
                  <a:cubicBezTo>
                    <a:pt x="4" y="52"/>
                    <a:pt x="4" y="53"/>
                    <a:pt x="4" y="54"/>
                  </a:cubicBezTo>
                  <a:cubicBezTo>
                    <a:pt x="5" y="55"/>
                    <a:pt x="5" y="55"/>
                    <a:pt x="5" y="55"/>
                  </a:cubicBezTo>
                  <a:cubicBezTo>
                    <a:pt x="5" y="55"/>
                    <a:pt x="6" y="56"/>
                    <a:pt x="7" y="57"/>
                  </a:cubicBezTo>
                  <a:cubicBezTo>
                    <a:pt x="7" y="57"/>
                    <a:pt x="7" y="57"/>
                    <a:pt x="7" y="57"/>
                  </a:cubicBezTo>
                  <a:cubicBezTo>
                    <a:pt x="7" y="58"/>
                    <a:pt x="8" y="59"/>
                    <a:pt x="8" y="60"/>
                  </a:cubicBezTo>
                  <a:cubicBezTo>
                    <a:pt x="9" y="60"/>
                    <a:pt x="9" y="60"/>
                    <a:pt x="9" y="60"/>
                  </a:cubicBezTo>
                  <a:cubicBezTo>
                    <a:pt x="9" y="61"/>
                    <a:pt x="10" y="61"/>
                    <a:pt x="10" y="62"/>
                  </a:cubicBezTo>
                  <a:cubicBezTo>
                    <a:pt x="11" y="63"/>
                    <a:pt x="11" y="63"/>
                    <a:pt x="11" y="63"/>
                  </a:cubicBezTo>
                  <a:cubicBezTo>
                    <a:pt x="12" y="63"/>
                    <a:pt x="13" y="64"/>
                    <a:pt x="13" y="65"/>
                  </a:cubicBezTo>
                  <a:cubicBezTo>
                    <a:pt x="14" y="65"/>
                    <a:pt x="14" y="65"/>
                    <a:pt x="14" y="65"/>
                  </a:cubicBezTo>
                  <a:cubicBezTo>
                    <a:pt x="14" y="66"/>
                    <a:pt x="15" y="66"/>
                    <a:pt x="16" y="67"/>
                  </a:cubicBezTo>
                  <a:cubicBezTo>
                    <a:pt x="17" y="67"/>
                    <a:pt x="17" y="67"/>
                    <a:pt x="17" y="67"/>
                  </a:cubicBezTo>
                  <a:cubicBezTo>
                    <a:pt x="17" y="68"/>
                    <a:pt x="18" y="68"/>
                    <a:pt x="19" y="68"/>
                  </a:cubicBezTo>
                  <a:cubicBezTo>
                    <a:pt x="20" y="69"/>
                    <a:pt x="20" y="69"/>
                    <a:pt x="20" y="69"/>
                  </a:cubicBezTo>
                  <a:cubicBezTo>
                    <a:pt x="20" y="69"/>
                    <a:pt x="21" y="70"/>
                    <a:pt x="22" y="70"/>
                  </a:cubicBezTo>
                  <a:cubicBezTo>
                    <a:pt x="22" y="70"/>
                    <a:pt x="22" y="70"/>
                    <a:pt x="22" y="70"/>
                  </a:cubicBezTo>
                  <a:cubicBezTo>
                    <a:pt x="23" y="71"/>
                    <a:pt x="24" y="71"/>
                    <a:pt x="25" y="71"/>
                  </a:cubicBezTo>
                  <a:cubicBezTo>
                    <a:pt x="26" y="72"/>
                    <a:pt x="26" y="72"/>
                    <a:pt x="26" y="72"/>
                  </a:cubicBezTo>
                  <a:cubicBezTo>
                    <a:pt x="27" y="72"/>
                    <a:pt x="28" y="72"/>
                    <a:pt x="29" y="72"/>
                  </a:cubicBezTo>
                  <a:cubicBezTo>
                    <a:pt x="30" y="72"/>
                    <a:pt x="30" y="72"/>
                    <a:pt x="30" y="72"/>
                  </a:cubicBezTo>
                  <a:cubicBezTo>
                    <a:pt x="31" y="72"/>
                    <a:pt x="32" y="73"/>
                    <a:pt x="33" y="73"/>
                  </a:cubicBezTo>
                  <a:cubicBezTo>
                    <a:pt x="39" y="73"/>
                    <a:pt x="45" y="72"/>
                    <a:pt x="50" y="70"/>
                  </a:cubicBezTo>
                  <a:cubicBezTo>
                    <a:pt x="51" y="70"/>
                    <a:pt x="52" y="69"/>
                    <a:pt x="53" y="69"/>
                  </a:cubicBezTo>
                  <a:cubicBezTo>
                    <a:pt x="54" y="68"/>
                    <a:pt x="55" y="67"/>
                    <a:pt x="56" y="67"/>
                  </a:cubicBezTo>
                  <a:cubicBezTo>
                    <a:pt x="57" y="66"/>
                    <a:pt x="58" y="65"/>
                    <a:pt x="59" y="65"/>
                  </a:cubicBezTo>
                  <a:cubicBezTo>
                    <a:pt x="61" y="63"/>
                    <a:pt x="62" y="62"/>
                    <a:pt x="64" y="60"/>
                  </a:cubicBezTo>
                  <a:cubicBezTo>
                    <a:pt x="67" y="56"/>
                    <a:pt x="70" y="51"/>
                    <a:pt x="71" y="45"/>
                  </a:cubicBezTo>
                  <a:cubicBezTo>
                    <a:pt x="71" y="45"/>
                    <a:pt x="71" y="45"/>
                    <a:pt x="71" y="45"/>
                  </a:cubicBezTo>
                  <a:cubicBezTo>
                    <a:pt x="71" y="45"/>
                    <a:pt x="71" y="45"/>
                    <a:pt x="71" y="45"/>
                  </a:cubicBezTo>
                  <a:cubicBezTo>
                    <a:pt x="71" y="44"/>
                    <a:pt x="71" y="44"/>
                    <a:pt x="71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2" y="42"/>
                    <a:pt x="72" y="42"/>
                    <a:pt x="72" y="42"/>
                  </a:cubicBezTo>
                  <a:cubicBezTo>
                    <a:pt x="72" y="42"/>
                    <a:pt x="72" y="42"/>
                    <a:pt x="72" y="42"/>
                  </a:cubicBezTo>
                  <a:cubicBezTo>
                    <a:pt x="72" y="42"/>
                    <a:pt x="72" y="42"/>
                    <a:pt x="72" y="42"/>
                  </a:cubicBezTo>
                  <a:cubicBezTo>
                    <a:pt x="72" y="41"/>
                    <a:pt x="72" y="41"/>
                    <a:pt x="72" y="41"/>
                  </a:cubicBezTo>
                  <a:cubicBezTo>
                    <a:pt x="72" y="40"/>
                    <a:pt x="72" y="39"/>
                    <a:pt x="72" y="38"/>
                  </a:cubicBezTo>
                  <a:cubicBezTo>
                    <a:pt x="72" y="38"/>
                    <a:pt x="72" y="38"/>
                    <a:pt x="72" y="38"/>
                  </a:cubicBezTo>
                  <a:cubicBezTo>
                    <a:pt x="72" y="37"/>
                    <a:pt x="72" y="37"/>
                    <a:pt x="72" y="37"/>
                  </a:cubicBezTo>
                  <a:lnTo>
                    <a:pt x="72" y="36"/>
                  </a:lnTo>
                  <a:close/>
                </a:path>
              </a:pathLst>
            </a:custGeom>
            <a:solidFill>
              <a:srgbClr val="D9D8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11" name="îṧļîďè">
              <a:extLst>
                <a:ext uri="{FF2B5EF4-FFF2-40B4-BE49-F238E27FC236}">
                  <a16:creationId xmlns:a16="http://schemas.microsoft.com/office/drawing/2014/main" id="{494968B2-FEB1-4265-AD82-69B06FDB29D1}"/>
                </a:ext>
              </a:extLst>
            </p:cNvPr>
            <p:cNvSpPr/>
            <p:nvPr userDrawn="1"/>
          </p:nvSpPr>
          <p:spPr bwMode="auto">
            <a:xfrm>
              <a:off x="7346950" y="1668463"/>
              <a:ext cx="138113" cy="138113"/>
            </a:xfrm>
            <a:custGeom>
              <a:avLst/>
              <a:gdLst>
                <a:gd name="T0" fmla="*/ 72 w 81"/>
                <a:gd name="T1" fmla="*/ 24 h 81"/>
                <a:gd name="T2" fmla="*/ 57 w 81"/>
                <a:gd name="T3" fmla="*/ 72 h 81"/>
                <a:gd name="T4" fmla="*/ 9 w 81"/>
                <a:gd name="T5" fmla="*/ 57 h 81"/>
                <a:gd name="T6" fmla="*/ 24 w 81"/>
                <a:gd name="T7" fmla="*/ 9 h 81"/>
                <a:gd name="T8" fmla="*/ 72 w 81"/>
                <a:gd name="T9" fmla="*/ 24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1" h="81">
                  <a:moveTo>
                    <a:pt x="72" y="24"/>
                  </a:moveTo>
                  <a:cubicBezTo>
                    <a:pt x="81" y="41"/>
                    <a:pt x="75" y="63"/>
                    <a:pt x="57" y="72"/>
                  </a:cubicBezTo>
                  <a:cubicBezTo>
                    <a:pt x="40" y="81"/>
                    <a:pt x="18" y="75"/>
                    <a:pt x="9" y="57"/>
                  </a:cubicBezTo>
                  <a:cubicBezTo>
                    <a:pt x="0" y="40"/>
                    <a:pt x="7" y="18"/>
                    <a:pt x="24" y="9"/>
                  </a:cubicBezTo>
                  <a:cubicBezTo>
                    <a:pt x="42" y="0"/>
                    <a:pt x="63" y="6"/>
                    <a:pt x="72" y="24"/>
                  </a:cubicBezTo>
                  <a:close/>
                </a:path>
              </a:pathLst>
            </a:custGeom>
            <a:solidFill>
              <a:srgbClr val="4675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12" name="ïśḷïḓê">
              <a:extLst>
                <a:ext uri="{FF2B5EF4-FFF2-40B4-BE49-F238E27FC236}">
                  <a16:creationId xmlns:a16="http://schemas.microsoft.com/office/drawing/2014/main" id="{4DDF8EC1-D0E6-411E-AAA2-0B6A36057128}"/>
                </a:ext>
              </a:extLst>
            </p:cNvPr>
            <p:cNvSpPr/>
            <p:nvPr userDrawn="1"/>
          </p:nvSpPr>
          <p:spPr bwMode="auto">
            <a:xfrm>
              <a:off x="7378700" y="1684338"/>
              <a:ext cx="106363" cy="117475"/>
            </a:xfrm>
            <a:custGeom>
              <a:avLst/>
              <a:gdLst>
                <a:gd name="T0" fmla="*/ 39 w 63"/>
                <a:gd name="T1" fmla="*/ 0 h 70"/>
                <a:gd name="T2" fmla="*/ 48 w 63"/>
                <a:gd name="T3" fmla="*/ 11 h 70"/>
                <a:gd name="T4" fmla="*/ 33 w 63"/>
                <a:gd name="T5" fmla="*/ 59 h 70"/>
                <a:gd name="T6" fmla="*/ 0 w 63"/>
                <a:gd name="T7" fmla="*/ 59 h 70"/>
                <a:gd name="T8" fmla="*/ 39 w 63"/>
                <a:gd name="T9" fmla="*/ 63 h 70"/>
                <a:gd name="T10" fmla="*/ 54 w 63"/>
                <a:gd name="T11" fmla="*/ 15 h 70"/>
                <a:gd name="T12" fmla="*/ 39 w 63"/>
                <a:gd name="T13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3" h="70">
                  <a:moveTo>
                    <a:pt x="39" y="0"/>
                  </a:moveTo>
                  <a:cubicBezTo>
                    <a:pt x="42" y="3"/>
                    <a:pt x="45" y="6"/>
                    <a:pt x="48" y="11"/>
                  </a:cubicBezTo>
                  <a:cubicBezTo>
                    <a:pt x="57" y="28"/>
                    <a:pt x="50" y="50"/>
                    <a:pt x="33" y="59"/>
                  </a:cubicBezTo>
                  <a:cubicBezTo>
                    <a:pt x="22" y="64"/>
                    <a:pt x="10" y="64"/>
                    <a:pt x="0" y="59"/>
                  </a:cubicBezTo>
                  <a:cubicBezTo>
                    <a:pt x="11" y="68"/>
                    <a:pt x="26" y="70"/>
                    <a:pt x="39" y="63"/>
                  </a:cubicBezTo>
                  <a:cubicBezTo>
                    <a:pt x="57" y="54"/>
                    <a:pt x="63" y="32"/>
                    <a:pt x="54" y="15"/>
                  </a:cubicBezTo>
                  <a:cubicBezTo>
                    <a:pt x="51" y="8"/>
                    <a:pt x="45" y="3"/>
                    <a:pt x="39" y="0"/>
                  </a:cubicBezTo>
                  <a:close/>
                </a:path>
              </a:pathLst>
            </a:custGeom>
            <a:solidFill>
              <a:srgbClr val="3D69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13" name="i$ḻíḑé">
              <a:extLst>
                <a:ext uri="{FF2B5EF4-FFF2-40B4-BE49-F238E27FC236}">
                  <a16:creationId xmlns:a16="http://schemas.microsoft.com/office/drawing/2014/main" id="{4AF6CE2C-DB81-4489-925D-B1803130CC3C}"/>
                </a:ext>
              </a:extLst>
            </p:cNvPr>
            <p:cNvSpPr/>
            <p:nvPr userDrawn="1"/>
          </p:nvSpPr>
          <p:spPr bwMode="auto">
            <a:xfrm>
              <a:off x="7362825" y="1709738"/>
              <a:ext cx="109538" cy="61913"/>
            </a:xfrm>
            <a:custGeom>
              <a:avLst/>
              <a:gdLst>
                <a:gd name="T0" fmla="*/ 1 w 65"/>
                <a:gd name="T1" fmla="*/ 34 h 37"/>
                <a:gd name="T2" fmla="*/ 2 w 65"/>
                <a:gd name="T3" fmla="*/ 37 h 37"/>
                <a:gd name="T4" fmla="*/ 65 w 65"/>
                <a:gd name="T5" fmla="*/ 4 h 37"/>
                <a:gd name="T6" fmla="*/ 64 w 65"/>
                <a:gd name="T7" fmla="*/ 1 h 37"/>
                <a:gd name="T8" fmla="*/ 63 w 65"/>
                <a:gd name="T9" fmla="*/ 0 h 37"/>
                <a:gd name="T10" fmla="*/ 0 w 65"/>
                <a:gd name="T11" fmla="*/ 33 h 37"/>
                <a:gd name="T12" fmla="*/ 1 w 65"/>
                <a:gd name="T13" fmla="*/ 34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5" h="37">
                  <a:moveTo>
                    <a:pt x="1" y="34"/>
                  </a:moveTo>
                  <a:cubicBezTo>
                    <a:pt x="1" y="35"/>
                    <a:pt x="2" y="36"/>
                    <a:pt x="2" y="37"/>
                  </a:cubicBezTo>
                  <a:cubicBezTo>
                    <a:pt x="65" y="4"/>
                    <a:pt x="65" y="4"/>
                    <a:pt x="65" y="4"/>
                  </a:cubicBezTo>
                  <a:cubicBezTo>
                    <a:pt x="65" y="3"/>
                    <a:pt x="64" y="2"/>
                    <a:pt x="64" y="1"/>
                  </a:cubicBezTo>
                  <a:cubicBezTo>
                    <a:pt x="64" y="1"/>
                    <a:pt x="63" y="0"/>
                    <a:pt x="63" y="0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0" y="33"/>
                    <a:pt x="0" y="34"/>
                    <a:pt x="1" y="34"/>
                  </a:cubicBezTo>
                  <a:close/>
                </a:path>
              </a:pathLst>
            </a:custGeom>
            <a:solidFill>
              <a:srgbClr val="3D69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14" name="iṧḻïḋê">
              <a:extLst>
                <a:ext uri="{FF2B5EF4-FFF2-40B4-BE49-F238E27FC236}">
                  <a16:creationId xmlns:a16="http://schemas.microsoft.com/office/drawing/2014/main" id="{CE3A976E-F457-4D68-AD43-F6E4A6968405}"/>
                </a:ext>
              </a:extLst>
            </p:cNvPr>
            <p:cNvSpPr/>
            <p:nvPr userDrawn="1"/>
          </p:nvSpPr>
          <p:spPr bwMode="auto">
            <a:xfrm>
              <a:off x="7361238" y="1706563"/>
              <a:ext cx="109538" cy="61913"/>
            </a:xfrm>
            <a:custGeom>
              <a:avLst/>
              <a:gdLst>
                <a:gd name="T0" fmla="*/ 1 w 65"/>
                <a:gd name="T1" fmla="*/ 35 h 37"/>
                <a:gd name="T2" fmla="*/ 2 w 65"/>
                <a:gd name="T3" fmla="*/ 37 h 37"/>
                <a:gd name="T4" fmla="*/ 65 w 65"/>
                <a:gd name="T5" fmla="*/ 4 h 37"/>
                <a:gd name="T6" fmla="*/ 64 w 65"/>
                <a:gd name="T7" fmla="*/ 2 h 37"/>
                <a:gd name="T8" fmla="*/ 63 w 65"/>
                <a:gd name="T9" fmla="*/ 0 h 37"/>
                <a:gd name="T10" fmla="*/ 0 w 65"/>
                <a:gd name="T11" fmla="*/ 33 h 37"/>
                <a:gd name="T12" fmla="*/ 1 w 65"/>
                <a:gd name="T13" fmla="*/ 35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5" h="37">
                  <a:moveTo>
                    <a:pt x="1" y="35"/>
                  </a:moveTo>
                  <a:cubicBezTo>
                    <a:pt x="1" y="36"/>
                    <a:pt x="2" y="36"/>
                    <a:pt x="2" y="37"/>
                  </a:cubicBezTo>
                  <a:cubicBezTo>
                    <a:pt x="65" y="4"/>
                    <a:pt x="65" y="4"/>
                    <a:pt x="65" y="4"/>
                  </a:cubicBezTo>
                  <a:cubicBezTo>
                    <a:pt x="65" y="3"/>
                    <a:pt x="65" y="3"/>
                    <a:pt x="64" y="2"/>
                  </a:cubicBezTo>
                  <a:cubicBezTo>
                    <a:pt x="64" y="1"/>
                    <a:pt x="64" y="1"/>
                    <a:pt x="63" y="0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0" y="34"/>
                    <a:pt x="1" y="34"/>
                    <a:pt x="1" y="35"/>
                  </a:cubicBezTo>
                  <a:close/>
                </a:path>
              </a:pathLst>
            </a:custGeom>
            <a:solidFill>
              <a:srgbClr val="3245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15" name="íŝ1ïḑé">
              <a:extLst>
                <a:ext uri="{FF2B5EF4-FFF2-40B4-BE49-F238E27FC236}">
                  <a16:creationId xmlns:a16="http://schemas.microsoft.com/office/drawing/2014/main" id="{BEE69CEC-3C16-4156-8F4C-F23067ED56C7}"/>
                </a:ext>
              </a:extLst>
            </p:cNvPr>
            <p:cNvSpPr/>
            <p:nvPr userDrawn="1"/>
          </p:nvSpPr>
          <p:spPr bwMode="auto">
            <a:xfrm>
              <a:off x="7513638" y="1601788"/>
              <a:ext cx="119063" cy="123825"/>
            </a:xfrm>
            <a:custGeom>
              <a:avLst/>
              <a:gdLst>
                <a:gd name="T0" fmla="*/ 71 w 71"/>
                <a:gd name="T1" fmla="*/ 34 h 73"/>
                <a:gd name="T2" fmla="*/ 70 w 71"/>
                <a:gd name="T3" fmla="*/ 31 h 73"/>
                <a:gd name="T4" fmla="*/ 69 w 71"/>
                <a:gd name="T5" fmla="*/ 27 h 73"/>
                <a:gd name="T6" fmla="*/ 68 w 71"/>
                <a:gd name="T7" fmla="*/ 24 h 73"/>
                <a:gd name="T8" fmla="*/ 67 w 71"/>
                <a:gd name="T9" fmla="*/ 21 h 73"/>
                <a:gd name="T10" fmla="*/ 66 w 71"/>
                <a:gd name="T11" fmla="*/ 19 h 73"/>
                <a:gd name="T12" fmla="*/ 39 w 71"/>
                <a:gd name="T13" fmla="*/ 2 h 73"/>
                <a:gd name="T14" fmla="*/ 0 w 71"/>
                <a:gd name="T15" fmla="*/ 31 h 73"/>
                <a:gd name="T16" fmla="*/ 0 w 71"/>
                <a:gd name="T17" fmla="*/ 35 h 73"/>
                <a:gd name="T18" fmla="*/ 0 w 71"/>
                <a:gd name="T19" fmla="*/ 35 h 73"/>
                <a:gd name="T20" fmla="*/ 0 w 71"/>
                <a:gd name="T21" fmla="*/ 36 h 73"/>
                <a:gd name="T22" fmla="*/ 0 w 71"/>
                <a:gd name="T23" fmla="*/ 38 h 73"/>
                <a:gd name="T24" fmla="*/ 0 w 71"/>
                <a:gd name="T25" fmla="*/ 38 h 73"/>
                <a:gd name="T26" fmla="*/ 1 w 71"/>
                <a:gd name="T27" fmla="*/ 48 h 73"/>
                <a:gd name="T28" fmla="*/ 1 w 71"/>
                <a:gd name="T29" fmla="*/ 48 h 73"/>
                <a:gd name="T30" fmla="*/ 3 w 71"/>
                <a:gd name="T31" fmla="*/ 52 h 73"/>
                <a:gd name="T32" fmla="*/ 4 w 71"/>
                <a:gd name="T33" fmla="*/ 55 h 73"/>
                <a:gd name="T34" fmla="*/ 6 w 71"/>
                <a:gd name="T35" fmla="*/ 57 h 73"/>
                <a:gd name="T36" fmla="*/ 8 w 71"/>
                <a:gd name="T37" fmla="*/ 60 h 73"/>
                <a:gd name="T38" fmla="*/ 10 w 71"/>
                <a:gd name="T39" fmla="*/ 63 h 73"/>
                <a:gd name="T40" fmla="*/ 13 w 71"/>
                <a:gd name="T41" fmla="*/ 65 h 73"/>
                <a:gd name="T42" fmla="*/ 16 w 71"/>
                <a:gd name="T43" fmla="*/ 67 h 73"/>
                <a:gd name="T44" fmla="*/ 19 w 71"/>
                <a:gd name="T45" fmla="*/ 69 h 73"/>
                <a:gd name="T46" fmla="*/ 22 w 71"/>
                <a:gd name="T47" fmla="*/ 70 h 73"/>
                <a:gd name="T48" fmla="*/ 25 w 71"/>
                <a:gd name="T49" fmla="*/ 72 h 73"/>
                <a:gd name="T50" fmla="*/ 29 w 71"/>
                <a:gd name="T51" fmla="*/ 72 h 73"/>
                <a:gd name="T52" fmla="*/ 49 w 71"/>
                <a:gd name="T53" fmla="*/ 70 h 73"/>
                <a:gd name="T54" fmla="*/ 55 w 71"/>
                <a:gd name="T55" fmla="*/ 67 h 73"/>
                <a:gd name="T56" fmla="*/ 63 w 71"/>
                <a:gd name="T57" fmla="*/ 60 h 73"/>
                <a:gd name="T58" fmla="*/ 70 w 71"/>
                <a:gd name="T59" fmla="*/ 45 h 73"/>
                <a:gd name="T60" fmla="*/ 71 w 71"/>
                <a:gd name="T61" fmla="*/ 43 h 73"/>
                <a:gd name="T62" fmla="*/ 71 w 71"/>
                <a:gd name="T63" fmla="*/ 43 h 73"/>
                <a:gd name="T64" fmla="*/ 71 w 71"/>
                <a:gd name="T65" fmla="*/ 42 h 73"/>
                <a:gd name="T66" fmla="*/ 71 w 71"/>
                <a:gd name="T67" fmla="*/ 41 h 73"/>
                <a:gd name="T68" fmla="*/ 71 w 71"/>
                <a:gd name="T69" fmla="*/ 38 h 73"/>
                <a:gd name="T70" fmla="*/ 71 w 71"/>
                <a:gd name="T71" fmla="*/ 36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71" h="73">
                  <a:moveTo>
                    <a:pt x="71" y="36"/>
                  </a:moveTo>
                  <a:cubicBezTo>
                    <a:pt x="71" y="35"/>
                    <a:pt x="71" y="35"/>
                    <a:pt x="71" y="34"/>
                  </a:cubicBezTo>
                  <a:cubicBezTo>
                    <a:pt x="71" y="34"/>
                    <a:pt x="71" y="33"/>
                    <a:pt x="71" y="33"/>
                  </a:cubicBezTo>
                  <a:cubicBezTo>
                    <a:pt x="71" y="32"/>
                    <a:pt x="71" y="31"/>
                    <a:pt x="70" y="31"/>
                  </a:cubicBezTo>
                  <a:cubicBezTo>
                    <a:pt x="70" y="30"/>
                    <a:pt x="70" y="30"/>
                    <a:pt x="70" y="30"/>
                  </a:cubicBezTo>
                  <a:cubicBezTo>
                    <a:pt x="70" y="29"/>
                    <a:pt x="70" y="28"/>
                    <a:pt x="69" y="27"/>
                  </a:cubicBezTo>
                  <a:cubicBezTo>
                    <a:pt x="69" y="26"/>
                    <a:pt x="69" y="26"/>
                    <a:pt x="69" y="26"/>
                  </a:cubicBezTo>
                  <a:cubicBezTo>
                    <a:pt x="69" y="25"/>
                    <a:pt x="69" y="24"/>
                    <a:pt x="68" y="24"/>
                  </a:cubicBezTo>
                  <a:cubicBezTo>
                    <a:pt x="68" y="23"/>
                    <a:pt x="68" y="23"/>
                    <a:pt x="68" y="22"/>
                  </a:cubicBezTo>
                  <a:cubicBezTo>
                    <a:pt x="68" y="22"/>
                    <a:pt x="67" y="21"/>
                    <a:pt x="67" y="21"/>
                  </a:cubicBezTo>
                  <a:cubicBezTo>
                    <a:pt x="67" y="20"/>
                    <a:pt x="67" y="20"/>
                    <a:pt x="66" y="20"/>
                  </a:cubicBezTo>
                  <a:cubicBezTo>
                    <a:pt x="66" y="19"/>
                    <a:pt x="66" y="19"/>
                    <a:pt x="66" y="19"/>
                  </a:cubicBezTo>
                  <a:cubicBezTo>
                    <a:pt x="66" y="19"/>
                    <a:pt x="66" y="19"/>
                    <a:pt x="66" y="19"/>
                  </a:cubicBezTo>
                  <a:cubicBezTo>
                    <a:pt x="61" y="10"/>
                    <a:pt x="51" y="3"/>
                    <a:pt x="39" y="2"/>
                  </a:cubicBezTo>
                  <a:cubicBezTo>
                    <a:pt x="20" y="0"/>
                    <a:pt x="3" y="13"/>
                    <a:pt x="0" y="31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0" y="32"/>
                    <a:pt x="0" y="33"/>
                    <a:pt x="0" y="34"/>
                  </a:cubicBezTo>
                  <a:cubicBezTo>
                    <a:pt x="0" y="34"/>
                    <a:pt x="0" y="35"/>
                    <a:pt x="0" y="35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0" y="37"/>
                    <a:pt x="0" y="37"/>
                    <a:pt x="0" y="38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0" y="42"/>
                    <a:pt x="0" y="45"/>
                    <a:pt x="1" y="48"/>
                  </a:cubicBezTo>
                  <a:cubicBezTo>
                    <a:pt x="1" y="48"/>
                    <a:pt x="1" y="48"/>
                    <a:pt x="1" y="48"/>
                  </a:cubicBezTo>
                  <a:cubicBezTo>
                    <a:pt x="1" y="48"/>
                    <a:pt x="1" y="48"/>
                    <a:pt x="1" y="48"/>
                  </a:cubicBezTo>
                  <a:cubicBezTo>
                    <a:pt x="1" y="48"/>
                    <a:pt x="1" y="48"/>
                    <a:pt x="1" y="48"/>
                  </a:cubicBezTo>
                  <a:cubicBezTo>
                    <a:pt x="2" y="49"/>
                    <a:pt x="2" y="50"/>
                    <a:pt x="2" y="51"/>
                  </a:cubicBezTo>
                  <a:cubicBezTo>
                    <a:pt x="3" y="52"/>
                    <a:pt x="3" y="52"/>
                    <a:pt x="3" y="52"/>
                  </a:cubicBezTo>
                  <a:cubicBezTo>
                    <a:pt x="3" y="52"/>
                    <a:pt x="3" y="53"/>
                    <a:pt x="4" y="54"/>
                  </a:cubicBezTo>
                  <a:cubicBezTo>
                    <a:pt x="4" y="55"/>
                    <a:pt x="4" y="55"/>
                    <a:pt x="4" y="55"/>
                  </a:cubicBezTo>
                  <a:cubicBezTo>
                    <a:pt x="5" y="55"/>
                    <a:pt x="5" y="56"/>
                    <a:pt x="6" y="57"/>
                  </a:cubicBezTo>
                  <a:cubicBezTo>
                    <a:pt x="6" y="57"/>
                    <a:pt x="6" y="57"/>
                    <a:pt x="6" y="57"/>
                  </a:cubicBezTo>
                  <a:cubicBezTo>
                    <a:pt x="6" y="58"/>
                    <a:pt x="7" y="59"/>
                    <a:pt x="7" y="60"/>
                  </a:cubicBezTo>
                  <a:cubicBezTo>
                    <a:pt x="8" y="60"/>
                    <a:pt x="8" y="60"/>
                    <a:pt x="8" y="60"/>
                  </a:cubicBezTo>
                  <a:cubicBezTo>
                    <a:pt x="9" y="61"/>
                    <a:pt x="9" y="62"/>
                    <a:pt x="10" y="62"/>
                  </a:cubicBezTo>
                  <a:cubicBezTo>
                    <a:pt x="10" y="63"/>
                    <a:pt x="10" y="63"/>
                    <a:pt x="10" y="63"/>
                  </a:cubicBezTo>
                  <a:cubicBezTo>
                    <a:pt x="11" y="63"/>
                    <a:pt x="12" y="64"/>
                    <a:pt x="13" y="65"/>
                  </a:cubicBezTo>
                  <a:cubicBezTo>
                    <a:pt x="13" y="65"/>
                    <a:pt x="13" y="65"/>
                    <a:pt x="13" y="65"/>
                  </a:cubicBezTo>
                  <a:cubicBezTo>
                    <a:pt x="13" y="66"/>
                    <a:pt x="14" y="66"/>
                    <a:pt x="15" y="67"/>
                  </a:cubicBezTo>
                  <a:cubicBezTo>
                    <a:pt x="16" y="67"/>
                    <a:pt x="16" y="67"/>
                    <a:pt x="16" y="67"/>
                  </a:cubicBezTo>
                  <a:cubicBezTo>
                    <a:pt x="16" y="68"/>
                    <a:pt x="17" y="68"/>
                    <a:pt x="18" y="68"/>
                  </a:cubicBezTo>
                  <a:cubicBezTo>
                    <a:pt x="19" y="69"/>
                    <a:pt x="19" y="69"/>
                    <a:pt x="19" y="69"/>
                  </a:cubicBezTo>
                  <a:cubicBezTo>
                    <a:pt x="20" y="69"/>
                    <a:pt x="20" y="70"/>
                    <a:pt x="21" y="70"/>
                  </a:cubicBezTo>
                  <a:cubicBezTo>
                    <a:pt x="22" y="70"/>
                    <a:pt x="22" y="70"/>
                    <a:pt x="22" y="70"/>
                  </a:cubicBezTo>
                  <a:cubicBezTo>
                    <a:pt x="22" y="71"/>
                    <a:pt x="23" y="71"/>
                    <a:pt x="24" y="71"/>
                  </a:cubicBezTo>
                  <a:cubicBezTo>
                    <a:pt x="25" y="72"/>
                    <a:pt x="25" y="72"/>
                    <a:pt x="25" y="72"/>
                  </a:cubicBezTo>
                  <a:cubicBezTo>
                    <a:pt x="26" y="72"/>
                    <a:pt x="27" y="72"/>
                    <a:pt x="28" y="72"/>
                  </a:cubicBezTo>
                  <a:cubicBezTo>
                    <a:pt x="29" y="72"/>
                    <a:pt x="29" y="72"/>
                    <a:pt x="29" y="72"/>
                  </a:cubicBezTo>
                  <a:cubicBezTo>
                    <a:pt x="30" y="73"/>
                    <a:pt x="31" y="73"/>
                    <a:pt x="32" y="73"/>
                  </a:cubicBezTo>
                  <a:cubicBezTo>
                    <a:pt x="38" y="73"/>
                    <a:pt x="44" y="72"/>
                    <a:pt x="49" y="70"/>
                  </a:cubicBezTo>
                  <a:cubicBezTo>
                    <a:pt x="50" y="70"/>
                    <a:pt x="51" y="69"/>
                    <a:pt x="52" y="69"/>
                  </a:cubicBezTo>
                  <a:cubicBezTo>
                    <a:pt x="53" y="68"/>
                    <a:pt x="54" y="67"/>
                    <a:pt x="55" y="67"/>
                  </a:cubicBezTo>
                  <a:cubicBezTo>
                    <a:pt x="56" y="66"/>
                    <a:pt x="57" y="65"/>
                    <a:pt x="58" y="65"/>
                  </a:cubicBezTo>
                  <a:cubicBezTo>
                    <a:pt x="60" y="63"/>
                    <a:pt x="61" y="62"/>
                    <a:pt x="63" y="60"/>
                  </a:cubicBezTo>
                  <a:cubicBezTo>
                    <a:pt x="66" y="56"/>
                    <a:pt x="69" y="51"/>
                    <a:pt x="70" y="45"/>
                  </a:cubicBezTo>
                  <a:cubicBezTo>
                    <a:pt x="70" y="45"/>
                    <a:pt x="70" y="45"/>
                    <a:pt x="70" y="45"/>
                  </a:cubicBezTo>
                  <a:cubicBezTo>
                    <a:pt x="70" y="45"/>
                    <a:pt x="70" y="45"/>
                    <a:pt x="70" y="45"/>
                  </a:cubicBezTo>
                  <a:cubicBezTo>
                    <a:pt x="70" y="44"/>
                    <a:pt x="70" y="44"/>
                    <a:pt x="71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41"/>
                    <a:pt x="71" y="41"/>
                    <a:pt x="71" y="41"/>
                  </a:cubicBezTo>
                  <a:cubicBezTo>
                    <a:pt x="71" y="40"/>
                    <a:pt x="71" y="39"/>
                    <a:pt x="71" y="38"/>
                  </a:cubicBezTo>
                  <a:cubicBezTo>
                    <a:pt x="71" y="38"/>
                    <a:pt x="71" y="38"/>
                    <a:pt x="71" y="38"/>
                  </a:cubicBezTo>
                  <a:cubicBezTo>
                    <a:pt x="71" y="37"/>
                    <a:pt x="71" y="37"/>
                    <a:pt x="71" y="37"/>
                  </a:cubicBezTo>
                  <a:lnTo>
                    <a:pt x="71" y="36"/>
                  </a:lnTo>
                  <a:close/>
                </a:path>
              </a:pathLst>
            </a:custGeom>
            <a:solidFill>
              <a:srgbClr val="D9D8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16" name="iṡlïḓé">
              <a:extLst>
                <a:ext uri="{FF2B5EF4-FFF2-40B4-BE49-F238E27FC236}">
                  <a16:creationId xmlns:a16="http://schemas.microsoft.com/office/drawing/2014/main" id="{F57EE621-EF6D-4E07-93C5-6052585C905A}"/>
                </a:ext>
              </a:extLst>
            </p:cNvPr>
            <p:cNvSpPr/>
            <p:nvPr userDrawn="1"/>
          </p:nvSpPr>
          <p:spPr bwMode="auto">
            <a:xfrm>
              <a:off x="7491413" y="1593850"/>
              <a:ext cx="138113" cy="136525"/>
            </a:xfrm>
            <a:custGeom>
              <a:avLst/>
              <a:gdLst>
                <a:gd name="T0" fmla="*/ 72 w 82"/>
                <a:gd name="T1" fmla="*/ 24 h 81"/>
                <a:gd name="T2" fmla="*/ 57 w 82"/>
                <a:gd name="T3" fmla="*/ 72 h 81"/>
                <a:gd name="T4" fmla="*/ 9 w 82"/>
                <a:gd name="T5" fmla="*/ 57 h 81"/>
                <a:gd name="T6" fmla="*/ 24 w 82"/>
                <a:gd name="T7" fmla="*/ 9 h 81"/>
                <a:gd name="T8" fmla="*/ 72 w 82"/>
                <a:gd name="T9" fmla="*/ 24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2" h="81">
                  <a:moveTo>
                    <a:pt x="72" y="24"/>
                  </a:moveTo>
                  <a:cubicBezTo>
                    <a:pt x="82" y="42"/>
                    <a:pt x="75" y="63"/>
                    <a:pt x="57" y="72"/>
                  </a:cubicBezTo>
                  <a:cubicBezTo>
                    <a:pt x="40" y="81"/>
                    <a:pt x="18" y="75"/>
                    <a:pt x="9" y="57"/>
                  </a:cubicBezTo>
                  <a:cubicBezTo>
                    <a:pt x="0" y="40"/>
                    <a:pt x="7" y="18"/>
                    <a:pt x="24" y="9"/>
                  </a:cubicBezTo>
                  <a:cubicBezTo>
                    <a:pt x="42" y="0"/>
                    <a:pt x="63" y="6"/>
                    <a:pt x="72" y="24"/>
                  </a:cubicBezTo>
                  <a:close/>
                </a:path>
              </a:pathLst>
            </a:custGeom>
            <a:solidFill>
              <a:srgbClr val="4675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17" name="íSḻîḓê">
              <a:extLst>
                <a:ext uri="{FF2B5EF4-FFF2-40B4-BE49-F238E27FC236}">
                  <a16:creationId xmlns:a16="http://schemas.microsoft.com/office/drawing/2014/main" id="{1FD47B5A-6EF8-4DEF-877E-0F541254ED56}"/>
                </a:ext>
              </a:extLst>
            </p:cNvPr>
            <p:cNvSpPr/>
            <p:nvPr userDrawn="1"/>
          </p:nvSpPr>
          <p:spPr bwMode="auto">
            <a:xfrm>
              <a:off x="7521575" y="1608138"/>
              <a:ext cx="107950" cy="119063"/>
            </a:xfrm>
            <a:custGeom>
              <a:avLst/>
              <a:gdLst>
                <a:gd name="T0" fmla="*/ 39 w 64"/>
                <a:gd name="T1" fmla="*/ 0 h 70"/>
                <a:gd name="T2" fmla="*/ 48 w 64"/>
                <a:gd name="T3" fmla="*/ 11 h 70"/>
                <a:gd name="T4" fmla="*/ 33 w 64"/>
                <a:gd name="T5" fmla="*/ 59 h 70"/>
                <a:gd name="T6" fmla="*/ 0 w 64"/>
                <a:gd name="T7" fmla="*/ 59 h 70"/>
                <a:gd name="T8" fmla="*/ 39 w 64"/>
                <a:gd name="T9" fmla="*/ 63 h 70"/>
                <a:gd name="T10" fmla="*/ 54 w 64"/>
                <a:gd name="T11" fmla="*/ 15 h 70"/>
                <a:gd name="T12" fmla="*/ 39 w 64"/>
                <a:gd name="T13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4" h="70">
                  <a:moveTo>
                    <a:pt x="39" y="0"/>
                  </a:moveTo>
                  <a:cubicBezTo>
                    <a:pt x="42" y="3"/>
                    <a:pt x="45" y="6"/>
                    <a:pt x="48" y="11"/>
                  </a:cubicBezTo>
                  <a:cubicBezTo>
                    <a:pt x="57" y="28"/>
                    <a:pt x="50" y="50"/>
                    <a:pt x="33" y="59"/>
                  </a:cubicBezTo>
                  <a:cubicBezTo>
                    <a:pt x="22" y="64"/>
                    <a:pt x="10" y="64"/>
                    <a:pt x="0" y="59"/>
                  </a:cubicBezTo>
                  <a:cubicBezTo>
                    <a:pt x="11" y="68"/>
                    <a:pt x="26" y="70"/>
                    <a:pt x="39" y="63"/>
                  </a:cubicBezTo>
                  <a:cubicBezTo>
                    <a:pt x="57" y="54"/>
                    <a:pt x="64" y="33"/>
                    <a:pt x="54" y="15"/>
                  </a:cubicBezTo>
                  <a:cubicBezTo>
                    <a:pt x="51" y="8"/>
                    <a:pt x="45" y="3"/>
                    <a:pt x="39" y="0"/>
                  </a:cubicBezTo>
                  <a:close/>
                </a:path>
              </a:pathLst>
            </a:custGeom>
            <a:solidFill>
              <a:srgbClr val="3D69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18" name="îṡḷîḍé">
              <a:extLst>
                <a:ext uri="{FF2B5EF4-FFF2-40B4-BE49-F238E27FC236}">
                  <a16:creationId xmlns:a16="http://schemas.microsoft.com/office/drawing/2014/main" id="{EE5E040C-B2E5-4BBC-9F8C-1832650975CE}"/>
                </a:ext>
              </a:extLst>
            </p:cNvPr>
            <p:cNvSpPr/>
            <p:nvPr userDrawn="1"/>
          </p:nvSpPr>
          <p:spPr bwMode="auto">
            <a:xfrm>
              <a:off x="7507288" y="1633538"/>
              <a:ext cx="109538" cy="61913"/>
            </a:xfrm>
            <a:custGeom>
              <a:avLst/>
              <a:gdLst>
                <a:gd name="T0" fmla="*/ 1 w 65"/>
                <a:gd name="T1" fmla="*/ 34 h 37"/>
                <a:gd name="T2" fmla="*/ 2 w 65"/>
                <a:gd name="T3" fmla="*/ 37 h 37"/>
                <a:gd name="T4" fmla="*/ 65 w 65"/>
                <a:gd name="T5" fmla="*/ 4 h 37"/>
                <a:gd name="T6" fmla="*/ 64 w 65"/>
                <a:gd name="T7" fmla="*/ 1 h 37"/>
                <a:gd name="T8" fmla="*/ 63 w 65"/>
                <a:gd name="T9" fmla="*/ 0 h 37"/>
                <a:gd name="T10" fmla="*/ 0 w 65"/>
                <a:gd name="T11" fmla="*/ 33 h 37"/>
                <a:gd name="T12" fmla="*/ 1 w 65"/>
                <a:gd name="T13" fmla="*/ 34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5" h="37">
                  <a:moveTo>
                    <a:pt x="1" y="34"/>
                  </a:moveTo>
                  <a:cubicBezTo>
                    <a:pt x="1" y="35"/>
                    <a:pt x="2" y="36"/>
                    <a:pt x="2" y="37"/>
                  </a:cubicBezTo>
                  <a:cubicBezTo>
                    <a:pt x="65" y="4"/>
                    <a:pt x="65" y="4"/>
                    <a:pt x="65" y="4"/>
                  </a:cubicBezTo>
                  <a:cubicBezTo>
                    <a:pt x="65" y="3"/>
                    <a:pt x="64" y="2"/>
                    <a:pt x="64" y="1"/>
                  </a:cubicBezTo>
                  <a:cubicBezTo>
                    <a:pt x="64" y="1"/>
                    <a:pt x="64" y="0"/>
                    <a:pt x="63" y="0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0" y="33"/>
                    <a:pt x="0" y="34"/>
                    <a:pt x="1" y="34"/>
                  </a:cubicBezTo>
                  <a:close/>
                </a:path>
              </a:pathLst>
            </a:custGeom>
            <a:solidFill>
              <a:srgbClr val="3D69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19" name="îṧļiḑe">
              <a:extLst>
                <a:ext uri="{FF2B5EF4-FFF2-40B4-BE49-F238E27FC236}">
                  <a16:creationId xmlns:a16="http://schemas.microsoft.com/office/drawing/2014/main" id="{EA114CDE-34B8-489B-A692-362135F37782}"/>
                </a:ext>
              </a:extLst>
            </p:cNvPr>
            <p:cNvSpPr/>
            <p:nvPr userDrawn="1"/>
          </p:nvSpPr>
          <p:spPr bwMode="auto">
            <a:xfrm>
              <a:off x="7504113" y="1630363"/>
              <a:ext cx="111125" cy="61913"/>
            </a:xfrm>
            <a:custGeom>
              <a:avLst/>
              <a:gdLst>
                <a:gd name="T0" fmla="*/ 1 w 65"/>
                <a:gd name="T1" fmla="*/ 35 h 37"/>
                <a:gd name="T2" fmla="*/ 2 w 65"/>
                <a:gd name="T3" fmla="*/ 37 h 37"/>
                <a:gd name="T4" fmla="*/ 65 w 65"/>
                <a:gd name="T5" fmla="*/ 4 h 37"/>
                <a:gd name="T6" fmla="*/ 64 w 65"/>
                <a:gd name="T7" fmla="*/ 2 h 37"/>
                <a:gd name="T8" fmla="*/ 63 w 65"/>
                <a:gd name="T9" fmla="*/ 0 h 37"/>
                <a:gd name="T10" fmla="*/ 0 w 65"/>
                <a:gd name="T11" fmla="*/ 33 h 37"/>
                <a:gd name="T12" fmla="*/ 1 w 65"/>
                <a:gd name="T13" fmla="*/ 35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5" h="37">
                  <a:moveTo>
                    <a:pt x="1" y="35"/>
                  </a:moveTo>
                  <a:cubicBezTo>
                    <a:pt x="1" y="36"/>
                    <a:pt x="2" y="36"/>
                    <a:pt x="2" y="37"/>
                  </a:cubicBezTo>
                  <a:cubicBezTo>
                    <a:pt x="65" y="4"/>
                    <a:pt x="65" y="4"/>
                    <a:pt x="65" y="4"/>
                  </a:cubicBezTo>
                  <a:cubicBezTo>
                    <a:pt x="65" y="3"/>
                    <a:pt x="65" y="3"/>
                    <a:pt x="64" y="2"/>
                  </a:cubicBezTo>
                  <a:cubicBezTo>
                    <a:pt x="64" y="1"/>
                    <a:pt x="64" y="1"/>
                    <a:pt x="63" y="0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0" y="34"/>
                    <a:pt x="1" y="34"/>
                    <a:pt x="1" y="35"/>
                  </a:cubicBezTo>
                  <a:close/>
                </a:path>
              </a:pathLst>
            </a:custGeom>
            <a:solidFill>
              <a:srgbClr val="3245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20" name="íŝļîde">
              <a:extLst>
                <a:ext uri="{FF2B5EF4-FFF2-40B4-BE49-F238E27FC236}">
                  <a16:creationId xmlns:a16="http://schemas.microsoft.com/office/drawing/2014/main" id="{DA843F91-66E9-41DE-8C0C-CCCB4D608CBA}"/>
                </a:ext>
              </a:extLst>
            </p:cNvPr>
            <p:cNvSpPr/>
            <p:nvPr userDrawn="1"/>
          </p:nvSpPr>
          <p:spPr bwMode="auto">
            <a:xfrm>
              <a:off x="7656513" y="1525588"/>
              <a:ext cx="120650" cy="123825"/>
            </a:xfrm>
            <a:custGeom>
              <a:avLst/>
              <a:gdLst>
                <a:gd name="T0" fmla="*/ 71 w 71"/>
                <a:gd name="T1" fmla="*/ 34 h 73"/>
                <a:gd name="T2" fmla="*/ 70 w 71"/>
                <a:gd name="T3" fmla="*/ 31 h 73"/>
                <a:gd name="T4" fmla="*/ 70 w 71"/>
                <a:gd name="T5" fmla="*/ 27 h 73"/>
                <a:gd name="T6" fmla="*/ 68 w 71"/>
                <a:gd name="T7" fmla="*/ 24 h 73"/>
                <a:gd name="T8" fmla="*/ 67 w 71"/>
                <a:gd name="T9" fmla="*/ 21 h 73"/>
                <a:gd name="T10" fmla="*/ 66 w 71"/>
                <a:gd name="T11" fmla="*/ 19 h 73"/>
                <a:gd name="T12" fmla="*/ 39 w 71"/>
                <a:gd name="T13" fmla="*/ 2 h 73"/>
                <a:gd name="T14" fmla="*/ 0 w 71"/>
                <a:gd name="T15" fmla="*/ 32 h 73"/>
                <a:gd name="T16" fmla="*/ 0 w 71"/>
                <a:gd name="T17" fmla="*/ 35 h 73"/>
                <a:gd name="T18" fmla="*/ 0 w 71"/>
                <a:gd name="T19" fmla="*/ 36 h 73"/>
                <a:gd name="T20" fmla="*/ 0 w 71"/>
                <a:gd name="T21" fmla="*/ 36 h 73"/>
                <a:gd name="T22" fmla="*/ 0 w 71"/>
                <a:gd name="T23" fmla="*/ 38 h 73"/>
                <a:gd name="T24" fmla="*/ 0 w 71"/>
                <a:gd name="T25" fmla="*/ 39 h 73"/>
                <a:gd name="T26" fmla="*/ 1 w 71"/>
                <a:gd name="T27" fmla="*/ 48 h 73"/>
                <a:gd name="T28" fmla="*/ 1 w 71"/>
                <a:gd name="T29" fmla="*/ 48 h 73"/>
                <a:gd name="T30" fmla="*/ 3 w 71"/>
                <a:gd name="T31" fmla="*/ 52 h 73"/>
                <a:gd name="T32" fmla="*/ 4 w 71"/>
                <a:gd name="T33" fmla="*/ 55 h 73"/>
                <a:gd name="T34" fmla="*/ 6 w 71"/>
                <a:gd name="T35" fmla="*/ 58 h 73"/>
                <a:gd name="T36" fmla="*/ 8 w 71"/>
                <a:gd name="T37" fmla="*/ 60 h 73"/>
                <a:gd name="T38" fmla="*/ 10 w 71"/>
                <a:gd name="T39" fmla="*/ 63 h 73"/>
                <a:gd name="T40" fmla="*/ 13 w 71"/>
                <a:gd name="T41" fmla="*/ 65 h 73"/>
                <a:gd name="T42" fmla="*/ 16 w 71"/>
                <a:gd name="T43" fmla="*/ 67 h 73"/>
                <a:gd name="T44" fmla="*/ 19 w 71"/>
                <a:gd name="T45" fmla="*/ 69 h 73"/>
                <a:gd name="T46" fmla="*/ 22 w 71"/>
                <a:gd name="T47" fmla="*/ 70 h 73"/>
                <a:gd name="T48" fmla="*/ 25 w 71"/>
                <a:gd name="T49" fmla="*/ 72 h 73"/>
                <a:gd name="T50" fmla="*/ 29 w 71"/>
                <a:gd name="T51" fmla="*/ 72 h 73"/>
                <a:gd name="T52" fmla="*/ 49 w 71"/>
                <a:gd name="T53" fmla="*/ 70 h 73"/>
                <a:gd name="T54" fmla="*/ 55 w 71"/>
                <a:gd name="T55" fmla="*/ 67 h 73"/>
                <a:gd name="T56" fmla="*/ 63 w 71"/>
                <a:gd name="T57" fmla="*/ 60 h 73"/>
                <a:gd name="T58" fmla="*/ 70 w 71"/>
                <a:gd name="T59" fmla="*/ 45 h 73"/>
                <a:gd name="T60" fmla="*/ 71 w 71"/>
                <a:gd name="T61" fmla="*/ 43 h 73"/>
                <a:gd name="T62" fmla="*/ 71 w 71"/>
                <a:gd name="T63" fmla="*/ 43 h 73"/>
                <a:gd name="T64" fmla="*/ 71 w 71"/>
                <a:gd name="T65" fmla="*/ 42 h 73"/>
                <a:gd name="T66" fmla="*/ 71 w 71"/>
                <a:gd name="T67" fmla="*/ 41 h 73"/>
                <a:gd name="T68" fmla="*/ 71 w 71"/>
                <a:gd name="T69" fmla="*/ 38 h 73"/>
                <a:gd name="T70" fmla="*/ 71 w 71"/>
                <a:gd name="T71" fmla="*/ 36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71" h="73">
                  <a:moveTo>
                    <a:pt x="71" y="36"/>
                  </a:moveTo>
                  <a:cubicBezTo>
                    <a:pt x="71" y="35"/>
                    <a:pt x="71" y="35"/>
                    <a:pt x="71" y="34"/>
                  </a:cubicBezTo>
                  <a:cubicBezTo>
                    <a:pt x="71" y="34"/>
                    <a:pt x="71" y="33"/>
                    <a:pt x="71" y="33"/>
                  </a:cubicBezTo>
                  <a:cubicBezTo>
                    <a:pt x="71" y="32"/>
                    <a:pt x="71" y="31"/>
                    <a:pt x="70" y="31"/>
                  </a:cubicBezTo>
                  <a:cubicBezTo>
                    <a:pt x="70" y="30"/>
                    <a:pt x="70" y="30"/>
                    <a:pt x="70" y="30"/>
                  </a:cubicBezTo>
                  <a:cubicBezTo>
                    <a:pt x="70" y="29"/>
                    <a:pt x="70" y="28"/>
                    <a:pt x="70" y="27"/>
                  </a:cubicBezTo>
                  <a:cubicBezTo>
                    <a:pt x="69" y="26"/>
                    <a:pt x="69" y="26"/>
                    <a:pt x="69" y="26"/>
                  </a:cubicBezTo>
                  <a:cubicBezTo>
                    <a:pt x="69" y="25"/>
                    <a:pt x="69" y="24"/>
                    <a:pt x="68" y="24"/>
                  </a:cubicBezTo>
                  <a:cubicBezTo>
                    <a:pt x="68" y="23"/>
                    <a:pt x="68" y="23"/>
                    <a:pt x="68" y="22"/>
                  </a:cubicBezTo>
                  <a:cubicBezTo>
                    <a:pt x="68" y="22"/>
                    <a:pt x="67" y="21"/>
                    <a:pt x="67" y="21"/>
                  </a:cubicBezTo>
                  <a:cubicBezTo>
                    <a:pt x="67" y="20"/>
                    <a:pt x="67" y="20"/>
                    <a:pt x="66" y="20"/>
                  </a:cubicBezTo>
                  <a:cubicBezTo>
                    <a:pt x="66" y="19"/>
                    <a:pt x="66" y="19"/>
                    <a:pt x="66" y="19"/>
                  </a:cubicBezTo>
                  <a:cubicBezTo>
                    <a:pt x="66" y="19"/>
                    <a:pt x="66" y="19"/>
                    <a:pt x="66" y="19"/>
                  </a:cubicBezTo>
                  <a:cubicBezTo>
                    <a:pt x="61" y="10"/>
                    <a:pt x="51" y="3"/>
                    <a:pt x="39" y="2"/>
                  </a:cubicBezTo>
                  <a:cubicBezTo>
                    <a:pt x="20" y="0"/>
                    <a:pt x="3" y="13"/>
                    <a:pt x="0" y="32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0" y="32"/>
                    <a:pt x="0" y="33"/>
                    <a:pt x="0" y="34"/>
                  </a:cubicBezTo>
                  <a:cubicBezTo>
                    <a:pt x="0" y="34"/>
                    <a:pt x="0" y="35"/>
                    <a:pt x="0" y="35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0" y="37"/>
                    <a:pt x="0" y="38"/>
                    <a:pt x="0" y="38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42"/>
                    <a:pt x="0" y="45"/>
                    <a:pt x="1" y="48"/>
                  </a:cubicBezTo>
                  <a:cubicBezTo>
                    <a:pt x="1" y="48"/>
                    <a:pt x="1" y="48"/>
                    <a:pt x="1" y="48"/>
                  </a:cubicBezTo>
                  <a:cubicBezTo>
                    <a:pt x="1" y="48"/>
                    <a:pt x="1" y="48"/>
                    <a:pt x="1" y="48"/>
                  </a:cubicBezTo>
                  <a:cubicBezTo>
                    <a:pt x="1" y="48"/>
                    <a:pt x="1" y="48"/>
                    <a:pt x="1" y="48"/>
                  </a:cubicBezTo>
                  <a:cubicBezTo>
                    <a:pt x="2" y="49"/>
                    <a:pt x="2" y="50"/>
                    <a:pt x="2" y="51"/>
                  </a:cubicBezTo>
                  <a:cubicBezTo>
                    <a:pt x="3" y="52"/>
                    <a:pt x="3" y="52"/>
                    <a:pt x="3" y="52"/>
                  </a:cubicBezTo>
                  <a:cubicBezTo>
                    <a:pt x="3" y="52"/>
                    <a:pt x="3" y="53"/>
                    <a:pt x="4" y="54"/>
                  </a:cubicBezTo>
                  <a:cubicBezTo>
                    <a:pt x="4" y="55"/>
                    <a:pt x="4" y="55"/>
                    <a:pt x="4" y="55"/>
                  </a:cubicBezTo>
                  <a:cubicBezTo>
                    <a:pt x="5" y="56"/>
                    <a:pt x="5" y="56"/>
                    <a:pt x="6" y="57"/>
                  </a:cubicBezTo>
                  <a:cubicBezTo>
                    <a:pt x="6" y="58"/>
                    <a:pt x="6" y="58"/>
                    <a:pt x="6" y="58"/>
                  </a:cubicBezTo>
                  <a:cubicBezTo>
                    <a:pt x="6" y="58"/>
                    <a:pt x="7" y="59"/>
                    <a:pt x="8" y="60"/>
                  </a:cubicBezTo>
                  <a:cubicBezTo>
                    <a:pt x="8" y="60"/>
                    <a:pt x="8" y="60"/>
                    <a:pt x="8" y="60"/>
                  </a:cubicBezTo>
                  <a:cubicBezTo>
                    <a:pt x="9" y="61"/>
                    <a:pt x="9" y="62"/>
                    <a:pt x="10" y="62"/>
                  </a:cubicBezTo>
                  <a:cubicBezTo>
                    <a:pt x="10" y="63"/>
                    <a:pt x="10" y="63"/>
                    <a:pt x="10" y="63"/>
                  </a:cubicBezTo>
                  <a:cubicBezTo>
                    <a:pt x="11" y="63"/>
                    <a:pt x="12" y="64"/>
                    <a:pt x="13" y="65"/>
                  </a:cubicBezTo>
                  <a:cubicBezTo>
                    <a:pt x="13" y="65"/>
                    <a:pt x="13" y="65"/>
                    <a:pt x="13" y="65"/>
                  </a:cubicBezTo>
                  <a:cubicBezTo>
                    <a:pt x="14" y="66"/>
                    <a:pt x="14" y="66"/>
                    <a:pt x="15" y="67"/>
                  </a:cubicBezTo>
                  <a:cubicBezTo>
                    <a:pt x="16" y="67"/>
                    <a:pt x="16" y="67"/>
                    <a:pt x="16" y="67"/>
                  </a:cubicBezTo>
                  <a:cubicBezTo>
                    <a:pt x="17" y="68"/>
                    <a:pt x="17" y="68"/>
                    <a:pt x="18" y="68"/>
                  </a:cubicBezTo>
                  <a:cubicBezTo>
                    <a:pt x="19" y="69"/>
                    <a:pt x="19" y="69"/>
                    <a:pt x="19" y="69"/>
                  </a:cubicBezTo>
                  <a:cubicBezTo>
                    <a:pt x="20" y="69"/>
                    <a:pt x="21" y="70"/>
                    <a:pt x="22" y="70"/>
                  </a:cubicBezTo>
                  <a:cubicBezTo>
                    <a:pt x="22" y="70"/>
                    <a:pt x="22" y="70"/>
                    <a:pt x="22" y="70"/>
                  </a:cubicBezTo>
                  <a:cubicBezTo>
                    <a:pt x="23" y="71"/>
                    <a:pt x="24" y="71"/>
                    <a:pt x="24" y="71"/>
                  </a:cubicBezTo>
                  <a:cubicBezTo>
                    <a:pt x="25" y="72"/>
                    <a:pt x="25" y="72"/>
                    <a:pt x="25" y="72"/>
                  </a:cubicBezTo>
                  <a:cubicBezTo>
                    <a:pt x="26" y="72"/>
                    <a:pt x="27" y="72"/>
                    <a:pt x="28" y="72"/>
                  </a:cubicBezTo>
                  <a:cubicBezTo>
                    <a:pt x="29" y="72"/>
                    <a:pt x="29" y="72"/>
                    <a:pt x="29" y="72"/>
                  </a:cubicBezTo>
                  <a:cubicBezTo>
                    <a:pt x="30" y="73"/>
                    <a:pt x="31" y="73"/>
                    <a:pt x="32" y="73"/>
                  </a:cubicBezTo>
                  <a:cubicBezTo>
                    <a:pt x="38" y="73"/>
                    <a:pt x="44" y="72"/>
                    <a:pt x="49" y="70"/>
                  </a:cubicBezTo>
                  <a:cubicBezTo>
                    <a:pt x="50" y="70"/>
                    <a:pt x="51" y="69"/>
                    <a:pt x="52" y="69"/>
                  </a:cubicBezTo>
                  <a:cubicBezTo>
                    <a:pt x="53" y="68"/>
                    <a:pt x="54" y="67"/>
                    <a:pt x="55" y="67"/>
                  </a:cubicBezTo>
                  <a:cubicBezTo>
                    <a:pt x="56" y="66"/>
                    <a:pt x="57" y="66"/>
                    <a:pt x="58" y="65"/>
                  </a:cubicBezTo>
                  <a:cubicBezTo>
                    <a:pt x="60" y="63"/>
                    <a:pt x="62" y="62"/>
                    <a:pt x="63" y="60"/>
                  </a:cubicBezTo>
                  <a:cubicBezTo>
                    <a:pt x="66" y="56"/>
                    <a:pt x="69" y="51"/>
                    <a:pt x="70" y="45"/>
                  </a:cubicBezTo>
                  <a:cubicBezTo>
                    <a:pt x="70" y="45"/>
                    <a:pt x="70" y="45"/>
                    <a:pt x="70" y="45"/>
                  </a:cubicBezTo>
                  <a:cubicBezTo>
                    <a:pt x="70" y="45"/>
                    <a:pt x="70" y="45"/>
                    <a:pt x="70" y="45"/>
                  </a:cubicBezTo>
                  <a:cubicBezTo>
                    <a:pt x="70" y="44"/>
                    <a:pt x="70" y="44"/>
                    <a:pt x="71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41"/>
                    <a:pt x="71" y="41"/>
                    <a:pt x="71" y="41"/>
                  </a:cubicBezTo>
                  <a:cubicBezTo>
                    <a:pt x="71" y="40"/>
                    <a:pt x="71" y="39"/>
                    <a:pt x="71" y="38"/>
                  </a:cubicBezTo>
                  <a:cubicBezTo>
                    <a:pt x="71" y="38"/>
                    <a:pt x="71" y="38"/>
                    <a:pt x="71" y="38"/>
                  </a:cubicBezTo>
                  <a:cubicBezTo>
                    <a:pt x="71" y="37"/>
                    <a:pt x="71" y="37"/>
                    <a:pt x="71" y="37"/>
                  </a:cubicBezTo>
                  <a:lnTo>
                    <a:pt x="71" y="36"/>
                  </a:lnTo>
                  <a:close/>
                </a:path>
              </a:pathLst>
            </a:custGeom>
            <a:solidFill>
              <a:srgbClr val="D9D8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21" name="íşļiḓè">
              <a:extLst>
                <a:ext uri="{FF2B5EF4-FFF2-40B4-BE49-F238E27FC236}">
                  <a16:creationId xmlns:a16="http://schemas.microsoft.com/office/drawing/2014/main" id="{43C12D7F-FDF4-4AEB-9852-4A2609EEA39C}"/>
                </a:ext>
              </a:extLst>
            </p:cNvPr>
            <p:cNvSpPr/>
            <p:nvPr userDrawn="1"/>
          </p:nvSpPr>
          <p:spPr bwMode="auto">
            <a:xfrm>
              <a:off x="7634288" y="1517650"/>
              <a:ext cx="139700" cy="136525"/>
            </a:xfrm>
            <a:custGeom>
              <a:avLst/>
              <a:gdLst>
                <a:gd name="T0" fmla="*/ 72 w 82"/>
                <a:gd name="T1" fmla="*/ 24 h 81"/>
                <a:gd name="T2" fmla="*/ 57 w 82"/>
                <a:gd name="T3" fmla="*/ 72 h 81"/>
                <a:gd name="T4" fmla="*/ 9 w 82"/>
                <a:gd name="T5" fmla="*/ 57 h 81"/>
                <a:gd name="T6" fmla="*/ 24 w 82"/>
                <a:gd name="T7" fmla="*/ 9 h 81"/>
                <a:gd name="T8" fmla="*/ 72 w 82"/>
                <a:gd name="T9" fmla="*/ 24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2" h="81">
                  <a:moveTo>
                    <a:pt x="72" y="24"/>
                  </a:moveTo>
                  <a:cubicBezTo>
                    <a:pt x="82" y="42"/>
                    <a:pt x="75" y="63"/>
                    <a:pt x="57" y="72"/>
                  </a:cubicBezTo>
                  <a:cubicBezTo>
                    <a:pt x="40" y="81"/>
                    <a:pt x="18" y="75"/>
                    <a:pt x="9" y="57"/>
                  </a:cubicBezTo>
                  <a:cubicBezTo>
                    <a:pt x="0" y="40"/>
                    <a:pt x="7" y="18"/>
                    <a:pt x="24" y="9"/>
                  </a:cubicBezTo>
                  <a:cubicBezTo>
                    <a:pt x="42" y="0"/>
                    <a:pt x="63" y="7"/>
                    <a:pt x="72" y="24"/>
                  </a:cubicBezTo>
                  <a:close/>
                </a:path>
              </a:pathLst>
            </a:custGeom>
            <a:solidFill>
              <a:srgbClr val="4675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22" name="îśľíďé">
              <a:extLst>
                <a:ext uri="{FF2B5EF4-FFF2-40B4-BE49-F238E27FC236}">
                  <a16:creationId xmlns:a16="http://schemas.microsoft.com/office/drawing/2014/main" id="{EEC64703-129A-4B44-8531-146EF29D7345}"/>
                </a:ext>
              </a:extLst>
            </p:cNvPr>
            <p:cNvSpPr/>
            <p:nvPr userDrawn="1"/>
          </p:nvSpPr>
          <p:spPr bwMode="auto">
            <a:xfrm>
              <a:off x="7666038" y="1531938"/>
              <a:ext cx="107950" cy="119063"/>
            </a:xfrm>
            <a:custGeom>
              <a:avLst/>
              <a:gdLst>
                <a:gd name="T0" fmla="*/ 39 w 64"/>
                <a:gd name="T1" fmla="*/ 0 h 70"/>
                <a:gd name="T2" fmla="*/ 48 w 64"/>
                <a:gd name="T3" fmla="*/ 11 h 70"/>
                <a:gd name="T4" fmla="*/ 33 w 64"/>
                <a:gd name="T5" fmla="*/ 59 h 70"/>
                <a:gd name="T6" fmla="*/ 0 w 64"/>
                <a:gd name="T7" fmla="*/ 59 h 70"/>
                <a:gd name="T8" fmla="*/ 39 w 64"/>
                <a:gd name="T9" fmla="*/ 63 h 70"/>
                <a:gd name="T10" fmla="*/ 54 w 64"/>
                <a:gd name="T11" fmla="*/ 15 h 70"/>
                <a:gd name="T12" fmla="*/ 39 w 64"/>
                <a:gd name="T13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4" h="70">
                  <a:moveTo>
                    <a:pt x="39" y="0"/>
                  </a:moveTo>
                  <a:cubicBezTo>
                    <a:pt x="43" y="3"/>
                    <a:pt x="46" y="6"/>
                    <a:pt x="48" y="11"/>
                  </a:cubicBezTo>
                  <a:cubicBezTo>
                    <a:pt x="57" y="28"/>
                    <a:pt x="50" y="50"/>
                    <a:pt x="33" y="59"/>
                  </a:cubicBezTo>
                  <a:cubicBezTo>
                    <a:pt x="22" y="64"/>
                    <a:pt x="10" y="64"/>
                    <a:pt x="0" y="59"/>
                  </a:cubicBezTo>
                  <a:cubicBezTo>
                    <a:pt x="11" y="68"/>
                    <a:pt x="26" y="70"/>
                    <a:pt x="39" y="63"/>
                  </a:cubicBezTo>
                  <a:cubicBezTo>
                    <a:pt x="57" y="54"/>
                    <a:pt x="64" y="33"/>
                    <a:pt x="54" y="15"/>
                  </a:cubicBezTo>
                  <a:cubicBezTo>
                    <a:pt x="51" y="8"/>
                    <a:pt x="45" y="3"/>
                    <a:pt x="39" y="0"/>
                  </a:cubicBezTo>
                  <a:close/>
                </a:path>
              </a:pathLst>
            </a:custGeom>
            <a:solidFill>
              <a:srgbClr val="3D69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23" name="îŝ1iḋê">
              <a:extLst>
                <a:ext uri="{FF2B5EF4-FFF2-40B4-BE49-F238E27FC236}">
                  <a16:creationId xmlns:a16="http://schemas.microsoft.com/office/drawing/2014/main" id="{DC1B434B-E4A7-4403-BFE3-024FD862ACC6}"/>
                </a:ext>
              </a:extLst>
            </p:cNvPr>
            <p:cNvSpPr/>
            <p:nvPr userDrawn="1"/>
          </p:nvSpPr>
          <p:spPr bwMode="auto">
            <a:xfrm>
              <a:off x="7650163" y="1557338"/>
              <a:ext cx="109538" cy="63500"/>
            </a:xfrm>
            <a:custGeom>
              <a:avLst/>
              <a:gdLst>
                <a:gd name="T0" fmla="*/ 1 w 65"/>
                <a:gd name="T1" fmla="*/ 34 h 37"/>
                <a:gd name="T2" fmla="*/ 3 w 65"/>
                <a:gd name="T3" fmla="*/ 37 h 37"/>
                <a:gd name="T4" fmla="*/ 65 w 65"/>
                <a:gd name="T5" fmla="*/ 4 h 37"/>
                <a:gd name="T6" fmla="*/ 64 w 65"/>
                <a:gd name="T7" fmla="*/ 1 h 37"/>
                <a:gd name="T8" fmla="*/ 63 w 65"/>
                <a:gd name="T9" fmla="*/ 0 h 37"/>
                <a:gd name="T10" fmla="*/ 0 w 65"/>
                <a:gd name="T11" fmla="*/ 33 h 37"/>
                <a:gd name="T12" fmla="*/ 1 w 65"/>
                <a:gd name="T13" fmla="*/ 34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5" h="37">
                  <a:moveTo>
                    <a:pt x="1" y="34"/>
                  </a:moveTo>
                  <a:cubicBezTo>
                    <a:pt x="1" y="35"/>
                    <a:pt x="2" y="36"/>
                    <a:pt x="3" y="37"/>
                  </a:cubicBezTo>
                  <a:cubicBezTo>
                    <a:pt x="65" y="4"/>
                    <a:pt x="65" y="4"/>
                    <a:pt x="65" y="4"/>
                  </a:cubicBezTo>
                  <a:cubicBezTo>
                    <a:pt x="65" y="3"/>
                    <a:pt x="65" y="2"/>
                    <a:pt x="64" y="1"/>
                  </a:cubicBezTo>
                  <a:cubicBezTo>
                    <a:pt x="64" y="1"/>
                    <a:pt x="64" y="0"/>
                    <a:pt x="63" y="0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0" y="34"/>
                    <a:pt x="1" y="34"/>
                    <a:pt x="1" y="34"/>
                  </a:cubicBezTo>
                  <a:close/>
                </a:path>
              </a:pathLst>
            </a:custGeom>
            <a:solidFill>
              <a:srgbClr val="3D69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24" name="išlíḋê">
              <a:extLst>
                <a:ext uri="{FF2B5EF4-FFF2-40B4-BE49-F238E27FC236}">
                  <a16:creationId xmlns:a16="http://schemas.microsoft.com/office/drawing/2014/main" id="{B27DA944-05A0-4DBA-9115-7369A2EDCE11}"/>
                </a:ext>
              </a:extLst>
            </p:cNvPr>
            <p:cNvSpPr/>
            <p:nvPr userDrawn="1"/>
          </p:nvSpPr>
          <p:spPr bwMode="auto">
            <a:xfrm>
              <a:off x="7648575" y="1554163"/>
              <a:ext cx="109538" cy="61913"/>
            </a:xfrm>
            <a:custGeom>
              <a:avLst/>
              <a:gdLst>
                <a:gd name="T0" fmla="*/ 1 w 65"/>
                <a:gd name="T1" fmla="*/ 35 h 37"/>
                <a:gd name="T2" fmla="*/ 2 w 65"/>
                <a:gd name="T3" fmla="*/ 37 h 37"/>
                <a:gd name="T4" fmla="*/ 65 w 65"/>
                <a:gd name="T5" fmla="*/ 4 h 37"/>
                <a:gd name="T6" fmla="*/ 64 w 65"/>
                <a:gd name="T7" fmla="*/ 2 h 37"/>
                <a:gd name="T8" fmla="*/ 63 w 65"/>
                <a:gd name="T9" fmla="*/ 0 h 37"/>
                <a:gd name="T10" fmla="*/ 0 w 65"/>
                <a:gd name="T11" fmla="*/ 33 h 37"/>
                <a:gd name="T12" fmla="*/ 1 w 65"/>
                <a:gd name="T13" fmla="*/ 35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5" h="37">
                  <a:moveTo>
                    <a:pt x="1" y="35"/>
                  </a:moveTo>
                  <a:cubicBezTo>
                    <a:pt x="1" y="36"/>
                    <a:pt x="2" y="36"/>
                    <a:pt x="2" y="37"/>
                  </a:cubicBezTo>
                  <a:cubicBezTo>
                    <a:pt x="65" y="4"/>
                    <a:pt x="65" y="4"/>
                    <a:pt x="65" y="4"/>
                  </a:cubicBezTo>
                  <a:cubicBezTo>
                    <a:pt x="65" y="3"/>
                    <a:pt x="65" y="3"/>
                    <a:pt x="64" y="2"/>
                  </a:cubicBezTo>
                  <a:cubicBezTo>
                    <a:pt x="64" y="1"/>
                    <a:pt x="64" y="1"/>
                    <a:pt x="63" y="0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0" y="34"/>
                    <a:pt x="1" y="34"/>
                    <a:pt x="1" y="35"/>
                  </a:cubicBezTo>
                  <a:close/>
                </a:path>
              </a:pathLst>
            </a:custGeom>
            <a:solidFill>
              <a:srgbClr val="3245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25" name="ïSḻiḍe">
              <a:extLst>
                <a:ext uri="{FF2B5EF4-FFF2-40B4-BE49-F238E27FC236}">
                  <a16:creationId xmlns:a16="http://schemas.microsoft.com/office/drawing/2014/main" id="{9EDCF5D5-FE97-4416-A54B-56FE3FB169A1}"/>
                </a:ext>
              </a:extLst>
            </p:cNvPr>
            <p:cNvSpPr/>
            <p:nvPr userDrawn="1"/>
          </p:nvSpPr>
          <p:spPr bwMode="auto">
            <a:xfrm>
              <a:off x="6588125" y="2047875"/>
              <a:ext cx="119063" cy="134938"/>
            </a:xfrm>
            <a:custGeom>
              <a:avLst/>
              <a:gdLst>
                <a:gd name="T0" fmla="*/ 70 w 70"/>
                <a:gd name="T1" fmla="*/ 60 h 80"/>
                <a:gd name="T2" fmla="*/ 54 w 70"/>
                <a:gd name="T3" fmla="*/ 20 h 80"/>
                <a:gd name="T4" fmla="*/ 20 w 70"/>
                <a:gd name="T5" fmla="*/ 6 h 80"/>
                <a:gd name="T6" fmla="*/ 5 w 70"/>
                <a:gd name="T7" fmla="*/ 40 h 80"/>
                <a:gd name="T8" fmla="*/ 21 w 70"/>
                <a:gd name="T9" fmla="*/ 80 h 80"/>
                <a:gd name="T10" fmla="*/ 70 w 70"/>
                <a:gd name="T11" fmla="*/ 6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0" h="80">
                  <a:moveTo>
                    <a:pt x="70" y="60"/>
                  </a:moveTo>
                  <a:cubicBezTo>
                    <a:pt x="54" y="20"/>
                    <a:pt x="54" y="20"/>
                    <a:pt x="54" y="20"/>
                  </a:cubicBezTo>
                  <a:cubicBezTo>
                    <a:pt x="48" y="7"/>
                    <a:pt x="33" y="0"/>
                    <a:pt x="20" y="6"/>
                  </a:cubicBezTo>
                  <a:cubicBezTo>
                    <a:pt x="6" y="11"/>
                    <a:pt x="0" y="27"/>
                    <a:pt x="5" y="40"/>
                  </a:cubicBezTo>
                  <a:cubicBezTo>
                    <a:pt x="21" y="80"/>
                    <a:pt x="21" y="80"/>
                    <a:pt x="21" y="80"/>
                  </a:cubicBezTo>
                  <a:lnTo>
                    <a:pt x="70" y="60"/>
                  </a:lnTo>
                  <a:close/>
                </a:path>
              </a:pathLst>
            </a:custGeom>
            <a:solidFill>
              <a:srgbClr val="4675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26" name="iṧḻïḋé">
              <a:extLst>
                <a:ext uri="{FF2B5EF4-FFF2-40B4-BE49-F238E27FC236}">
                  <a16:creationId xmlns:a16="http://schemas.microsoft.com/office/drawing/2014/main" id="{A3B8AB09-C423-4209-9BC7-9A2336474DDC}"/>
                </a:ext>
              </a:extLst>
            </p:cNvPr>
            <p:cNvSpPr/>
            <p:nvPr userDrawn="1"/>
          </p:nvSpPr>
          <p:spPr bwMode="auto">
            <a:xfrm>
              <a:off x="6623050" y="2147888"/>
              <a:ext cx="119063" cy="133350"/>
            </a:xfrm>
            <a:custGeom>
              <a:avLst/>
              <a:gdLst>
                <a:gd name="T0" fmla="*/ 0 w 70"/>
                <a:gd name="T1" fmla="*/ 20 h 79"/>
                <a:gd name="T2" fmla="*/ 16 w 70"/>
                <a:gd name="T3" fmla="*/ 59 h 79"/>
                <a:gd name="T4" fmla="*/ 50 w 70"/>
                <a:gd name="T5" fmla="*/ 73 h 79"/>
                <a:gd name="T6" fmla="*/ 65 w 70"/>
                <a:gd name="T7" fmla="*/ 39 h 79"/>
                <a:gd name="T8" fmla="*/ 49 w 70"/>
                <a:gd name="T9" fmla="*/ 0 h 79"/>
                <a:gd name="T10" fmla="*/ 0 w 70"/>
                <a:gd name="T11" fmla="*/ 20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0" h="79">
                  <a:moveTo>
                    <a:pt x="0" y="20"/>
                  </a:moveTo>
                  <a:cubicBezTo>
                    <a:pt x="16" y="59"/>
                    <a:pt x="16" y="59"/>
                    <a:pt x="16" y="59"/>
                  </a:cubicBezTo>
                  <a:cubicBezTo>
                    <a:pt x="21" y="72"/>
                    <a:pt x="37" y="79"/>
                    <a:pt x="50" y="73"/>
                  </a:cubicBezTo>
                  <a:cubicBezTo>
                    <a:pt x="64" y="68"/>
                    <a:pt x="70" y="52"/>
                    <a:pt x="65" y="39"/>
                  </a:cubicBezTo>
                  <a:cubicBezTo>
                    <a:pt x="49" y="0"/>
                    <a:pt x="49" y="0"/>
                    <a:pt x="49" y="0"/>
                  </a:cubicBezTo>
                  <a:lnTo>
                    <a:pt x="0" y="20"/>
                  </a:lnTo>
                  <a:close/>
                </a:path>
              </a:pathLst>
            </a:custGeom>
            <a:solidFill>
              <a:srgbClr val="FF787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27" name="iṩļíḓe">
              <a:extLst>
                <a:ext uri="{FF2B5EF4-FFF2-40B4-BE49-F238E27FC236}">
                  <a16:creationId xmlns:a16="http://schemas.microsoft.com/office/drawing/2014/main" id="{898C5C68-E1B5-4980-B269-99F6833E7DB8}"/>
                </a:ext>
              </a:extLst>
            </p:cNvPr>
            <p:cNvSpPr/>
            <p:nvPr userDrawn="1"/>
          </p:nvSpPr>
          <p:spPr bwMode="auto">
            <a:xfrm>
              <a:off x="6588125" y="2052638"/>
              <a:ext cx="69850" cy="130175"/>
            </a:xfrm>
            <a:custGeom>
              <a:avLst/>
              <a:gdLst>
                <a:gd name="T0" fmla="*/ 29 w 41"/>
                <a:gd name="T1" fmla="*/ 74 h 77"/>
                <a:gd name="T2" fmla="*/ 16 w 41"/>
                <a:gd name="T3" fmla="*/ 40 h 77"/>
                <a:gd name="T4" fmla="*/ 30 w 41"/>
                <a:gd name="T5" fmla="*/ 5 h 77"/>
                <a:gd name="T6" fmla="*/ 41 w 41"/>
                <a:gd name="T7" fmla="*/ 4 h 77"/>
                <a:gd name="T8" fmla="*/ 20 w 41"/>
                <a:gd name="T9" fmla="*/ 3 h 77"/>
                <a:gd name="T10" fmla="*/ 5 w 41"/>
                <a:gd name="T11" fmla="*/ 37 h 77"/>
                <a:gd name="T12" fmla="*/ 21 w 41"/>
                <a:gd name="T13" fmla="*/ 77 h 77"/>
                <a:gd name="T14" fmla="*/ 29 w 41"/>
                <a:gd name="T15" fmla="*/ 74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1" h="77">
                  <a:moveTo>
                    <a:pt x="29" y="74"/>
                  </a:moveTo>
                  <a:cubicBezTo>
                    <a:pt x="16" y="40"/>
                    <a:pt x="16" y="40"/>
                    <a:pt x="16" y="40"/>
                  </a:cubicBezTo>
                  <a:cubicBezTo>
                    <a:pt x="10" y="26"/>
                    <a:pt x="17" y="11"/>
                    <a:pt x="30" y="5"/>
                  </a:cubicBezTo>
                  <a:cubicBezTo>
                    <a:pt x="34" y="4"/>
                    <a:pt x="37" y="3"/>
                    <a:pt x="41" y="4"/>
                  </a:cubicBezTo>
                  <a:cubicBezTo>
                    <a:pt x="34" y="1"/>
                    <a:pt x="27" y="0"/>
                    <a:pt x="20" y="3"/>
                  </a:cubicBezTo>
                  <a:cubicBezTo>
                    <a:pt x="6" y="8"/>
                    <a:pt x="0" y="24"/>
                    <a:pt x="5" y="37"/>
                  </a:cubicBezTo>
                  <a:cubicBezTo>
                    <a:pt x="21" y="77"/>
                    <a:pt x="21" y="77"/>
                    <a:pt x="21" y="77"/>
                  </a:cubicBezTo>
                  <a:lnTo>
                    <a:pt x="29" y="74"/>
                  </a:lnTo>
                  <a:close/>
                </a:path>
              </a:pathLst>
            </a:custGeom>
            <a:solidFill>
              <a:srgbClr val="3D69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28" name="íṩḻiḍê">
              <a:extLst>
                <a:ext uri="{FF2B5EF4-FFF2-40B4-BE49-F238E27FC236}">
                  <a16:creationId xmlns:a16="http://schemas.microsoft.com/office/drawing/2014/main" id="{05BAAA39-8C89-4C4A-B4D0-324A2E382EAD}"/>
                </a:ext>
              </a:extLst>
            </p:cNvPr>
            <p:cNvSpPr/>
            <p:nvPr userDrawn="1"/>
          </p:nvSpPr>
          <p:spPr bwMode="auto">
            <a:xfrm>
              <a:off x="6623050" y="2178050"/>
              <a:ext cx="66675" cy="96838"/>
            </a:xfrm>
            <a:custGeom>
              <a:avLst/>
              <a:gdLst>
                <a:gd name="T0" fmla="*/ 39 w 39"/>
                <a:gd name="T1" fmla="*/ 58 h 58"/>
                <a:gd name="T2" fmla="*/ 27 w 39"/>
                <a:gd name="T3" fmla="*/ 44 h 58"/>
                <a:gd name="T4" fmla="*/ 8 w 39"/>
                <a:gd name="T5" fmla="*/ 0 h 58"/>
                <a:gd name="T6" fmla="*/ 0 w 39"/>
                <a:gd name="T7" fmla="*/ 3 h 58"/>
                <a:gd name="T8" fmla="*/ 16 w 39"/>
                <a:gd name="T9" fmla="*/ 42 h 58"/>
                <a:gd name="T10" fmla="*/ 39 w 39"/>
                <a:gd name="T11" fmla="*/ 58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9" h="58">
                  <a:moveTo>
                    <a:pt x="39" y="58"/>
                  </a:moveTo>
                  <a:cubicBezTo>
                    <a:pt x="34" y="55"/>
                    <a:pt x="29" y="51"/>
                    <a:pt x="27" y="4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16" y="42"/>
                    <a:pt x="16" y="42"/>
                    <a:pt x="16" y="42"/>
                  </a:cubicBezTo>
                  <a:cubicBezTo>
                    <a:pt x="20" y="52"/>
                    <a:pt x="29" y="58"/>
                    <a:pt x="39" y="58"/>
                  </a:cubicBezTo>
                  <a:close/>
                </a:path>
              </a:pathLst>
            </a:custGeom>
            <a:solidFill>
              <a:srgbClr val="F56E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29" name="ï$ľîḍe">
              <a:extLst>
                <a:ext uri="{FF2B5EF4-FFF2-40B4-BE49-F238E27FC236}">
                  <a16:creationId xmlns:a16="http://schemas.microsoft.com/office/drawing/2014/main" id="{6A468417-C12B-4DAF-AC12-403C215CCE2E}"/>
                </a:ext>
              </a:extLst>
            </p:cNvPr>
            <p:cNvSpPr/>
            <p:nvPr userDrawn="1"/>
          </p:nvSpPr>
          <p:spPr bwMode="auto">
            <a:xfrm>
              <a:off x="6815138" y="2024063"/>
              <a:ext cx="133350" cy="119063"/>
            </a:xfrm>
            <a:custGeom>
              <a:avLst/>
              <a:gdLst>
                <a:gd name="T0" fmla="*/ 79 w 79"/>
                <a:gd name="T1" fmla="*/ 23 h 71"/>
                <a:gd name="T2" fmla="*/ 40 w 79"/>
                <a:gd name="T3" fmla="*/ 6 h 71"/>
                <a:gd name="T4" fmla="*/ 5 w 79"/>
                <a:gd name="T5" fmla="*/ 19 h 71"/>
                <a:gd name="T6" fmla="*/ 19 w 79"/>
                <a:gd name="T7" fmla="*/ 54 h 71"/>
                <a:gd name="T8" fmla="*/ 58 w 79"/>
                <a:gd name="T9" fmla="*/ 71 h 71"/>
                <a:gd name="T10" fmla="*/ 79 w 79"/>
                <a:gd name="T11" fmla="*/ 23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9" h="71">
                  <a:moveTo>
                    <a:pt x="79" y="23"/>
                  </a:moveTo>
                  <a:cubicBezTo>
                    <a:pt x="40" y="6"/>
                    <a:pt x="40" y="6"/>
                    <a:pt x="40" y="6"/>
                  </a:cubicBezTo>
                  <a:cubicBezTo>
                    <a:pt x="27" y="0"/>
                    <a:pt x="11" y="6"/>
                    <a:pt x="5" y="19"/>
                  </a:cubicBezTo>
                  <a:cubicBezTo>
                    <a:pt x="0" y="33"/>
                    <a:pt x="6" y="48"/>
                    <a:pt x="19" y="54"/>
                  </a:cubicBezTo>
                  <a:cubicBezTo>
                    <a:pt x="58" y="71"/>
                    <a:pt x="58" y="71"/>
                    <a:pt x="58" y="71"/>
                  </a:cubicBezTo>
                  <a:lnTo>
                    <a:pt x="79" y="23"/>
                  </a:lnTo>
                  <a:close/>
                </a:path>
              </a:pathLst>
            </a:custGeom>
            <a:solidFill>
              <a:srgbClr val="4675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30" name="ïšḷïḋé">
              <a:extLst>
                <a:ext uri="{FF2B5EF4-FFF2-40B4-BE49-F238E27FC236}">
                  <a16:creationId xmlns:a16="http://schemas.microsoft.com/office/drawing/2014/main" id="{9F9E555A-2024-4FBC-B5FC-B41E25AFC771}"/>
                </a:ext>
              </a:extLst>
            </p:cNvPr>
            <p:cNvSpPr/>
            <p:nvPr userDrawn="1"/>
          </p:nvSpPr>
          <p:spPr bwMode="auto">
            <a:xfrm>
              <a:off x="6913563" y="2062163"/>
              <a:ext cx="133350" cy="120650"/>
            </a:xfrm>
            <a:custGeom>
              <a:avLst/>
              <a:gdLst>
                <a:gd name="T0" fmla="*/ 0 w 79"/>
                <a:gd name="T1" fmla="*/ 48 h 71"/>
                <a:gd name="T2" fmla="*/ 39 w 79"/>
                <a:gd name="T3" fmla="*/ 65 h 71"/>
                <a:gd name="T4" fmla="*/ 73 w 79"/>
                <a:gd name="T5" fmla="*/ 52 h 71"/>
                <a:gd name="T6" fmla="*/ 60 w 79"/>
                <a:gd name="T7" fmla="*/ 17 h 71"/>
                <a:gd name="T8" fmla="*/ 21 w 79"/>
                <a:gd name="T9" fmla="*/ 0 h 71"/>
                <a:gd name="T10" fmla="*/ 0 w 79"/>
                <a:gd name="T11" fmla="*/ 48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9" h="71">
                  <a:moveTo>
                    <a:pt x="0" y="48"/>
                  </a:moveTo>
                  <a:cubicBezTo>
                    <a:pt x="39" y="65"/>
                    <a:pt x="39" y="65"/>
                    <a:pt x="39" y="65"/>
                  </a:cubicBezTo>
                  <a:cubicBezTo>
                    <a:pt x="52" y="71"/>
                    <a:pt x="67" y="65"/>
                    <a:pt x="73" y="52"/>
                  </a:cubicBezTo>
                  <a:cubicBezTo>
                    <a:pt x="79" y="39"/>
                    <a:pt x="73" y="23"/>
                    <a:pt x="60" y="17"/>
                  </a:cubicBezTo>
                  <a:cubicBezTo>
                    <a:pt x="21" y="0"/>
                    <a:pt x="21" y="0"/>
                    <a:pt x="21" y="0"/>
                  </a:cubicBezTo>
                  <a:lnTo>
                    <a:pt x="0" y="48"/>
                  </a:lnTo>
                  <a:close/>
                </a:path>
              </a:pathLst>
            </a:custGeom>
            <a:solidFill>
              <a:srgbClr val="FF787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31" name="îṣḻíḋe">
              <a:extLst>
                <a:ext uri="{FF2B5EF4-FFF2-40B4-BE49-F238E27FC236}">
                  <a16:creationId xmlns:a16="http://schemas.microsoft.com/office/drawing/2014/main" id="{D13C4C36-32B4-49D0-AF17-83D74B8375BD}"/>
                </a:ext>
              </a:extLst>
            </p:cNvPr>
            <p:cNvSpPr/>
            <p:nvPr userDrawn="1"/>
          </p:nvSpPr>
          <p:spPr bwMode="auto">
            <a:xfrm>
              <a:off x="6815138" y="2032000"/>
              <a:ext cx="104775" cy="111125"/>
            </a:xfrm>
            <a:custGeom>
              <a:avLst/>
              <a:gdLst>
                <a:gd name="T0" fmla="*/ 62 w 62"/>
                <a:gd name="T1" fmla="*/ 58 h 66"/>
                <a:gd name="T2" fmla="*/ 28 w 62"/>
                <a:gd name="T3" fmla="*/ 44 h 66"/>
                <a:gd name="T4" fmla="*/ 15 w 62"/>
                <a:gd name="T5" fmla="*/ 9 h 66"/>
                <a:gd name="T6" fmla="*/ 21 w 62"/>
                <a:gd name="T7" fmla="*/ 0 h 66"/>
                <a:gd name="T8" fmla="*/ 5 w 62"/>
                <a:gd name="T9" fmla="*/ 14 h 66"/>
                <a:gd name="T10" fmla="*/ 19 w 62"/>
                <a:gd name="T11" fmla="*/ 49 h 66"/>
                <a:gd name="T12" fmla="*/ 58 w 62"/>
                <a:gd name="T13" fmla="*/ 66 h 66"/>
                <a:gd name="T14" fmla="*/ 62 w 62"/>
                <a:gd name="T15" fmla="*/ 5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2" h="66">
                  <a:moveTo>
                    <a:pt x="62" y="58"/>
                  </a:moveTo>
                  <a:cubicBezTo>
                    <a:pt x="28" y="44"/>
                    <a:pt x="28" y="44"/>
                    <a:pt x="28" y="44"/>
                  </a:cubicBezTo>
                  <a:cubicBezTo>
                    <a:pt x="15" y="38"/>
                    <a:pt x="9" y="22"/>
                    <a:pt x="15" y="9"/>
                  </a:cubicBezTo>
                  <a:cubicBezTo>
                    <a:pt x="16" y="6"/>
                    <a:pt x="18" y="3"/>
                    <a:pt x="21" y="0"/>
                  </a:cubicBezTo>
                  <a:cubicBezTo>
                    <a:pt x="14" y="2"/>
                    <a:pt x="9" y="7"/>
                    <a:pt x="5" y="14"/>
                  </a:cubicBezTo>
                  <a:cubicBezTo>
                    <a:pt x="0" y="28"/>
                    <a:pt x="6" y="43"/>
                    <a:pt x="19" y="49"/>
                  </a:cubicBezTo>
                  <a:cubicBezTo>
                    <a:pt x="58" y="66"/>
                    <a:pt x="58" y="66"/>
                    <a:pt x="58" y="66"/>
                  </a:cubicBezTo>
                  <a:lnTo>
                    <a:pt x="62" y="58"/>
                  </a:lnTo>
                  <a:close/>
                </a:path>
              </a:pathLst>
            </a:custGeom>
            <a:solidFill>
              <a:srgbClr val="3D69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32" name="îṧľídê">
              <a:extLst>
                <a:ext uri="{FF2B5EF4-FFF2-40B4-BE49-F238E27FC236}">
                  <a16:creationId xmlns:a16="http://schemas.microsoft.com/office/drawing/2014/main" id="{506E184A-5BD6-42C7-9A9D-4F42CB82498F}"/>
                </a:ext>
              </a:extLst>
            </p:cNvPr>
            <p:cNvSpPr/>
            <p:nvPr userDrawn="1"/>
          </p:nvSpPr>
          <p:spPr bwMode="auto">
            <a:xfrm>
              <a:off x="6913563" y="2130425"/>
              <a:ext cx="112713" cy="50800"/>
            </a:xfrm>
            <a:custGeom>
              <a:avLst/>
              <a:gdLst>
                <a:gd name="T0" fmla="*/ 67 w 67"/>
                <a:gd name="T1" fmla="*/ 21 h 30"/>
                <a:gd name="T2" fmla="*/ 48 w 67"/>
                <a:gd name="T3" fmla="*/ 20 h 30"/>
                <a:gd name="T4" fmla="*/ 4 w 67"/>
                <a:gd name="T5" fmla="*/ 0 h 30"/>
                <a:gd name="T6" fmla="*/ 0 w 67"/>
                <a:gd name="T7" fmla="*/ 8 h 30"/>
                <a:gd name="T8" fmla="*/ 39 w 67"/>
                <a:gd name="T9" fmla="*/ 25 h 30"/>
                <a:gd name="T10" fmla="*/ 67 w 67"/>
                <a:gd name="T11" fmla="*/ 21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7" h="30">
                  <a:moveTo>
                    <a:pt x="67" y="21"/>
                  </a:moveTo>
                  <a:cubicBezTo>
                    <a:pt x="61" y="23"/>
                    <a:pt x="54" y="23"/>
                    <a:pt x="48" y="2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39" y="25"/>
                    <a:pt x="39" y="25"/>
                    <a:pt x="39" y="25"/>
                  </a:cubicBezTo>
                  <a:cubicBezTo>
                    <a:pt x="48" y="30"/>
                    <a:pt x="59" y="27"/>
                    <a:pt x="67" y="21"/>
                  </a:cubicBezTo>
                  <a:close/>
                </a:path>
              </a:pathLst>
            </a:custGeom>
            <a:solidFill>
              <a:srgbClr val="F56E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33" name="íṧ1idé">
              <a:extLst>
                <a:ext uri="{FF2B5EF4-FFF2-40B4-BE49-F238E27FC236}">
                  <a16:creationId xmlns:a16="http://schemas.microsoft.com/office/drawing/2014/main" id="{439B2C91-FDF0-4DA5-B33C-98CB35DF5A06}"/>
                </a:ext>
              </a:extLst>
            </p:cNvPr>
            <p:cNvSpPr/>
            <p:nvPr userDrawn="1"/>
          </p:nvSpPr>
          <p:spPr bwMode="auto">
            <a:xfrm>
              <a:off x="4627563" y="3271838"/>
              <a:ext cx="152400" cy="150813"/>
            </a:xfrm>
            <a:custGeom>
              <a:avLst/>
              <a:gdLst>
                <a:gd name="T0" fmla="*/ 78 w 90"/>
                <a:gd name="T1" fmla="*/ 66 h 90"/>
                <a:gd name="T2" fmla="*/ 23 w 90"/>
                <a:gd name="T3" fmla="*/ 78 h 90"/>
                <a:gd name="T4" fmla="*/ 12 w 90"/>
                <a:gd name="T5" fmla="*/ 23 h 90"/>
                <a:gd name="T6" fmla="*/ 66 w 90"/>
                <a:gd name="T7" fmla="*/ 12 h 90"/>
                <a:gd name="T8" fmla="*/ 78 w 90"/>
                <a:gd name="T9" fmla="*/ 66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0" h="90">
                  <a:moveTo>
                    <a:pt x="78" y="66"/>
                  </a:moveTo>
                  <a:cubicBezTo>
                    <a:pt x="66" y="85"/>
                    <a:pt x="41" y="90"/>
                    <a:pt x="23" y="78"/>
                  </a:cubicBezTo>
                  <a:cubicBezTo>
                    <a:pt x="5" y="66"/>
                    <a:pt x="0" y="41"/>
                    <a:pt x="12" y="23"/>
                  </a:cubicBezTo>
                  <a:cubicBezTo>
                    <a:pt x="24" y="5"/>
                    <a:pt x="48" y="0"/>
                    <a:pt x="66" y="12"/>
                  </a:cubicBezTo>
                  <a:cubicBezTo>
                    <a:pt x="85" y="24"/>
                    <a:pt x="90" y="48"/>
                    <a:pt x="78" y="66"/>
                  </a:cubicBezTo>
                  <a:close/>
                </a:path>
              </a:pathLst>
            </a:custGeom>
            <a:solidFill>
              <a:srgbClr val="FBFCF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34" name="ïšļïde">
              <a:extLst>
                <a:ext uri="{FF2B5EF4-FFF2-40B4-BE49-F238E27FC236}">
                  <a16:creationId xmlns:a16="http://schemas.microsoft.com/office/drawing/2014/main" id="{22706913-3D2D-4E32-B8E7-F042BC21C42C}"/>
                </a:ext>
              </a:extLst>
            </p:cNvPr>
            <p:cNvSpPr/>
            <p:nvPr userDrawn="1"/>
          </p:nvSpPr>
          <p:spPr bwMode="auto">
            <a:xfrm>
              <a:off x="4633913" y="3335338"/>
              <a:ext cx="136525" cy="87313"/>
            </a:xfrm>
            <a:custGeom>
              <a:avLst/>
              <a:gdLst>
                <a:gd name="T0" fmla="*/ 81 w 81"/>
                <a:gd name="T1" fmla="*/ 5 h 52"/>
                <a:gd name="T2" fmla="*/ 75 w 81"/>
                <a:gd name="T3" fmla="*/ 20 h 52"/>
                <a:gd name="T4" fmla="*/ 21 w 81"/>
                <a:gd name="T5" fmla="*/ 31 h 52"/>
                <a:gd name="T6" fmla="*/ 3 w 81"/>
                <a:gd name="T7" fmla="*/ 0 h 52"/>
                <a:gd name="T8" fmla="*/ 20 w 81"/>
                <a:gd name="T9" fmla="*/ 40 h 52"/>
                <a:gd name="T10" fmla="*/ 75 w 81"/>
                <a:gd name="T11" fmla="*/ 28 h 52"/>
                <a:gd name="T12" fmla="*/ 81 w 81"/>
                <a:gd name="T13" fmla="*/ 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1" h="52">
                  <a:moveTo>
                    <a:pt x="81" y="5"/>
                  </a:moveTo>
                  <a:cubicBezTo>
                    <a:pt x="80" y="10"/>
                    <a:pt x="78" y="15"/>
                    <a:pt x="75" y="20"/>
                  </a:cubicBezTo>
                  <a:cubicBezTo>
                    <a:pt x="63" y="38"/>
                    <a:pt x="39" y="43"/>
                    <a:pt x="21" y="31"/>
                  </a:cubicBezTo>
                  <a:cubicBezTo>
                    <a:pt x="10" y="24"/>
                    <a:pt x="4" y="12"/>
                    <a:pt x="3" y="0"/>
                  </a:cubicBezTo>
                  <a:cubicBezTo>
                    <a:pt x="0" y="15"/>
                    <a:pt x="7" y="31"/>
                    <a:pt x="20" y="40"/>
                  </a:cubicBezTo>
                  <a:cubicBezTo>
                    <a:pt x="38" y="52"/>
                    <a:pt x="63" y="47"/>
                    <a:pt x="75" y="28"/>
                  </a:cubicBezTo>
                  <a:cubicBezTo>
                    <a:pt x="79" y="21"/>
                    <a:pt x="81" y="13"/>
                    <a:pt x="81" y="5"/>
                  </a:cubicBezTo>
                  <a:close/>
                </a:path>
              </a:pathLst>
            </a:custGeom>
            <a:solidFill>
              <a:srgbClr val="F0F2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35" name="îṩlîdè">
              <a:extLst>
                <a:ext uri="{FF2B5EF4-FFF2-40B4-BE49-F238E27FC236}">
                  <a16:creationId xmlns:a16="http://schemas.microsoft.com/office/drawing/2014/main" id="{1547A5A9-3E17-4277-A263-9548A5920E84}"/>
                </a:ext>
              </a:extLst>
            </p:cNvPr>
            <p:cNvSpPr/>
            <p:nvPr userDrawn="1"/>
          </p:nvSpPr>
          <p:spPr bwMode="auto">
            <a:xfrm>
              <a:off x="4645025" y="3309938"/>
              <a:ext cx="114300" cy="79375"/>
            </a:xfrm>
            <a:custGeom>
              <a:avLst/>
              <a:gdLst>
                <a:gd name="T0" fmla="*/ 1 w 68"/>
                <a:gd name="T1" fmla="*/ 2 h 47"/>
                <a:gd name="T2" fmla="*/ 0 w 68"/>
                <a:gd name="T3" fmla="*/ 5 h 47"/>
                <a:gd name="T4" fmla="*/ 65 w 68"/>
                <a:gd name="T5" fmla="*/ 47 h 47"/>
                <a:gd name="T6" fmla="*/ 67 w 68"/>
                <a:gd name="T7" fmla="*/ 45 h 47"/>
                <a:gd name="T8" fmla="*/ 68 w 68"/>
                <a:gd name="T9" fmla="*/ 43 h 47"/>
                <a:gd name="T10" fmla="*/ 2 w 68"/>
                <a:gd name="T11" fmla="*/ 0 h 47"/>
                <a:gd name="T12" fmla="*/ 1 w 68"/>
                <a:gd name="T13" fmla="*/ 2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8" h="47">
                  <a:moveTo>
                    <a:pt x="1" y="2"/>
                  </a:moveTo>
                  <a:cubicBezTo>
                    <a:pt x="1" y="3"/>
                    <a:pt x="0" y="4"/>
                    <a:pt x="0" y="5"/>
                  </a:cubicBezTo>
                  <a:cubicBezTo>
                    <a:pt x="65" y="47"/>
                    <a:pt x="65" y="47"/>
                    <a:pt x="65" y="47"/>
                  </a:cubicBezTo>
                  <a:cubicBezTo>
                    <a:pt x="65" y="47"/>
                    <a:pt x="66" y="46"/>
                    <a:pt x="67" y="45"/>
                  </a:cubicBezTo>
                  <a:cubicBezTo>
                    <a:pt x="67" y="44"/>
                    <a:pt x="67" y="44"/>
                    <a:pt x="68" y="43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1"/>
                    <a:pt x="2" y="1"/>
                    <a:pt x="1" y="2"/>
                  </a:cubicBezTo>
                  <a:close/>
                </a:path>
              </a:pathLst>
            </a:custGeom>
            <a:solidFill>
              <a:srgbClr val="F0F2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36" name="ïślïḓe">
              <a:extLst>
                <a:ext uri="{FF2B5EF4-FFF2-40B4-BE49-F238E27FC236}">
                  <a16:creationId xmlns:a16="http://schemas.microsoft.com/office/drawing/2014/main" id="{321F4537-47B3-436D-9CCB-A00119007A19}"/>
                </a:ext>
              </a:extLst>
            </p:cNvPr>
            <p:cNvSpPr/>
            <p:nvPr userDrawn="1"/>
          </p:nvSpPr>
          <p:spPr bwMode="auto">
            <a:xfrm>
              <a:off x="4646613" y="3306763"/>
              <a:ext cx="114300" cy="79375"/>
            </a:xfrm>
            <a:custGeom>
              <a:avLst/>
              <a:gdLst>
                <a:gd name="T0" fmla="*/ 1 w 68"/>
                <a:gd name="T1" fmla="*/ 2 h 47"/>
                <a:gd name="T2" fmla="*/ 0 w 68"/>
                <a:gd name="T3" fmla="*/ 4 h 47"/>
                <a:gd name="T4" fmla="*/ 65 w 68"/>
                <a:gd name="T5" fmla="*/ 47 h 47"/>
                <a:gd name="T6" fmla="*/ 67 w 68"/>
                <a:gd name="T7" fmla="*/ 45 h 47"/>
                <a:gd name="T8" fmla="*/ 68 w 68"/>
                <a:gd name="T9" fmla="*/ 43 h 47"/>
                <a:gd name="T10" fmla="*/ 3 w 68"/>
                <a:gd name="T11" fmla="*/ 0 h 47"/>
                <a:gd name="T12" fmla="*/ 1 w 68"/>
                <a:gd name="T13" fmla="*/ 2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8" h="47">
                  <a:moveTo>
                    <a:pt x="1" y="2"/>
                  </a:moveTo>
                  <a:cubicBezTo>
                    <a:pt x="1" y="3"/>
                    <a:pt x="0" y="4"/>
                    <a:pt x="0" y="4"/>
                  </a:cubicBezTo>
                  <a:cubicBezTo>
                    <a:pt x="65" y="47"/>
                    <a:pt x="65" y="47"/>
                    <a:pt x="65" y="47"/>
                  </a:cubicBezTo>
                  <a:cubicBezTo>
                    <a:pt x="66" y="47"/>
                    <a:pt x="66" y="46"/>
                    <a:pt x="67" y="45"/>
                  </a:cubicBezTo>
                  <a:cubicBezTo>
                    <a:pt x="67" y="45"/>
                    <a:pt x="68" y="44"/>
                    <a:pt x="68" y="43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1"/>
                    <a:pt x="1" y="2"/>
                    <a:pt x="1" y="2"/>
                  </a:cubicBezTo>
                  <a:close/>
                </a:path>
              </a:pathLst>
            </a:custGeom>
            <a:solidFill>
              <a:srgbClr val="D2D3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37" name="işlïḑé">
              <a:extLst>
                <a:ext uri="{FF2B5EF4-FFF2-40B4-BE49-F238E27FC236}">
                  <a16:creationId xmlns:a16="http://schemas.microsoft.com/office/drawing/2014/main" id="{65049688-9FCF-4551-B42C-2BA3ABDBF1C8}"/>
                </a:ext>
              </a:extLst>
            </p:cNvPr>
            <p:cNvSpPr/>
            <p:nvPr userDrawn="1"/>
          </p:nvSpPr>
          <p:spPr bwMode="auto">
            <a:xfrm>
              <a:off x="5732463" y="3875088"/>
              <a:ext cx="147638" cy="147638"/>
            </a:xfrm>
            <a:custGeom>
              <a:avLst/>
              <a:gdLst>
                <a:gd name="T0" fmla="*/ 81 w 87"/>
                <a:gd name="T1" fmla="*/ 33 h 87"/>
                <a:gd name="T2" fmla="*/ 54 w 87"/>
                <a:gd name="T3" fmla="*/ 81 h 87"/>
                <a:gd name="T4" fmla="*/ 6 w 87"/>
                <a:gd name="T5" fmla="*/ 54 h 87"/>
                <a:gd name="T6" fmla="*/ 33 w 87"/>
                <a:gd name="T7" fmla="*/ 6 h 87"/>
                <a:gd name="T8" fmla="*/ 81 w 87"/>
                <a:gd name="T9" fmla="*/ 33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7" h="87">
                  <a:moveTo>
                    <a:pt x="81" y="33"/>
                  </a:moveTo>
                  <a:cubicBezTo>
                    <a:pt x="87" y="54"/>
                    <a:pt x="75" y="76"/>
                    <a:pt x="54" y="81"/>
                  </a:cubicBezTo>
                  <a:cubicBezTo>
                    <a:pt x="33" y="87"/>
                    <a:pt x="12" y="75"/>
                    <a:pt x="6" y="54"/>
                  </a:cubicBezTo>
                  <a:cubicBezTo>
                    <a:pt x="0" y="33"/>
                    <a:pt x="12" y="12"/>
                    <a:pt x="33" y="6"/>
                  </a:cubicBezTo>
                  <a:cubicBezTo>
                    <a:pt x="54" y="0"/>
                    <a:pt x="76" y="12"/>
                    <a:pt x="81" y="33"/>
                  </a:cubicBezTo>
                  <a:close/>
                </a:path>
              </a:pathLst>
            </a:custGeom>
            <a:solidFill>
              <a:srgbClr val="FBFCF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38" name="íṥ1îḍé">
              <a:extLst>
                <a:ext uri="{FF2B5EF4-FFF2-40B4-BE49-F238E27FC236}">
                  <a16:creationId xmlns:a16="http://schemas.microsoft.com/office/drawing/2014/main" id="{5FFFA9D0-87C6-4393-A1F2-7A8FE6B972DB}"/>
                </a:ext>
              </a:extLst>
            </p:cNvPr>
            <p:cNvSpPr/>
            <p:nvPr userDrawn="1"/>
          </p:nvSpPr>
          <p:spPr bwMode="auto">
            <a:xfrm>
              <a:off x="5754688" y="3897313"/>
              <a:ext cx="125413" cy="123825"/>
            </a:xfrm>
            <a:custGeom>
              <a:avLst/>
              <a:gdLst>
                <a:gd name="T0" fmla="*/ 55 w 74"/>
                <a:gd name="T1" fmla="*/ 0 h 73"/>
                <a:gd name="T2" fmla="*/ 62 w 74"/>
                <a:gd name="T3" fmla="*/ 14 h 73"/>
                <a:gd name="T4" fmla="*/ 35 w 74"/>
                <a:gd name="T5" fmla="*/ 62 h 73"/>
                <a:gd name="T6" fmla="*/ 0 w 74"/>
                <a:gd name="T7" fmla="*/ 55 h 73"/>
                <a:gd name="T8" fmla="*/ 41 w 74"/>
                <a:gd name="T9" fmla="*/ 68 h 73"/>
                <a:gd name="T10" fmla="*/ 68 w 74"/>
                <a:gd name="T11" fmla="*/ 20 h 73"/>
                <a:gd name="T12" fmla="*/ 55 w 74"/>
                <a:gd name="T13" fmla="*/ 0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4" h="73">
                  <a:moveTo>
                    <a:pt x="55" y="0"/>
                  </a:moveTo>
                  <a:cubicBezTo>
                    <a:pt x="58" y="4"/>
                    <a:pt x="61" y="9"/>
                    <a:pt x="62" y="14"/>
                  </a:cubicBezTo>
                  <a:cubicBezTo>
                    <a:pt x="68" y="35"/>
                    <a:pt x="56" y="56"/>
                    <a:pt x="35" y="62"/>
                  </a:cubicBezTo>
                  <a:cubicBezTo>
                    <a:pt x="22" y="66"/>
                    <a:pt x="9" y="63"/>
                    <a:pt x="0" y="55"/>
                  </a:cubicBezTo>
                  <a:cubicBezTo>
                    <a:pt x="9" y="67"/>
                    <a:pt x="26" y="73"/>
                    <a:pt x="41" y="68"/>
                  </a:cubicBezTo>
                  <a:cubicBezTo>
                    <a:pt x="62" y="63"/>
                    <a:pt x="74" y="41"/>
                    <a:pt x="68" y="20"/>
                  </a:cubicBezTo>
                  <a:cubicBezTo>
                    <a:pt x="66" y="12"/>
                    <a:pt x="61" y="5"/>
                    <a:pt x="55" y="0"/>
                  </a:cubicBezTo>
                  <a:close/>
                </a:path>
              </a:pathLst>
            </a:custGeom>
            <a:solidFill>
              <a:srgbClr val="F0F2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39" name="iṥḷiďè">
              <a:extLst>
                <a:ext uri="{FF2B5EF4-FFF2-40B4-BE49-F238E27FC236}">
                  <a16:creationId xmlns:a16="http://schemas.microsoft.com/office/drawing/2014/main" id="{994AE7EA-7D32-4A60-B1A8-71E82FE014F2}"/>
                </a:ext>
              </a:extLst>
            </p:cNvPr>
            <p:cNvSpPr/>
            <p:nvPr userDrawn="1"/>
          </p:nvSpPr>
          <p:spPr bwMode="auto">
            <a:xfrm>
              <a:off x="5741988" y="3930650"/>
              <a:ext cx="128588" cy="44450"/>
            </a:xfrm>
            <a:custGeom>
              <a:avLst/>
              <a:gdLst>
                <a:gd name="T0" fmla="*/ 0 w 76"/>
                <a:gd name="T1" fmla="*/ 23 h 26"/>
                <a:gd name="T2" fmla="*/ 2 w 76"/>
                <a:gd name="T3" fmla="*/ 26 h 26"/>
                <a:gd name="T4" fmla="*/ 76 w 76"/>
                <a:gd name="T5" fmla="*/ 5 h 26"/>
                <a:gd name="T6" fmla="*/ 76 w 76"/>
                <a:gd name="T7" fmla="*/ 1 h 26"/>
                <a:gd name="T8" fmla="*/ 75 w 76"/>
                <a:gd name="T9" fmla="*/ 0 h 26"/>
                <a:gd name="T10" fmla="*/ 0 w 76"/>
                <a:gd name="T11" fmla="*/ 21 h 26"/>
                <a:gd name="T12" fmla="*/ 0 w 76"/>
                <a:gd name="T13" fmla="*/ 2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6" h="26">
                  <a:moveTo>
                    <a:pt x="0" y="23"/>
                  </a:moveTo>
                  <a:cubicBezTo>
                    <a:pt x="1" y="24"/>
                    <a:pt x="1" y="25"/>
                    <a:pt x="2" y="26"/>
                  </a:cubicBezTo>
                  <a:cubicBezTo>
                    <a:pt x="76" y="5"/>
                    <a:pt x="76" y="5"/>
                    <a:pt x="76" y="5"/>
                  </a:cubicBezTo>
                  <a:cubicBezTo>
                    <a:pt x="76" y="4"/>
                    <a:pt x="76" y="3"/>
                    <a:pt x="76" y="1"/>
                  </a:cubicBezTo>
                  <a:cubicBezTo>
                    <a:pt x="76" y="1"/>
                    <a:pt x="75" y="0"/>
                    <a:pt x="75" y="0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2"/>
                    <a:pt x="0" y="22"/>
                    <a:pt x="0" y="23"/>
                  </a:cubicBezTo>
                  <a:close/>
                </a:path>
              </a:pathLst>
            </a:custGeom>
            <a:solidFill>
              <a:srgbClr val="F0F2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40" name="iṣľîḓé">
              <a:extLst>
                <a:ext uri="{FF2B5EF4-FFF2-40B4-BE49-F238E27FC236}">
                  <a16:creationId xmlns:a16="http://schemas.microsoft.com/office/drawing/2014/main" id="{A5A82886-C868-401B-B939-32ED35AC8CC3}"/>
                </a:ext>
              </a:extLst>
            </p:cNvPr>
            <p:cNvSpPr/>
            <p:nvPr userDrawn="1"/>
          </p:nvSpPr>
          <p:spPr bwMode="auto">
            <a:xfrm>
              <a:off x="5740400" y="3925888"/>
              <a:ext cx="130175" cy="46038"/>
            </a:xfrm>
            <a:custGeom>
              <a:avLst/>
              <a:gdLst>
                <a:gd name="T0" fmla="*/ 1 w 77"/>
                <a:gd name="T1" fmla="*/ 24 h 27"/>
                <a:gd name="T2" fmla="*/ 2 w 77"/>
                <a:gd name="T3" fmla="*/ 27 h 27"/>
                <a:gd name="T4" fmla="*/ 77 w 77"/>
                <a:gd name="T5" fmla="*/ 5 h 27"/>
                <a:gd name="T6" fmla="*/ 76 w 77"/>
                <a:gd name="T7" fmla="*/ 3 h 27"/>
                <a:gd name="T8" fmla="*/ 76 w 77"/>
                <a:gd name="T9" fmla="*/ 0 h 27"/>
                <a:gd name="T10" fmla="*/ 0 w 77"/>
                <a:gd name="T11" fmla="*/ 22 h 27"/>
                <a:gd name="T12" fmla="*/ 1 w 77"/>
                <a:gd name="T13" fmla="*/ 24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7" h="27">
                  <a:moveTo>
                    <a:pt x="1" y="24"/>
                  </a:moveTo>
                  <a:cubicBezTo>
                    <a:pt x="1" y="25"/>
                    <a:pt x="1" y="26"/>
                    <a:pt x="2" y="27"/>
                  </a:cubicBezTo>
                  <a:cubicBezTo>
                    <a:pt x="77" y="5"/>
                    <a:pt x="77" y="5"/>
                    <a:pt x="77" y="5"/>
                  </a:cubicBezTo>
                  <a:cubicBezTo>
                    <a:pt x="77" y="5"/>
                    <a:pt x="77" y="4"/>
                    <a:pt x="76" y="3"/>
                  </a:cubicBezTo>
                  <a:cubicBezTo>
                    <a:pt x="76" y="2"/>
                    <a:pt x="76" y="1"/>
                    <a:pt x="76" y="0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3"/>
                    <a:pt x="1" y="23"/>
                    <a:pt x="1" y="24"/>
                  </a:cubicBezTo>
                  <a:close/>
                </a:path>
              </a:pathLst>
            </a:custGeom>
            <a:solidFill>
              <a:srgbClr val="D2D3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41" name="ïšḷiḑê">
              <a:extLst>
                <a:ext uri="{FF2B5EF4-FFF2-40B4-BE49-F238E27FC236}">
                  <a16:creationId xmlns:a16="http://schemas.microsoft.com/office/drawing/2014/main" id="{91DEFEC0-3217-4A10-9603-F70766BFD1D6}"/>
                </a:ext>
              </a:extLst>
            </p:cNvPr>
            <p:cNvSpPr/>
            <p:nvPr userDrawn="1"/>
          </p:nvSpPr>
          <p:spPr bwMode="auto">
            <a:xfrm>
              <a:off x="5484813" y="4006850"/>
              <a:ext cx="152400" cy="152400"/>
            </a:xfrm>
            <a:custGeom>
              <a:avLst/>
              <a:gdLst>
                <a:gd name="T0" fmla="*/ 80 w 90"/>
                <a:gd name="T1" fmla="*/ 62 h 90"/>
                <a:gd name="T2" fmla="*/ 28 w 90"/>
                <a:gd name="T3" fmla="*/ 81 h 90"/>
                <a:gd name="T4" fmla="*/ 10 w 90"/>
                <a:gd name="T5" fmla="*/ 28 h 90"/>
                <a:gd name="T6" fmla="*/ 62 w 90"/>
                <a:gd name="T7" fmla="*/ 10 h 90"/>
                <a:gd name="T8" fmla="*/ 80 w 90"/>
                <a:gd name="T9" fmla="*/ 62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0" h="90">
                  <a:moveTo>
                    <a:pt x="80" y="62"/>
                  </a:moveTo>
                  <a:cubicBezTo>
                    <a:pt x="71" y="82"/>
                    <a:pt x="47" y="90"/>
                    <a:pt x="28" y="81"/>
                  </a:cubicBezTo>
                  <a:cubicBezTo>
                    <a:pt x="8" y="71"/>
                    <a:pt x="0" y="47"/>
                    <a:pt x="10" y="28"/>
                  </a:cubicBezTo>
                  <a:cubicBezTo>
                    <a:pt x="19" y="9"/>
                    <a:pt x="43" y="0"/>
                    <a:pt x="62" y="10"/>
                  </a:cubicBezTo>
                  <a:cubicBezTo>
                    <a:pt x="82" y="19"/>
                    <a:pt x="90" y="43"/>
                    <a:pt x="80" y="62"/>
                  </a:cubicBezTo>
                  <a:close/>
                </a:path>
              </a:pathLst>
            </a:custGeom>
            <a:solidFill>
              <a:srgbClr val="FBFCF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42" name="îśḻïde">
              <a:extLst>
                <a:ext uri="{FF2B5EF4-FFF2-40B4-BE49-F238E27FC236}">
                  <a16:creationId xmlns:a16="http://schemas.microsoft.com/office/drawing/2014/main" id="{E626F77C-9FF4-4E75-98FC-B6C4AEE1EADB}"/>
                </a:ext>
              </a:extLst>
            </p:cNvPr>
            <p:cNvSpPr/>
            <p:nvPr userDrawn="1"/>
          </p:nvSpPr>
          <p:spPr bwMode="auto">
            <a:xfrm>
              <a:off x="5494338" y="4073525"/>
              <a:ext cx="134938" cy="85725"/>
            </a:xfrm>
            <a:custGeom>
              <a:avLst/>
              <a:gdLst>
                <a:gd name="T0" fmla="*/ 79 w 80"/>
                <a:gd name="T1" fmla="*/ 0 h 51"/>
                <a:gd name="T2" fmla="*/ 75 w 80"/>
                <a:gd name="T3" fmla="*/ 15 h 51"/>
                <a:gd name="T4" fmla="*/ 22 w 80"/>
                <a:gd name="T5" fmla="*/ 33 h 51"/>
                <a:gd name="T6" fmla="*/ 1 w 80"/>
                <a:gd name="T7" fmla="*/ 4 h 51"/>
                <a:gd name="T8" fmla="*/ 23 w 80"/>
                <a:gd name="T9" fmla="*/ 42 h 51"/>
                <a:gd name="T10" fmla="*/ 75 w 80"/>
                <a:gd name="T11" fmla="*/ 23 h 51"/>
                <a:gd name="T12" fmla="*/ 79 w 80"/>
                <a:gd name="T13" fmla="*/ 0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0" h="51">
                  <a:moveTo>
                    <a:pt x="79" y="0"/>
                  </a:moveTo>
                  <a:cubicBezTo>
                    <a:pt x="78" y="5"/>
                    <a:pt x="77" y="10"/>
                    <a:pt x="75" y="15"/>
                  </a:cubicBezTo>
                  <a:cubicBezTo>
                    <a:pt x="65" y="34"/>
                    <a:pt x="42" y="42"/>
                    <a:pt x="22" y="33"/>
                  </a:cubicBezTo>
                  <a:cubicBezTo>
                    <a:pt x="10" y="27"/>
                    <a:pt x="3" y="16"/>
                    <a:pt x="1" y="4"/>
                  </a:cubicBezTo>
                  <a:cubicBezTo>
                    <a:pt x="0" y="19"/>
                    <a:pt x="8" y="34"/>
                    <a:pt x="23" y="42"/>
                  </a:cubicBezTo>
                  <a:cubicBezTo>
                    <a:pt x="42" y="51"/>
                    <a:pt x="66" y="43"/>
                    <a:pt x="75" y="23"/>
                  </a:cubicBezTo>
                  <a:cubicBezTo>
                    <a:pt x="79" y="16"/>
                    <a:pt x="80" y="8"/>
                    <a:pt x="79" y="0"/>
                  </a:cubicBezTo>
                  <a:close/>
                </a:path>
              </a:pathLst>
            </a:custGeom>
            <a:solidFill>
              <a:srgbClr val="F0F2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43" name="îsľïḑé">
              <a:extLst>
                <a:ext uri="{FF2B5EF4-FFF2-40B4-BE49-F238E27FC236}">
                  <a16:creationId xmlns:a16="http://schemas.microsoft.com/office/drawing/2014/main" id="{1FE6AD4D-7E37-4235-BF4D-F85A59C5885D}"/>
                </a:ext>
              </a:extLst>
            </p:cNvPr>
            <p:cNvSpPr/>
            <p:nvPr userDrawn="1"/>
          </p:nvSpPr>
          <p:spPr bwMode="auto">
            <a:xfrm>
              <a:off x="5499100" y="4054475"/>
              <a:ext cx="122238" cy="66675"/>
            </a:xfrm>
            <a:custGeom>
              <a:avLst/>
              <a:gdLst>
                <a:gd name="T0" fmla="*/ 1 w 72"/>
                <a:gd name="T1" fmla="*/ 1 h 39"/>
                <a:gd name="T2" fmla="*/ 0 w 72"/>
                <a:gd name="T3" fmla="*/ 5 h 39"/>
                <a:gd name="T4" fmla="*/ 70 w 72"/>
                <a:gd name="T5" fmla="*/ 39 h 39"/>
                <a:gd name="T6" fmla="*/ 71 w 72"/>
                <a:gd name="T7" fmla="*/ 36 h 39"/>
                <a:gd name="T8" fmla="*/ 72 w 72"/>
                <a:gd name="T9" fmla="*/ 34 h 39"/>
                <a:gd name="T10" fmla="*/ 2 w 72"/>
                <a:gd name="T11" fmla="*/ 0 h 39"/>
                <a:gd name="T12" fmla="*/ 1 w 72"/>
                <a:gd name="T13" fmla="*/ 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2" h="39">
                  <a:moveTo>
                    <a:pt x="1" y="1"/>
                  </a:moveTo>
                  <a:cubicBezTo>
                    <a:pt x="0" y="2"/>
                    <a:pt x="0" y="4"/>
                    <a:pt x="0" y="5"/>
                  </a:cubicBezTo>
                  <a:cubicBezTo>
                    <a:pt x="70" y="39"/>
                    <a:pt x="70" y="39"/>
                    <a:pt x="70" y="39"/>
                  </a:cubicBezTo>
                  <a:cubicBezTo>
                    <a:pt x="70" y="38"/>
                    <a:pt x="71" y="37"/>
                    <a:pt x="71" y="36"/>
                  </a:cubicBezTo>
                  <a:cubicBezTo>
                    <a:pt x="72" y="35"/>
                    <a:pt x="72" y="35"/>
                    <a:pt x="72" y="34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1" y="1"/>
                    <a:pt x="1" y="1"/>
                  </a:cubicBezTo>
                  <a:close/>
                </a:path>
              </a:pathLst>
            </a:custGeom>
            <a:solidFill>
              <a:srgbClr val="F0F2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44" name="iş1îḑé">
              <a:extLst>
                <a:ext uri="{FF2B5EF4-FFF2-40B4-BE49-F238E27FC236}">
                  <a16:creationId xmlns:a16="http://schemas.microsoft.com/office/drawing/2014/main" id="{2764FA7E-6B0E-4AFD-A071-A56E9BF8A8F0}"/>
                </a:ext>
              </a:extLst>
            </p:cNvPr>
            <p:cNvSpPr/>
            <p:nvPr userDrawn="1"/>
          </p:nvSpPr>
          <p:spPr bwMode="auto">
            <a:xfrm>
              <a:off x="5499100" y="4051300"/>
              <a:ext cx="123825" cy="65088"/>
            </a:xfrm>
            <a:custGeom>
              <a:avLst/>
              <a:gdLst>
                <a:gd name="T0" fmla="*/ 2 w 73"/>
                <a:gd name="T1" fmla="*/ 2 h 39"/>
                <a:gd name="T2" fmla="*/ 0 w 73"/>
                <a:gd name="T3" fmla="*/ 4 h 39"/>
                <a:gd name="T4" fmla="*/ 71 w 73"/>
                <a:gd name="T5" fmla="*/ 39 h 39"/>
                <a:gd name="T6" fmla="*/ 72 w 73"/>
                <a:gd name="T7" fmla="*/ 36 h 39"/>
                <a:gd name="T8" fmla="*/ 73 w 73"/>
                <a:gd name="T9" fmla="*/ 34 h 39"/>
                <a:gd name="T10" fmla="*/ 3 w 73"/>
                <a:gd name="T11" fmla="*/ 0 h 39"/>
                <a:gd name="T12" fmla="*/ 2 w 73"/>
                <a:gd name="T13" fmla="*/ 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3" h="39">
                  <a:moveTo>
                    <a:pt x="2" y="2"/>
                  </a:moveTo>
                  <a:cubicBezTo>
                    <a:pt x="1" y="3"/>
                    <a:pt x="1" y="4"/>
                    <a:pt x="0" y="4"/>
                  </a:cubicBezTo>
                  <a:cubicBezTo>
                    <a:pt x="71" y="39"/>
                    <a:pt x="71" y="39"/>
                    <a:pt x="71" y="39"/>
                  </a:cubicBezTo>
                  <a:cubicBezTo>
                    <a:pt x="71" y="38"/>
                    <a:pt x="72" y="37"/>
                    <a:pt x="72" y="36"/>
                  </a:cubicBezTo>
                  <a:cubicBezTo>
                    <a:pt x="72" y="36"/>
                    <a:pt x="73" y="35"/>
                    <a:pt x="73" y="34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0"/>
                    <a:pt x="2" y="1"/>
                    <a:pt x="2" y="2"/>
                  </a:cubicBezTo>
                  <a:close/>
                </a:path>
              </a:pathLst>
            </a:custGeom>
            <a:solidFill>
              <a:srgbClr val="D2D3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45" name="îŝľïḓe">
              <a:extLst>
                <a:ext uri="{FF2B5EF4-FFF2-40B4-BE49-F238E27FC236}">
                  <a16:creationId xmlns:a16="http://schemas.microsoft.com/office/drawing/2014/main" id="{5A11267E-F072-4568-97DB-2C87BD6BF1D3}"/>
                </a:ext>
              </a:extLst>
            </p:cNvPr>
            <p:cNvSpPr/>
            <p:nvPr userDrawn="1"/>
          </p:nvSpPr>
          <p:spPr bwMode="auto">
            <a:xfrm>
              <a:off x="4040188" y="1531938"/>
              <a:ext cx="563563" cy="809625"/>
            </a:xfrm>
            <a:custGeom>
              <a:avLst/>
              <a:gdLst>
                <a:gd name="T0" fmla="*/ 26 w 334"/>
                <a:gd name="T1" fmla="*/ 479 h 479"/>
                <a:gd name="T2" fmla="*/ 0 w 334"/>
                <a:gd name="T3" fmla="*/ 468 h 479"/>
                <a:gd name="T4" fmla="*/ 158 w 334"/>
                <a:gd name="T5" fmla="*/ 89 h 479"/>
                <a:gd name="T6" fmla="*/ 262 w 334"/>
                <a:gd name="T7" fmla="*/ 3 h 479"/>
                <a:gd name="T8" fmla="*/ 263 w 334"/>
                <a:gd name="T9" fmla="*/ 3 h 479"/>
                <a:gd name="T10" fmla="*/ 334 w 334"/>
                <a:gd name="T11" fmla="*/ 20 h 479"/>
                <a:gd name="T12" fmla="*/ 328 w 334"/>
                <a:gd name="T13" fmla="*/ 47 h 479"/>
                <a:gd name="T14" fmla="*/ 258 w 334"/>
                <a:gd name="T15" fmla="*/ 30 h 479"/>
                <a:gd name="T16" fmla="*/ 185 w 334"/>
                <a:gd name="T17" fmla="*/ 97 h 479"/>
                <a:gd name="T18" fmla="*/ 26 w 334"/>
                <a:gd name="T19" fmla="*/ 479 h 4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34" h="479">
                  <a:moveTo>
                    <a:pt x="26" y="479"/>
                  </a:moveTo>
                  <a:cubicBezTo>
                    <a:pt x="0" y="468"/>
                    <a:pt x="0" y="468"/>
                    <a:pt x="0" y="468"/>
                  </a:cubicBezTo>
                  <a:cubicBezTo>
                    <a:pt x="52" y="350"/>
                    <a:pt x="140" y="145"/>
                    <a:pt x="158" y="89"/>
                  </a:cubicBezTo>
                  <a:cubicBezTo>
                    <a:pt x="181" y="14"/>
                    <a:pt x="236" y="0"/>
                    <a:pt x="262" y="3"/>
                  </a:cubicBezTo>
                  <a:cubicBezTo>
                    <a:pt x="263" y="3"/>
                    <a:pt x="263" y="3"/>
                    <a:pt x="263" y="3"/>
                  </a:cubicBezTo>
                  <a:cubicBezTo>
                    <a:pt x="334" y="20"/>
                    <a:pt x="334" y="20"/>
                    <a:pt x="334" y="20"/>
                  </a:cubicBezTo>
                  <a:cubicBezTo>
                    <a:pt x="328" y="47"/>
                    <a:pt x="328" y="47"/>
                    <a:pt x="328" y="47"/>
                  </a:cubicBezTo>
                  <a:cubicBezTo>
                    <a:pt x="258" y="30"/>
                    <a:pt x="258" y="30"/>
                    <a:pt x="258" y="30"/>
                  </a:cubicBezTo>
                  <a:cubicBezTo>
                    <a:pt x="252" y="30"/>
                    <a:pt x="205" y="30"/>
                    <a:pt x="185" y="97"/>
                  </a:cubicBezTo>
                  <a:cubicBezTo>
                    <a:pt x="168" y="151"/>
                    <a:pt x="89" y="335"/>
                    <a:pt x="26" y="479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46" name="ïṩlíďé">
              <a:extLst>
                <a:ext uri="{FF2B5EF4-FFF2-40B4-BE49-F238E27FC236}">
                  <a16:creationId xmlns:a16="http://schemas.microsoft.com/office/drawing/2014/main" id="{590F7555-3BD3-4985-A9E8-7F0855911841}"/>
                </a:ext>
              </a:extLst>
            </p:cNvPr>
            <p:cNvSpPr/>
            <p:nvPr userDrawn="1"/>
          </p:nvSpPr>
          <p:spPr bwMode="auto">
            <a:xfrm>
              <a:off x="4932363" y="1703388"/>
              <a:ext cx="311150" cy="1023938"/>
            </a:xfrm>
            <a:custGeom>
              <a:avLst/>
              <a:gdLst>
                <a:gd name="T0" fmla="*/ 27 w 184"/>
                <a:gd name="T1" fmla="*/ 607 h 607"/>
                <a:gd name="T2" fmla="*/ 0 w 184"/>
                <a:gd name="T3" fmla="*/ 600 h 607"/>
                <a:gd name="T4" fmla="*/ 128 w 184"/>
                <a:gd name="T5" fmla="*/ 155 h 607"/>
                <a:gd name="T6" fmla="*/ 115 w 184"/>
                <a:gd name="T7" fmla="*/ 57 h 607"/>
                <a:gd name="T8" fmla="*/ 50 w 184"/>
                <a:gd name="T9" fmla="*/ 25 h 607"/>
                <a:gd name="T10" fmla="*/ 63 w 184"/>
                <a:gd name="T11" fmla="*/ 0 h 607"/>
                <a:gd name="T12" fmla="*/ 130 w 184"/>
                <a:gd name="T13" fmla="*/ 33 h 607"/>
                <a:gd name="T14" fmla="*/ 154 w 184"/>
                <a:gd name="T15" fmla="*/ 166 h 607"/>
                <a:gd name="T16" fmla="*/ 27 w 184"/>
                <a:gd name="T17" fmla="*/ 607 h 6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4" h="607">
                  <a:moveTo>
                    <a:pt x="27" y="607"/>
                  </a:moveTo>
                  <a:cubicBezTo>
                    <a:pt x="0" y="600"/>
                    <a:pt x="0" y="600"/>
                    <a:pt x="0" y="600"/>
                  </a:cubicBezTo>
                  <a:cubicBezTo>
                    <a:pt x="37" y="459"/>
                    <a:pt x="103" y="214"/>
                    <a:pt x="128" y="155"/>
                  </a:cubicBezTo>
                  <a:cubicBezTo>
                    <a:pt x="155" y="90"/>
                    <a:pt x="120" y="61"/>
                    <a:pt x="115" y="57"/>
                  </a:cubicBezTo>
                  <a:cubicBezTo>
                    <a:pt x="50" y="25"/>
                    <a:pt x="50" y="25"/>
                    <a:pt x="50" y="25"/>
                  </a:cubicBezTo>
                  <a:cubicBezTo>
                    <a:pt x="63" y="0"/>
                    <a:pt x="63" y="0"/>
                    <a:pt x="63" y="0"/>
                  </a:cubicBezTo>
                  <a:cubicBezTo>
                    <a:pt x="130" y="33"/>
                    <a:pt x="130" y="33"/>
                    <a:pt x="130" y="33"/>
                  </a:cubicBezTo>
                  <a:cubicBezTo>
                    <a:pt x="151" y="48"/>
                    <a:pt x="184" y="94"/>
                    <a:pt x="154" y="166"/>
                  </a:cubicBezTo>
                  <a:cubicBezTo>
                    <a:pt x="128" y="226"/>
                    <a:pt x="57" y="495"/>
                    <a:pt x="27" y="607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47" name="ïś1íde">
              <a:extLst>
                <a:ext uri="{FF2B5EF4-FFF2-40B4-BE49-F238E27FC236}">
                  <a16:creationId xmlns:a16="http://schemas.microsoft.com/office/drawing/2014/main" id="{221B9D34-8700-4E20-B81A-F24F6E6C4EB5}"/>
                </a:ext>
              </a:extLst>
            </p:cNvPr>
            <p:cNvSpPr/>
            <p:nvPr userDrawn="1"/>
          </p:nvSpPr>
          <p:spPr bwMode="auto">
            <a:xfrm>
              <a:off x="4932363" y="2581275"/>
              <a:ext cx="82550" cy="146050"/>
            </a:xfrm>
            <a:custGeom>
              <a:avLst/>
              <a:gdLst>
                <a:gd name="T0" fmla="*/ 21 w 49"/>
                <a:gd name="T1" fmla="*/ 0 h 87"/>
                <a:gd name="T2" fmla="*/ 0 w 49"/>
                <a:gd name="T3" fmla="*/ 80 h 87"/>
                <a:gd name="T4" fmla="*/ 27 w 49"/>
                <a:gd name="T5" fmla="*/ 87 h 87"/>
                <a:gd name="T6" fmla="*/ 49 w 49"/>
                <a:gd name="T7" fmla="*/ 6 h 87"/>
                <a:gd name="T8" fmla="*/ 21 w 49"/>
                <a:gd name="T9" fmla="*/ 0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87">
                  <a:moveTo>
                    <a:pt x="21" y="0"/>
                  </a:moveTo>
                  <a:cubicBezTo>
                    <a:pt x="14" y="29"/>
                    <a:pt x="7" y="56"/>
                    <a:pt x="0" y="80"/>
                  </a:cubicBezTo>
                  <a:cubicBezTo>
                    <a:pt x="27" y="87"/>
                    <a:pt x="27" y="87"/>
                    <a:pt x="27" y="87"/>
                  </a:cubicBezTo>
                  <a:cubicBezTo>
                    <a:pt x="33" y="65"/>
                    <a:pt x="41" y="37"/>
                    <a:pt x="49" y="6"/>
                  </a:cubicBezTo>
                  <a:lnTo>
                    <a:pt x="21" y="0"/>
                  </a:lnTo>
                  <a:close/>
                </a:path>
              </a:pathLst>
            </a:custGeom>
            <a:solidFill>
              <a:srgbClr val="C1C0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48" name="îśļîḑé">
              <a:extLst>
                <a:ext uri="{FF2B5EF4-FFF2-40B4-BE49-F238E27FC236}">
                  <a16:creationId xmlns:a16="http://schemas.microsoft.com/office/drawing/2014/main" id="{DF2395D0-8348-4ABA-BC9D-D0A39F8D7EAC}"/>
                </a:ext>
              </a:extLst>
            </p:cNvPr>
            <p:cNvSpPr/>
            <p:nvPr userDrawn="1"/>
          </p:nvSpPr>
          <p:spPr bwMode="auto">
            <a:xfrm>
              <a:off x="4040188" y="2236788"/>
              <a:ext cx="82550" cy="104775"/>
            </a:xfrm>
            <a:custGeom>
              <a:avLst/>
              <a:gdLst>
                <a:gd name="T0" fmla="*/ 22 w 49"/>
                <a:gd name="T1" fmla="*/ 0 h 62"/>
                <a:gd name="T2" fmla="*/ 0 w 49"/>
                <a:gd name="T3" fmla="*/ 51 h 62"/>
                <a:gd name="T4" fmla="*/ 26 w 49"/>
                <a:gd name="T5" fmla="*/ 62 h 62"/>
                <a:gd name="T6" fmla="*/ 49 w 49"/>
                <a:gd name="T7" fmla="*/ 10 h 62"/>
                <a:gd name="T8" fmla="*/ 22 w 49"/>
                <a:gd name="T9" fmla="*/ 0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62">
                  <a:moveTo>
                    <a:pt x="22" y="0"/>
                  </a:moveTo>
                  <a:cubicBezTo>
                    <a:pt x="15" y="18"/>
                    <a:pt x="7" y="35"/>
                    <a:pt x="0" y="51"/>
                  </a:cubicBezTo>
                  <a:cubicBezTo>
                    <a:pt x="26" y="62"/>
                    <a:pt x="26" y="62"/>
                    <a:pt x="26" y="62"/>
                  </a:cubicBezTo>
                  <a:cubicBezTo>
                    <a:pt x="33" y="45"/>
                    <a:pt x="41" y="27"/>
                    <a:pt x="49" y="10"/>
                  </a:cubicBezTo>
                  <a:lnTo>
                    <a:pt x="22" y="0"/>
                  </a:lnTo>
                  <a:close/>
                </a:path>
              </a:pathLst>
            </a:custGeom>
            <a:solidFill>
              <a:srgbClr val="C1C0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49" name="iśḻïḑê">
              <a:extLst>
                <a:ext uri="{FF2B5EF4-FFF2-40B4-BE49-F238E27FC236}">
                  <a16:creationId xmlns:a16="http://schemas.microsoft.com/office/drawing/2014/main" id="{A1BCA932-0517-4084-803F-B25A81396668}"/>
                </a:ext>
              </a:extLst>
            </p:cNvPr>
            <p:cNvSpPr/>
            <p:nvPr userDrawn="1"/>
          </p:nvSpPr>
          <p:spPr bwMode="auto">
            <a:xfrm>
              <a:off x="3963988" y="2914650"/>
              <a:ext cx="1757363" cy="1773238"/>
            </a:xfrm>
            <a:custGeom>
              <a:avLst/>
              <a:gdLst>
                <a:gd name="T0" fmla="*/ 423 w 1039"/>
                <a:gd name="T1" fmla="*/ 1048 h 1050"/>
                <a:gd name="T2" fmla="*/ 255 w 1039"/>
                <a:gd name="T3" fmla="*/ 1017 h 1050"/>
                <a:gd name="T4" fmla="*/ 60 w 1039"/>
                <a:gd name="T5" fmla="*/ 835 h 1050"/>
                <a:gd name="T6" fmla="*/ 73 w 1039"/>
                <a:gd name="T7" fmla="*/ 383 h 1050"/>
                <a:gd name="T8" fmla="*/ 209 w 1039"/>
                <a:gd name="T9" fmla="*/ 0 h 1050"/>
                <a:gd name="T10" fmla="*/ 253 w 1039"/>
                <a:gd name="T11" fmla="*/ 20 h 1050"/>
                <a:gd name="T12" fmla="*/ 119 w 1039"/>
                <a:gd name="T13" fmla="*/ 395 h 1050"/>
                <a:gd name="T14" fmla="*/ 104 w 1039"/>
                <a:gd name="T15" fmla="*/ 816 h 1050"/>
                <a:gd name="T16" fmla="*/ 273 w 1039"/>
                <a:gd name="T17" fmla="*/ 972 h 1050"/>
                <a:gd name="T18" fmla="*/ 638 w 1039"/>
                <a:gd name="T19" fmla="*/ 958 h 1050"/>
                <a:gd name="T20" fmla="*/ 642 w 1039"/>
                <a:gd name="T21" fmla="*/ 956 h 1050"/>
                <a:gd name="T22" fmla="*/ 1039 w 1039"/>
                <a:gd name="T23" fmla="*/ 917 h 1050"/>
                <a:gd name="T24" fmla="*/ 1020 w 1039"/>
                <a:gd name="T25" fmla="*/ 961 h 1050"/>
                <a:gd name="T26" fmla="*/ 662 w 1039"/>
                <a:gd name="T27" fmla="*/ 1000 h 1050"/>
                <a:gd name="T28" fmla="*/ 658 w 1039"/>
                <a:gd name="T29" fmla="*/ 1002 h 1050"/>
                <a:gd name="T30" fmla="*/ 423 w 1039"/>
                <a:gd name="T31" fmla="*/ 1048 h 10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039" h="1050">
                  <a:moveTo>
                    <a:pt x="423" y="1048"/>
                  </a:moveTo>
                  <a:cubicBezTo>
                    <a:pt x="364" y="1047"/>
                    <a:pt x="307" y="1036"/>
                    <a:pt x="255" y="1017"/>
                  </a:cubicBezTo>
                  <a:cubicBezTo>
                    <a:pt x="163" y="981"/>
                    <a:pt x="95" y="918"/>
                    <a:pt x="60" y="835"/>
                  </a:cubicBezTo>
                  <a:cubicBezTo>
                    <a:pt x="0" y="695"/>
                    <a:pt x="35" y="528"/>
                    <a:pt x="73" y="383"/>
                  </a:cubicBezTo>
                  <a:cubicBezTo>
                    <a:pt x="106" y="253"/>
                    <a:pt x="152" y="124"/>
                    <a:pt x="209" y="0"/>
                  </a:cubicBezTo>
                  <a:cubicBezTo>
                    <a:pt x="253" y="20"/>
                    <a:pt x="253" y="20"/>
                    <a:pt x="253" y="20"/>
                  </a:cubicBezTo>
                  <a:cubicBezTo>
                    <a:pt x="197" y="141"/>
                    <a:pt x="152" y="267"/>
                    <a:pt x="119" y="395"/>
                  </a:cubicBezTo>
                  <a:cubicBezTo>
                    <a:pt x="84" y="532"/>
                    <a:pt x="50" y="690"/>
                    <a:pt x="104" y="816"/>
                  </a:cubicBezTo>
                  <a:cubicBezTo>
                    <a:pt x="134" y="887"/>
                    <a:pt x="193" y="941"/>
                    <a:pt x="273" y="972"/>
                  </a:cubicBezTo>
                  <a:cubicBezTo>
                    <a:pt x="384" y="1015"/>
                    <a:pt x="527" y="1009"/>
                    <a:pt x="638" y="958"/>
                  </a:cubicBezTo>
                  <a:cubicBezTo>
                    <a:pt x="642" y="956"/>
                    <a:pt x="642" y="956"/>
                    <a:pt x="642" y="956"/>
                  </a:cubicBezTo>
                  <a:cubicBezTo>
                    <a:pt x="779" y="893"/>
                    <a:pt x="878" y="847"/>
                    <a:pt x="1039" y="917"/>
                  </a:cubicBezTo>
                  <a:cubicBezTo>
                    <a:pt x="1020" y="961"/>
                    <a:pt x="1020" y="961"/>
                    <a:pt x="1020" y="961"/>
                  </a:cubicBezTo>
                  <a:cubicBezTo>
                    <a:pt x="879" y="900"/>
                    <a:pt x="797" y="938"/>
                    <a:pt x="662" y="1000"/>
                  </a:cubicBezTo>
                  <a:cubicBezTo>
                    <a:pt x="658" y="1002"/>
                    <a:pt x="658" y="1002"/>
                    <a:pt x="658" y="1002"/>
                  </a:cubicBezTo>
                  <a:cubicBezTo>
                    <a:pt x="587" y="1035"/>
                    <a:pt x="504" y="1050"/>
                    <a:pt x="423" y="1048"/>
                  </a:cubicBezTo>
                  <a:close/>
                </a:path>
              </a:pathLst>
            </a:custGeom>
            <a:solidFill>
              <a:srgbClr val="2854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50" name="î$liḍê">
              <a:extLst>
                <a:ext uri="{FF2B5EF4-FFF2-40B4-BE49-F238E27FC236}">
                  <a16:creationId xmlns:a16="http://schemas.microsoft.com/office/drawing/2014/main" id="{000F15FE-8F98-4619-A090-30305155869C}"/>
                </a:ext>
              </a:extLst>
            </p:cNvPr>
            <p:cNvSpPr/>
            <p:nvPr userDrawn="1"/>
          </p:nvSpPr>
          <p:spPr bwMode="auto">
            <a:xfrm>
              <a:off x="4025900" y="2970213"/>
              <a:ext cx="1625600" cy="1658938"/>
            </a:xfrm>
            <a:custGeom>
              <a:avLst/>
              <a:gdLst>
                <a:gd name="T0" fmla="*/ 956 w 961"/>
                <a:gd name="T1" fmla="*/ 882 h 982"/>
                <a:gd name="T2" fmla="*/ 961 w 961"/>
                <a:gd name="T3" fmla="*/ 868 h 982"/>
                <a:gd name="T4" fmla="*/ 605 w 961"/>
                <a:gd name="T5" fmla="*/ 923 h 982"/>
                <a:gd name="T6" fmla="*/ 601 w 961"/>
                <a:gd name="T7" fmla="*/ 925 h 982"/>
                <a:gd name="T8" fmla="*/ 236 w 961"/>
                <a:gd name="T9" fmla="*/ 939 h 982"/>
                <a:gd name="T10" fmla="*/ 67 w 961"/>
                <a:gd name="T11" fmla="*/ 783 h 982"/>
                <a:gd name="T12" fmla="*/ 82 w 961"/>
                <a:gd name="T13" fmla="*/ 362 h 982"/>
                <a:gd name="T14" fmla="*/ 208 w 961"/>
                <a:gd name="T15" fmla="*/ 4 h 982"/>
                <a:gd name="T16" fmla="*/ 198 w 961"/>
                <a:gd name="T17" fmla="*/ 0 h 982"/>
                <a:gd name="T18" fmla="*/ 70 w 961"/>
                <a:gd name="T19" fmla="*/ 366 h 982"/>
                <a:gd name="T20" fmla="*/ 57 w 961"/>
                <a:gd name="T21" fmla="*/ 783 h 982"/>
                <a:gd name="T22" fmla="*/ 233 w 961"/>
                <a:gd name="T23" fmla="*/ 946 h 982"/>
                <a:gd name="T24" fmla="*/ 385 w 961"/>
                <a:gd name="T25" fmla="*/ 975 h 982"/>
                <a:gd name="T26" fmla="*/ 603 w 961"/>
                <a:gd name="T27" fmla="*/ 933 h 982"/>
                <a:gd name="T28" fmla="*/ 606 w 961"/>
                <a:gd name="T29" fmla="*/ 931 h 982"/>
                <a:gd name="T30" fmla="*/ 956 w 961"/>
                <a:gd name="T31" fmla="*/ 882 h 9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61" h="982">
                  <a:moveTo>
                    <a:pt x="956" y="882"/>
                  </a:moveTo>
                  <a:cubicBezTo>
                    <a:pt x="961" y="868"/>
                    <a:pt x="961" y="868"/>
                    <a:pt x="961" y="868"/>
                  </a:cubicBezTo>
                  <a:cubicBezTo>
                    <a:pt x="823" y="822"/>
                    <a:pt x="730" y="866"/>
                    <a:pt x="605" y="923"/>
                  </a:cubicBezTo>
                  <a:cubicBezTo>
                    <a:pt x="601" y="925"/>
                    <a:pt x="601" y="925"/>
                    <a:pt x="601" y="925"/>
                  </a:cubicBezTo>
                  <a:cubicBezTo>
                    <a:pt x="490" y="976"/>
                    <a:pt x="347" y="982"/>
                    <a:pt x="236" y="939"/>
                  </a:cubicBezTo>
                  <a:cubicBezTo>
                    <a:pt x="156" y="908"/>
                    <a:pt x="97" y="854"/>
                    <a:pt x="67" y="783"/>
                  </a:cubicBezTo>
                  <a:cubicBezTo>
                    <a:pt x="13" y="657"/>
                    <a:pt x="47" y="499"/>
                    <a:pt x="82" y="362"/>
                  </a:cubicBezTo>
                  <a:cubicBezTo>
                    <a:pt x="114" y="240"/>
                    <a:pt x="156" y="120"/>
                    <a:pt x="208" y="4"/>
                  </a:cubicBezTo>
                  <a:cubicBezTo>
                    <a:pt x="198" y="0"/>
                    <a:pt x="198" y="0"/>
                    <a:pt x="198" y="0"/>
                  </a:cubicBezTo>
                  <a:cubicBezTo>
                    <a:pt x="145" y="116"/>
                    <a:pt x="102" y="244"/>
                    <a:pt x="70" y="366"/>
                  </a:cubicBezTo>
                  <a:cubicBezTo>
                    <a:pt x="35" y="503"/>
                    <a:pt x="0" y="651"/>
                    <a:pt x="57" y="783"/>
                  </a:cubicBezTo>
                  <a:cubicBezTo>
                    <a:pt x="90" y="861"/>
                    <a:pt x="146" y="913"/>
                    <a:pt x="233" y="946"/>
                  </a:cubicBezTo>
                  <a:cubicBezTo>
                    <a:pt x="282" y="965"/>
                    <a:pt x="330" y="974"/>
                    <a:pt x="385" y="975"/>
                  </a:cubicBezTo>
                  <a:cubicBezTo>
                    <a:pt x="462" y="977"/>
                    <a:pt x="536" y="964"/>
                    <a:pt x="603" y="933"/>
                  </a:cubicBezTo>
                  <a:cubicBezTo>
                    <a:pt x="606" y="931"/>
                    <a:pt x="606" y="931"/>
                    <a:pt x="606" y="931"/>
                  </a:cubicBezTo>
                  <a:cubicBezTo>
                    <a:pt x="734" y="873"/>
                    <a:pt x="821" y="831"/>
                    <a:pt x="956" y="882"/>
                  </a:cubicBezTo>
                  <a:close/>
                </a:path>
              </a:pathLst>
            </a:custGeom>
            <a:solidFill>
              <a:srgbClr val="306F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51" name="íšľîdé">
              <a:extLst>
                <a:ext uri="{FF2B5EF4-FFF2-40B4-BE49-F238E27FC236}">
                  <a16:creationId xmlns:a16="http://schemas.microsoft.com/office/drawing/2014/main" id="{3A807803-1310-4687-83E8-28BAF8752CAE}"/>
                </a:ext>
              </a:extLst>
            </p:cNvPr>
            <p:cNvSpPr/>
            <p:nvPr userDrawn="1"/>
          </p:nvSpPr>
          <p:spPr bwMode="auto">
            <a:xfrm>
              <a:off x="4530725" y="1516063"/>
              <a:ext cx="157163" cy="139700"/>
            </a:xfrm>
            <a:custGeom>
              <a:avLst/>
              <a:gdLst>
                <a:gd name="T0" fmla="*/ 67 w 93"/>
                <a:gd name="T1" fmla="*/ 11 h 83"/>
                <a:gd name="T2" fmla="*/ 45 w 93"/>
                <a:gd name="T3" fmla="*/ 5 h 83"/>
                <a:gd name="T4" fmla="*/ 7 w 93"/>
                <a:gd name="T5" fmla="*/ 26 h 83"/>
                <a:gd name="T6" fmla="*/ 5 w 93"/>
                <a:gd name="T7" fmla="*/ 34 h 83"/>
                <a:gd name="T8" fmla="*/ 26 w 93"/>
                <a:gd name="T9" fmla="*/ 72 h 83"/>
                <a:gd name="T10" fmla="*/ 49 w 93"/>
                <a:gd name="T11" fmla="*/ 78 h 83"/>
                <a:gd name="T12" fmla="*/ 87 w 93"/>
                <a:gd name="T13" fmla="*/ 57 h 83"/>
                <a:gd name="T14" fmla="*/ 89 w 93"/>
                <a:gd name="T15" fmla="*/ 49 h 83"/>
                <a:gd name="T16" fmla="*/ 67 w 93"/>
                <a:gd name="T17" fmla="*/ 11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3" h="83">
                  <a:moveTo>
                    <a:pt x="67" y="11"/>
                  </a:moveTo>
                  <a:cubicBezTo>
                    <a:pt x="45" y="5"/>
                    <a:pt x="45" y="5"/>
                    <a:pt x="45" y="5"/>
                  </a:cubicBezTo>
                  <a:cubicBezTo>
                    <a:pt x="28" y="0"/>
                    <a:pt x="11" y="10"/>
                    <a:pt x="7" y="26"/>
                  </a:cubicBezTo>
                  <a:cubicBezTo>
                    <a:pt x="5" y="34"/>
                    <a:pt x="5" y="34"/>
                    <a:pt x="5" y="34"/>
                  </a:cubicBezTo>
                  <a:cubicBezTo>
                    <a:pt x="0" y="51"/>
                    <a:pt x="10" y="68"/>
                    <a:pt x="26" y="72"/>
                  </a:cubicBezTo>
                  <a:cubicBezTo>
                    <a:pt x="49" y="78"/>
                    <a:pt x="49" y="78"/>
                    <a:pt x="49" y="78"/>
                  </a:cubicBezTo>
                  <a:cubicBezTo>
                    <a:pt x="65" y="83"/>
                    <a:pt x="82" y="73"/>
                    <a:pt x="87" y="57"/>
                  </a:cubicBezTo>
                  <a:cubicBezTo>
                    <a:pt x="89" y="49"/>
                    <a:pt x="89" y="49"/>
                    <a:pt x="89" y="49"/>
                  </a:cubicBezTo>
                  <a:cubicBezTo>
                    <a:pt x="93" y="32"/>
                    <a:pt x="84" y="15"/>
                    <a:pt x="67" y="11"/>
                  </a:cubicBezTo>
                  <a:close/>
                </a:path>
              </a:pathLst>
            </a:custGeom>
            <a:solidFill>
              <a:srgbClr val="4675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52" name="ïSlîďè">
              <a:extLst>
                <a:ext uri="{FF2B5EF4-FFF2-40B4-BE49-F238E27FC236}">
                  <a16:creationId xmlns:a16="http://schemas.microsoft.com/office/drawing/2014/main" id="{82240F0A-B088-41F2-AD58-BC7CEF1992D9}"/>
                </a:ext>
              </a:extLst>
            </p:cNvPr>
            <p:cNvSpPr/>
            <p:nvPr userDrawn="1"/>
          </p:nvSpPr>
          <p:spPr bwMode="auto">
            <a:xfrm>
              <a:off x="4941888" y="1639888"/>
              <a:ext cx="161925" cy="149225"/>
            </a:xfrm>
            <a:custGeom>
              <a:avLst/>
              <a:gdLst>
                <a:gd name="T0" fmla="*/ 52 w 95"/>
                <a:gd name="T1" fmla="*/ 7 h 88"/>
                <a:gd name="T2" fmla="*/ 73 w 95"/>
                <a:gd name="T3" fmla="*/ 17 h 88"/>
                <a:gd name="T4" fmla="*/ 88 w 95"/>
                <a:gd name="T5" fmla="*/ 58 h 88"/>
                <a:gd name="T6" fmla="*/ 84 w 95"/>
                <a:gd name="T7" fmla="*/ 66 h 88"/>
                <a:gd name="T8" fmla="*/ 43 w 95"/>
                <a:gd name="T9" fmla="*/ 81 h 88"/>
                <a:gd name="T10" fmla="*/ 22 w 95"/>
                <a:gd name="T11" fmla="*/ 71 h 88"/>
                <a:gd name="T12" fmla="*/ 7 w 95"/>
                <a:gd name="T13" fmla="*/ 30 h 88"/>
                <a:gd name="T14" fmla="*/ 11 w 95"/>
                <a:gd name="T15" fmla="*/ 22 h 88"/>
                <a:gd name="T16" fmla="*/ 52 w 95"/>
                <a:gd name="T17" fmla="*/ 7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5" h="88">
                  <a:moveTo>
                    <a:pt x="52" y="7"/>
                  </a:moveTo>
                  <a:cubicBezTo>
                    <a:pt x="73" y="17"/>
                    <a:pt x="73" y="17"/>
                    <a:pt x="73" y="17"/>
                  </a:cubicBezTo>
                  <a:cubicBezTo>
                    <a:pt x="88" y="24"/>
                    <a:pt x="95" y="43"/>
                    <a:pt x="88" y="58"/>
                  </a:cubicBezTo>
                  <a:cubicBezTo>
                    <a:pt x="84" y="66"/>
                    <a:pt x="84" y="66"/>
                    <a:pt x="84" y="66"/>
                  </a:cubicBezTo>
                  <a:cubicBezTo>
                    <a:pt x="77" y="81"/>
                    <a:pt x="59" y="88"/>
                    <a:pt x="43" y="81"/>
                  </a:cubicBezTo>
                  <a:cubicBezTo>
                    <a:pt x="22" y="71"/>
                    <a:pt x="22" y="71"/>
                    <a:pt x="22" y="71"/>
                  </a:cubicBezTo>
                  <a:cubicBezTo>
                    <a:pt x="7" y="64"/>
                    <a:pt x="0" y="45"/>
                    <a:pt x="7" y="30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18" y="7"/>
                    <a:pt x="36" y="0"/>
                    <a:pt x="52" y="7"/>
                  </a:cubicBezTo>
                  <a:close/>
                </a:path>
              </a:pathLst>
            </a:custGeom>
            <a:solidFill>
              <a:srgbClr val="4675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53" name="îšḻiďè">
              <a:extLst>
                <a:ext uri="{FF2B5EF4-FFF2-40B4-BE49-F238E27FC236}">
                  <a16:creationId xmlns:a16="http://schemas.microsoft.com/office/drawing/2014/main" id="{E693D64C-E851-40DC-9156-B7B750692B5A}"/>
                </a:ext>
              </a:extLst>
            </p:cNvPr>
            <p:cNvSpPr/>
            <p:nvPr userDrawn="1"/>
          </p:nvSpPr>
          <p:spPr bwMode="auto">
            <a:xfrm>
              <a:off x="3949700" y="2287588"/>
              <a:ext cx="1066800" cy="722313"/>
            </a:xfrm>
            <a:custGeom>
              <a:avLst/>
              <a:gdLst>
                <a:gd name="T0" fmla="*/ 343 w 631"/>
                <a:gd name="T1" fmla="*/ 427 h 428"/>
                <a:gd name="T2" fmla="*/ 231 w 631"/>
                <a:gd name="T3" fmla="*/ 404 h 428"/>
                <a:gd name="T4" fmla="*/ 55 w 631"/>
                <a:gd name="T5" fmla="*/ 254 h 428"/>
                <a:gd name="T6" fmla="*/ 49 w 631"/>
                <a:gd name="T7" fmla="*/ 0 h 428"/>
                <a:gd name="T8" fmla="*/ 94 w 631"/>
                <a:gd name="T9" fmla="*/ 17 h 428"/>
                <a:gd name="T10" fmla="*/ 78 w 631"/>
                <a:gd name="T11" fmla="*/ 157 h 428"/>
                <a:gd name="T12" fmla="*/ 247 w 631"/>
                <a:gd name="T13" fmla="*/ 359 h 428"/>
                <a:gd name="T14" fmla="*/ 442 w 631"/>
                <a:gd name="T15" fmla="*/ 359 h 428"/>
                <a:gd name="T16" fmla="*/ 586 w 631"/>
                <a:gd name="T17" fmla="*/ 196 h 428"/>
                <a:gd name="T18" fmla="*/ 631 w 631"/>
                <a:gd name="T19" fmla="*/ 212 h 428"/>
                <a:gd name="T20" fmla="*/ 462 w 631"/>
                <a:gd name="T21" fmla="*/ 402 h 428"/>
                <a:gd name="T22" fmla="*/ 343 w 631"/>
                <a:gd name="T23" fmla="*/ 427 h 4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31" h="428">
                  <a:moveTo>
                    <a:pt x="343" y="427"/>
                  </a:moveTo>
                  <a:cubicBezTo>
                    <a:pt x="307" y="426"/>
                    <a:pt x="270" y="419"/>
                    <a:pt x="231" y="404"/>
                  </a:cubicBezTo>
                  <a:cubicBezTo>
                    <a:pt x="146" y="373"/>
                    <a:pt x="87" y="323"/>
                    <a:pt x="55" y="254"/>
                  </a:cubicBezTo>
                  <a:cubicBezTo>
                    <a:pt x="0" y="135"/>
                    <a:pt x="47" y="5"/>
                    <a:pt x="49" y="0"/>
                  </a:cubicBezTo>
                  <a:cubicBezTo>
                    <a:pt x="94" y="17"/>
                    <a:pt x="94" y="17"/>
                    <a:pt x="94" y="17"/>
                  </a:cubicBezTo>
                  <a:cubicBezTo>
                    <a:pt x="94" y="17"/>
                    <a:pt x="70" y="82"/>
                    <a:pt x="78" y="157"/>
                  </a:cubicBezTo>
                  <a:cubicBezTo>
                    <a:pt x="89" y="254"/>
                    <a:pt x="146" y="322"/>
                    <a:pt x="247" y="359"/>
                  </a:cubicBezTo>
                  <a:cubicBezTo>
                    <a:pt x="320" y="386"/>
                    <a:pt x="385" y="385"/>
                    <a:pt x="442" y="359"/>
                  </a:cubicBezTo>
                  <a:cubicBezTo>
                    <a:pt x="543" y="312"/>
                    <a:pt x="585" y="197"/>
                    <a:pt x="586" y="196"/>
                  </a:cubicBezTo>
                  <a:cubicBezTo>
                    <a:pt x="631" y="212"/>
                    <a:pt x="631" y="212"/>
                    <a:pt x="631" y="212"/>
                  </a:cubicBezTo>
                  <a:cubicBezTo>
                    <a:pt x="629" y="218"/>
                    <a:pt x="581" y="347"/>
                    <a:pt x="462" y="402"/>
                  </a:cubicBezTo>
                  <a:cubicBezTo>
                    <a:pt x="425" y="420"/>
                    <a:pt x="385" y="428"/>
                    <a:pt x="343" y="427"/>
                  </a:cubicBezTo>
                  <a:close/>
                </a:path>
              </a:pathLst>
            </a:custGeom>
            <a:solidFill>
              <a:srgbClr val="2854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54" name="iS1îḓé">
              <a:extLst>
                <a:ext uri="{FF2B5EF4-FFF2-40B4-BE49-F238E27FC236}">
                  <a16:creationId xmlns:a16="http://schemas.microsoft.com/office/drawing/2014/main" id="{65143EF6-5382-43CE-925B-3ECA95B52F00}"/>
                </a:ext>
              </a:extLst>
            </p:cNvPr>
            <p:cNvSpPr/>
            <p:nvPr userDrawn="1"/>
          </p:nvSpPr>
          <p:spPr bwMode="auto">
            <a:xfrm>
              <a:off x="4022725" y="2305050"/>
              <a:ext cx="947738" cy="639763"/>
            </a:xfrm>
            <a:custGeom>
              <a:avLst/>
              <a:gdLst>
                <a:gd name="T0" fmla="*/ 560 w 560"/>
                <a:gd name="T1" fmla="*/ 191 h 379"/>
                <a:gd name="T2" fmla="*/ 543 w 560"/>
                <a:gd name="T3" fmla="*/ 185 h 379"/>
                <a:gd name="T4" fmla="*/ 399 w 560"/>
                <a:gd name="T5" fmla="*/ 348 h 379"/>
                <a:gd name="T6" fmla="*/ 204 w 560"/>
                <a:gd name="T7" fmla="*/ 348 h 379"/>
                <a:gd name="T8" fmla="*/ 35 w 560"/>
                <a:gd name="T9" fmla="*/ 146 h 379"/>
                <a:gd name="T10" fmla="*/ 51 w 560"/>
                <a:gd name="T11" fmla="*/ 6 h 379"/>
                <a:gd name="T12" fmla="*/ 36 w 560"/>
                <a:gd name="T13" fmla="*/ 0 h 379"/>
                <a:gd name="T14" fmla="*/ 44 w 560"/>
                <a:gd name="T15" fmla="*/ 223 h 379"/>
                <a:gd name="T16" fmla="*/ 202 w 560"/>
                <a:gd name="T17" fmla="*/ 358 h 379"/>
                <a:gd name="T18" fmla="*/ 303 w 560"/>
                <a:gd name="T19" fmla="*/ 378 h 379"/>
                <a:gd name="T20" fmla="*/ 411 w 560"/>
                <a:gd name="T21" fmla="*/ 356 h 379"/>
                <a:gd name="T22" fmla="*/ 560 w 560"/>
                <a:gd name="T23" fmla="*/ 191 h 3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0" h="379">
                  <a:moveTo>
                    <a:pt x="560" y="191"/>
                  </a:moveTo>
                  <a:cubicBezTo>
                    <a:pt x="543" y="185"/>
                    <a:pt x="543" y="185"/>
                    <a:pt x="543" y="185"/>
                  </a:cubicBezTo>
                  <a:cubicBezTo>
                    <a:pt x="542" y="186"/>
                    <a:pt x="500" y="301"/>
                    <a:pt x="399" y="348"/>
                  </a:cubicBezTo>
                  <a:cubicBezTo>
                    <a:pt x="342" y="374"/>
                    <a:pt x="277" y="375"/>
                    <a:pt x="204" y="348"/>
                  </a:cubicBezTo>
                  <a:cubicBezTo>
                    <a:pt x="103" y="311"/>
                    <a:pt x="46" y="243"/>
                    <a:pt x="35" y="146"/>
                  </a:cubicBezTo>
                  <a:cubicBezTo>
                    <a:pt x="27" y="71"/>
                    <a:pt x="51" y="6"/>
                    <a:pt x="51" y="6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28" y="26"/>
                    <a:pt x="0" y="128"/>
                    <a:pt x="44" y="223"/>
                  </a:cubicBezTo>
                  <a:cubicBezTo>
                    <a:pt x="73" y="285"/>
                    <a:pt x="126" y="330"/>
                    <a:pt x="202" y="358"/>
                  </a:cubicBezTo>
                  <a:cubicBezTo>
                    <a:pt x="237" y="371"/>
                    <a:pt x="271" y="378"/>
                    <a:pt x="303" y="378"/>
                  </a:cubicBezTo>
                  <a:cubicBezTo>
                    <a:pt x="341" y="379"/>
                    <a:pt x="377" y="372"/>
                    <a:pt x="411" y="356"/>
                  </a:cubicBezTo>
                  <a:cubicBezTo>
                    <a:pt x="505" y="312"/>
                    <a:pt x="549" y="216"/>
                    <a:pt x="560" y="191"/>
                  </a:cubicBezTo>
                  <a:close/>
                </a:path>
              </a:pathLst>
            </a:custGeom>
            <a:solidFill>
              <a:srgbClr val="306F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55" name="işḻíďê">
              <a:extLst>
                <a:ext uri="{FF2B5EF4-FFF2-40B4-BE49-F238E27FC236}">
                  <a16:creationId xmlns:a16="http://schemas.microsoft.com/office/drawing/2014/main" id="{AA7DA713-0FB0-43A8-9D60-5C0376DC256D}"/>
                </a:ext>
              </a:extLst>
            </p:cNvPr>
            <p:cNvSpPr/>
            <p:nvPr userDrawn="1"/>
          </p:nvSpPr>
          <p:spPr bwMode="auto">
            <a:xfrm>
              <a:off x="4537075" y="1555750"/>
              <a:ext cx="146050" cy="100013"/>
            </a:xfrm>
            <a:custGeom>
              <a:avLst/>
              <a:gdLst>
                <a:gd name="T0" fmla="*/ 81 w 87"/>
                <a:gd name="T1" fmla="*/ 0 h 59"/>
                <a:gd name="T2" fmla="*/ 80 w 87"/>
                <a:gd name="T3" fmla="*/ 11 h 59"/>
                <a:gd name="T4" fmla="*/ 78 w 87"/>
                <a:gd name="T5" fmla="*/ 19 h 59"/>
                <a:gd name="T6" fmla="*/ 40 w 87"/>
                <a:gd name="T7" fmla="*/ 41 h 59"/>
                <a:gd name="T8" fmla="*/ 17 w 87"/>
                <a:gd name="T9" fmla="*/ 35 h 59"/>
                <a:gd name="T10" fmla="*/ 0 w 87"/>
                <a:gd name="T11" fmla="*/ 22 h 59"/>
                <a:gd name="T12" fmla="*/ 22 w 87"/>
                <a:gd name="T13" fmla="*/ 48 h 59"/>
                <a:gd name="T14" fmla="*/ 45 w 87"/>
                <a:gd name="T15" fmla="*/ 54 h 59"/>
                <a:gd name="T16" fmla="*/ 83 w 87"/>
                <a:gd name="T17" fmla="*/ 33 h 59"/>
                <a:gd name="T18" fmla="*/ 85 w 87"/>
                <a:gd name="T19" fmla="*/ 25 h 59"/>
                <a:gd name="T20" fmla="*/ 81 w 87"/>
                <a:gd name="T21" fmla="*/ 0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7" h="59">
                  <a:moveTo>
                    <a:pt x="81" y="0"/>
                  </a:moveTo>
                  <a:cubicBezTo>
                    <a:pt x="81" y="3"/>
                    <a:pt x="81" y="7"/>
                    <a:pt x="80" y="11"/>
                  </a:cubicBezTo>
                  <a:cubicBezTo>
                    <a:pt x="78" y="19"/>
                    <a:pt x="78" y="19"/>
                    <a:pt x="78" y="19"/>
                  </a:cubicBezTo>
                  <a:cubicBezTo>
                    <a:pt x="73" y="36"/>
                    <a:pt x="56" y="45"/>
                    <a:pt x="40" y="41"/>
                  </a:cubicBezTo>
                  <a:cubicBezTo>
                    <a:pt x="17" y="35"/>
                    <a:pt x="17" y="35"/>
                    <a:pt x="17" y="35"/>
                  </a:cubicBezTo>
                  <a:cubicBezTo>
                    <a:pt x="10" y="33"/>
                    <a:pt x="4" y="28"/>
                    <a:pt x="0" y="22"/>
                  </a:cubicBezTo>
                  <a:cubicBezTo>
                    <a:pt x="1" y="34"/>
                    <a:pt x="10" y="45"/>
                    <a:pt x="22" y="48"/>
                  </a:cubicBezTo>
                  <a:cubicBezTo>
                    <a:pt x="45" y="54"/>
                    <a:pt x="45" y="54"/>
                    <a:pt x="45" y="54"/>
                  </a:cubicBezTo>
                  <a:cubicBezTo>
                    <a:pt x="61" y="59"/>
                    <a:pt x="78" y="49"/>
                    <a:pt x="83" y="33"/>
                  </a:cubicBezTo>
                  <a:cubicBezTo>
                    <a:pt x="85" y="25"/>
                    <a:pt x="85" y="25"/>
                    <a:pt x="85" y="25"/>
                  </a:cubicBezTo>
                  <a:cubicBezTo>
                    <a:pt x="87" y="16"/>
                    <a:pt x="86" y="7"/>
                    <a:pt x="81" y="0"/>
                  </a:cubicBezTo>
                  <a:close/>
                </a:path>
              </a:pathLst>
            </a:custGeom>
            <a:solidFill>
              <a:srgbClr val="3D69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56" name="íṧḷiďe">
              <a:extLst>
                <a:ext uri="{FF2B5EF4-FFF2-40B4-BE49-F238E27FC236}">
                  <a16:creationId xmlns:a16="http://schemas.microsoft.com/office/drawing/2014/main" id="{91461A07-BC8E-4581-9CFA-A9AE64412754}"/>
                </a:ext>
              </a:extLst>
            </p:cNvPr>
            <p:cNvSpPr/>
            <p:nvPr userDrawn="1"/>
          </p:nvSpPr>
          <p:spPr bwMode="auto">
            <a:xfrm>
              <a:off x="4949825" y="1687513"/>
              <a:ext cx="149225" cy="101600"/>
            </a:xfrm>
            <a:custGeom>
              <a:avLst/>
              <a:gdLst>
                <a:gd name="T0" fmla="*/ 82 w 88"/>
                <a:gd name="T1" fmla="*/ 0 h 60"/>
                <a:gd name="T2" fmla="*/ 79 w 88"/>
                <a:gd name="T3" fmla="*/ 17 h 60"/>
                <a:gd name="T4" fmla="*/ 75 w 88"/>
                <a:gd name="T5" fmla="*/ 24 h 60"/>
                <a:gd name="T6" fmla="*/ 34 w 88"/>
                <a:gd name="T7" fmla="*/ 39 h 60"/>
                <a:gd name="T8" fmla="*/ 13 w 88"/>
                <a:gd name="T9" fmla="*/ 29 h 60"/>
                <a:gd name="T10" fmla="*/ 0 w 88"/>
                <a:gd name="T11" fmla="*/ 18 h 60"/>
                <a:gd name="T12" fmla="*/ 18 w 88"/>
                <a:gd name="T13" fmla="*/ 43 h 60"/>
                <a:gd name="T14" fmla="*/ 39 w 88"/>
                <a:gd name="T15" fmla="*/ 53 h 60"/>
                <a:gd name="T16" fmla="*/ 80 w 88"/>
                <a:gd name="T17" fmla="*/ 38 h 60"/>
                <a:gd name="T18" fmla="*/ 84 w 88"/>
                <a:gd name="T19" fmla="*/ 30 h 60"/>
                <a:gd name="T20" fmla="*/ 82 w 88"/>
                <a:gd name="T21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8" h="60">
                  <a:moveTo>
                    <a:pt x="82" y="0"/>
                  </a:moveTo>
                  <a:cubicBezTo>
                    <a:pt x="82" y="5"/>
                    <a:pt x="81" y="11"/>
                    <a:pt x="79" y="17"/>
                  </a:cubicBezTo>
                  <a:cubicBezTo>
                    <a:pt x="75" y="24"/>
                    <a:pt x="75" y="24"/>
                    <a:pt x="75" y="24"/>
                  </a:cubicBezTo>
                  <a:cubicBezTo>
                    <a:pt x="68" y="40"/>
                    <a:pt x="50" y="46"/>
                    <a:pt x="34" y="39"/>
                  </a:cubicBezTo>
                  <a:cubicBezTo>
                    <a:pt x="13" y="29"/>
                    <a:pt x="13" y="29"/>
                    <a:pt x="13" y="29"/>
                  </a:cubicBezTo>
                  <a:cubicBezTo>
                    <a:pt x="8" y="27"/>
                    <a:pt x="3" y="23"/>
                    <a:pt x="0" y="18"/>
                  </a:cubicBezTo>
                  <a:cubicBezTo>
                    <a:pt x="2" y="29"/>
                    <a:pt x="8" y="38"/>
                    <a:pt x="18" y="43"/>
                  </a:cubicBezTo>
                  <a:cubicBezTo>
                    <a:pt x="39" y="53"/>
                    <a:pt x="39" y="53"/>
                    <a:pt x="39" y="53"/>
                  </a:cubicBezTo>
                  <a:cubicBezTo>
                    <a:pt x="55" y="60"/>
                    <a:pt x="73" y="53"/>
                    <a:pt x="80" y="38"/>
                  </a:cubicBezTo>
                  <a:cubicBezTo>
                    <a:pt x="84" y="30"/>
                    <a:pt x="84" y="30"/>
                    <a:pt x="84" y="30"/>
                  </a:cubicBezTo>
                  <a:cubicBezTo>
                    <a:pt x="88" y="20"/>
                    <a:pt x="87" y="9"/>
                    <a:pt x="82" y="0"/>
                  </a:cubicBezTo>
                  <a:close/>
                </a:path>
              </a:pathLst>
            </a:custGeom>
            <a:solidFill>
              <a:srgbClr val="3D69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57" name="îSlïḑé">
              <a:extLst>
                <a:ext uri="{FF2B5EF4-FFF2-40B4-BE49-F238E27FC236}">
                  <a16:creationId xmlns:a16="http://schemas.microsoft.com/office/drawing/2014/main" id="{A7CEC01B-DE10-4894-A5FC-14A16677B2AA}"/>
                </a:ext>
              </a:extLst>
            </p:cNvPr>
            <p:cNvSpPr/>
            <p:nvPr userDrawn="1"/>
          </p:nvSpPr>
          <p:spPr bwMode="auto">
            <a:xfrm>
              <a:off x="5591175" y="4359275"/>
              <a:ext cx="293688" cy="295275"/>
            </a:xfrm>
            <a:custGeom>
              <a:avLst/>
              <a:gdLst>
                <a:gd name="T0" fmla="*/ 173 w 174"/>
                <a:gd name="T1" fmla="*/ 90 h 175"/>
                <a:gd name="T2" fmla="*/ 85 w 174"/>
                <a:gd name="T3" fmla="*/ 173 h 175"/>
                <a:gd name="T4" fmla="*/ 1 w 174"/>
                <a:gd name="T5" fmla="*/ 85 h 175"/>
                <a:gd name="T6" fmla="*/ 89 w 174"/>
                <a:gd name="T7" fmla="*/ 1 h 175"/>
                <a:gd name="T8" fmla="*/ 173 w 174"/>
                <a:gd name="T9" fmla="*/ 90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4" h="175">
                  <a:moveTo>
                    <a:pt x="173" y="90"/>
                  </a:moveTo>
                  <a:cubicBezTo>
                    <a:pt x="172" y="137"/>
                    <a:pt x="132" y="175"/>
                    <a:pt x="85" y="173"/>
                  </a:cubicBezTo>
                  <a:cubicBezTo>
                    <a:pt x="37" y="172"/>
                    <a:pt x="0" y="133"/>
                    <a:pt x="1" y="85"/>
                  </a:cubicBezTo>
                  <a:cubicBezTo>
                    <a:pt x="2" y="38"/>
                    <a:pt x="41" y="0"/>
                    <a:pt x="89" y="1"/>
                  </a:cubicBezTo>
                  <a:cubicBezTo>
                    <a:pt x="136" y="3"/>
                    <a:pt x="174" y="42"/>
                    <a:pt x="173" y="90"/>
                  </a:cubicBezTo>
                  <a:close/>
                </a:path>
              </a:pathLst>
            </a:custGeom>
            <a:solidFill>
              <a:srgbClr val="F1F0E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58" name="îślîḋé">
              <a:extLst>
                <a:ext uri="{FF2B5EF4-FFF2-40B4-BE49-F238E27FC236}">
                  <a16:creationId xmlns:a16="http://schemas.microsoft.com/office/drawing/2014/main" id="{7634E498-F2E1-451F-A9B2-1AC7D55A8B96}"/>
                </a:ext>
              </a:extLst>
            </p:cNvPr>
            <p:cNvSpPr/>
            <p:nvPr userDrawn="1"/>
          </p:nvSpPr>
          <p:spPr bwMode="auto">
            <a:xfrm>
              <a:off x="5665788" y="4433888"/>
              <a:ext cx="142875" cy="142875"/>
            </a:xfrm>
            <a:custGeom>
              <a:avLst/>
              <a:gdLst>
                <a:gd name="T0" fmla="*/ 83 w 84"/>
                <a:gd name="T1" fmla="*/ 43 h 84"/>
                <a:gd name="T2" fmla="*/ 41 w 84"/>
                <a:gd name="T3" fmla="*/ 84 h 84"/>
                <a:gd name="T4" fmla="*/ 0 w 84"/>
                <a:gd name="T5" fmla="*/ 41 h 84"/>
                <a:gd name="T6" fmla="*/ 43 w 84"/>
                <a:gd name="T7" fmla="*/ 1 h 84"/>
                <a:gd name="T8" fmla="*/ 83 w 84"/>
                <a:gd name="T9" fmla="*/ 43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4" h="84">
                  <a:moveTo>
                    <a:pt x="83" y="43"/>
                  </a:moveTo>
                  <a:cubicBezTo>
                    <a:pt x="83" y="66"/>
                    <a:pt x="64" y="84"/>
                    <a:pt x="41" y="84"/>
                  </a:cubicBezTo>
                  <a:cubicBezTo>
                    <a:pt x="18" y="83"/>
                    <a:pt x="0" y="64"/>
                    <a:pt x="0" y="41"/>
                  </a:cubicBezTo>
                  <a:cubicBezTo>
                    <a:pt x="1" y="19"/>
                    <a:pt x="20" y="0"/>
                    <a:pt x="43" y="1"/>
                  </a:cubicBezTo>
                  <a:cubicBezTo>
                    <a:pt x="66" y="2"/>
                    <a:pt x="84" y="21"/>
                    <a:pt x="83" y="43"/>
                  </a:cubicBezTo>
                  <a:close/>
                </a:path>
              </a:pathLst>
            </a:custGeom>
            <a:solidFill>
              <a:srgbClr val="4675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59" name="ïṥlïdè">
              <a:extLst>
                <a:ext uri="{FF2B5EF4-FFF2-40B4-BE49-F238E27FC236}">
                  <a16:creationId xmlns:a16="http://schemas.microsoft.com/office/drawing/2014/main" id="{0F305D9E-66A4-41F4-AD70-46FF30DA402E}"/>
                </a:ext>
              </a:extLst>
            </p:cNvPr>
            <p:cNvSpPr/>
            <p:nvPr userDrawn="1"/>
          </p:nvSpPr>
          <p:spPr bwMode="auto">
            <a:xfrm>
              <a:off x="5670550" y="4457700"/>
              <a:ext cx="136525" cy="119063"/>
            </a:xfrm>
            <a:custGeom>
              <a:avLst/>
              <a:gdLst>
                <a:gd name="T0" fmla="*/ 69 w 81"/>
                <a:gd name="T1" fmla="*/ 0 h 70"/>
                <a:gd name="T2" fmla="*/ 71 w 81"/>
                <a:gd name="T3" fmla="*/ 13 h 70"/>
                <a:gd name="T4" fmla="*/ 29 w 81"/>
                <a:gd name="T5" fmla="*/ 54 h 70"/>
                <a:gd name="T6" fmla="*/ 0 w 81"/>
                <a:gd name="T7" fmla="*/ 41 h 70"/>
                <a:gd name="T8" fmla="*/ 39 w 81"/>
                <a:gd name="T9" fmla="*/ 70 h 70"/>
                <a:gd name="T10" fmla="*/ 81 w 81"/>
                <a:gd name="T11" fmla="*/ 29 h 70"/>
                <a:gd name="T12" fmla="*/ 69 w 81"/>
                <a:gd name="T13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1" h="70">
                  <a:moveTo>
                    <a:pt x="69" y="0"/>
                  </a:moveTo>
                  <a:cubicBezTo>
                    <a:pt x="71" y="4"/>
                    <a:pt x="71" y="8"/>
                    <a:pt x="71" y="13"/>
                  </a:cubicBezTo>
                  <a:cubicBezTo>
                    <a:pt x="71" y="36"/>
                    <a:pt x="52" y="54"/>
                    <a:pt x="29" y="54"/>
                  </a:cubicBezTo>
                  <a:cubicBezTo>
                    <a:pt x="18" y="53"/>
                    <a:pt x="8" y="49"/>
                    <a:pt x="0" y="41"/>
                  </a:cubicBezTo>
                  <a:cubicBezTo>
                    <a:pt x="5" y="57"/>
                    <a:pt x="21" y="69"/>
                    <a:pt x="39" y="70"/>
                  </a:cubicBezTo>
                  <a:cubicBezTo>
                    <a:pt x="62" y="70"/>
                    <a:pt x="81" y="52"/>
                    <a:pt x="81" y="29"/>
                  </a:cubicBezTo>
                  <a:cubicBezTo>
                    <a:pt x="81" y="18"/>
                    <a:pt x="77" y="7"/>
                    <a:pt x="69" y="0"/>
                  </a:cubicBezTo>
                  <a:close/>
                </a:path>
              </a:pathLst>
            </a:custGeom>
            <a:solidFill>
              <a:srgbClr val="3D69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60" name="îṧ1ïḍe">
              <a:extLst>
                <a:ext uri="{FF2B5EF4-FFF2-40B4-BE49-F238E27FC236}">
                  <a16:creationId xmlns:a16="http://schemas.microsoft.com/office/drawing/2014/main" id="{CA6DED99-0BA2-4DC1-9E97-998D82871C00}"/>
                </a:ext>
              </a:extLst>
            </p:cNvPr>
            <p:cNvSpPr/>
            <p:nvPr userDrawn="1"/>
          </p:nvSpPr>
          <p:spPr bwMode="auto">
            <a:xfrm>
              <a:off x="5610225" y="4471988"/>
              <a:ext cx="273050" cy="182563"/>
            </a:xfrm>
            <a:custGeom>
              <a:avLst/>
              <a:gdLst>
                <a:gd name="T0" fmla="*/ 158 w 161"/>
                <a:gd name="T1" fmla="*/ 0 h 108"/>
                <a:gd name="T2" fmla="*/ 63 w 161"/>
                <a:gd name="T3" fmla="*/ 89 h 108"/>
                <a:gd name="T4" fmla="*/ 0 w 161"/>
                <a:gd name="T5" fmla="*/ 63 h 108"/>
                <a:gd name="T6" fmla="*/ 73 w 161"/>
                <a:gd name="T7" fmla="*/ 106 h 108"/>
                <a:gd name="T8" fmla="*/ 161 w 161"/>
                <a:gd name="T9" fmla="*/ 23 h 108"/>
                <a:gd name="T10" fmla="*/ 158 w 161"/>
                <a:gd name="T11" fmla="*/ 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1" h="108">
                  <a:moveTo>
                    <a:pt x="158" y="0"/>
                  </a:moveTo>
                  <a:cubicBezTo>
                    <a:pt x="156" y="51"/>
                    <a:pt x="114" y="91"/>
                    <a:pt x="63" y="89"/>
                  </a:cubicBezTo>
                  <a:cubicBezTo>
                    <a:pt x="38" y="89"/>
                    <a:pt x="16" y="79"/>
                    <a:pt x="0" y="63"/>
                  </a:cubicBezTo>
                  <a:cubicBezTo>
                    <a:pt x="14" y="88"/>
                    <a:pt x="41" y="106"/>
                    <a:pt x="73" y="106"/>
                  </a:cubicBezTo>
                  <a:cubicBezTo>
                    <a:pt x="120" y="108"/>
                    <a:pt x="160" y="70"/>
                    <a:pt x="161" y="23"/>
                  </a:cubicBezTo>
                  <a:cubicBezTo>
                    <a:pt x="161" y="15"/>
                    <a:pt x="160" y="7"/>
                    <a:pt x="158" y="0"/>
                  </a:cubicBezTo>
                  <a:close/>
                </a:path>
              </a:pathLst>
            </a:custGeom>
            <a:solidFill>
              <a:srgbClr val="C1C0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61" name="îṥ1íḋe">
              <a:extLst>
                <a:ext uri="{FF2B5EF4-FFF2-40B4-BE49-F238E27FC236}">
                  <a16:creationId xmlns:a16="http://schemas.microsoft.com/office/drawing/2014/main" id="{BD13BECF-89E5-4979-9B7A-AC805280B44B}"/>
                </a:ext>
              </a:extLst>
            </p:cNvPr>
            <p:cNvSpPr/>
            <p:nvPr userDrawn="1"/>
          </p:nvSpPr>
          <p:spPr bwMode="auto">
            <a:xfrm>
              <a:off x="4256088" y="3667125"/>
              <a:ext cx="450850" cy="682625"/>
            </a:xfrm>
            <a:custGeom>
              <a:avLst/>
              <a:gdLst>
                <a:gd name="T0" fmla="*/ 0 w 267"/>
                <a:gd name="T1" fmla="*/ 48 h 405"/>
                <a:gd name="T2" fmla="*/ 100 w 267"/>
                <a:gd name="T3" fmla="*/ 390 h 405"/>
                <a:gd name="T4" fmla="*/ 123 w 267"/>
                <a:gd name="T5" fmla="*/ 402 h 405"/>
                <a:gd name="T6" fmla="*/ 252 w 267"/>
                <a:gd name="T7" fmla="*/ 364 h 405"/>
                <a:gd name="T8" fmla="*/ 264 w 267"/>
                <a:gd name="T9" fmla="*/ 342 h 405"/>
                <a:gd name="T10" fmla="*/ 164 w 267"/>
                <a:gd name="T11" fmla="*/ 0 h 405"/>
                <a:gd name="T12" fmla="*/ 0 w 267"/>
                <a:gd name="T13" fmla="*/ 48 h 4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7" h="405">
                  <a:moveTo>
                    <a:pt x="0" y="48"/>
                  </a:moveTo>
                  <a:cubicBezTo>
                    <a:pt x="100" y="390"/>
                    <a:pt x="100" y="390"/>
                    <a:pt x="100" y="390"/>
                  </a:cubicBezTo>
                  <a:cubicBezTo>
                    <a:pt x="103" y="400"/>
                    <a:pt x="113" y="405"/>
                    <a:pt x="123" y="402"/>
                  </a:cubicBezTo>
                  <a:cubicBezTo>
                    <a:pt x="252" y="364"/>
                    <a:pt x="252" y="364"/>
                    <a:pt x="252" y="364"/>
                  </a:cubicBezTo>
                  <a:cubicBezTo>
                    <a:pt x="261" y="362"/>
                    <a:pt x="267" y="352"/>
                    <a:pt x="264" y="342"/>
                  </a:cubicBezTo>
                  <a:cubicBezTo>
                    <a:pt x="164" y="0"/>
                    <a:pt x="164" y="0"/>
                    <a:pt x="164" y="0"/>
                  </a:cubicBezTo>
                  <a:lnTo>
                    <a:pt x="0" y="48"/>
                  </a:lnTo>
                  <a:close/>
                </a:path>
              </a:pathLst>
            </a:custGeom>
            <a:solidFill>
              <a:srgbClr val="FF787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62" name="íṡḻïḑê">
              <a:extLst>
                <a:ext uri="{FF2B5EF4-FFF2-40B4-BE49-F238E27FC236}">
                  <a16:creationId xmlns:a16="http://schemas.microsoft.com/office/drawing/2014/main" id="{A14D51AE-6020-41BC-95EF-70E46A27B6BE}"/>
                </a:ext>
              </a:extLst>
            </p:cNvPr>
            <p:cNvSpPr/>
            <p:nvPr userDrawn="1"/>
          </p:nvSpPr>
          <p:spPr bwMode="auto">
            <a:xfrm>
              <a:off x="4294188" y="3797300"/>
              <a:ext cx="341313" cy="296863"/>
            </a:xfrm>
            <a:custGeom>
              <a:avLst/>
              <a:gdLst>
                <a:gd name="T0" fmla="*/ 215 w 215"/>
                <a:gd name="T1" fmla="*/ 136 h 187"/>
                <a:gd name="T2" fmla="*/ 40 w 215"/>
                <a:gd name="T3" fmla="*/ 187 h 187"/>
                <a:gd name="T4" fmla="*/ 0 w 215"/>
                <a:gd name="T5" fmla="*/ 52 h 187"/>
                <a:gd name="T6" fmla="*/ 175 w 215"/>
                <a:gd name="T7" fmla="*/ 0 h 187"/>
                <a:gd name="T8" fmla="*/ 215 w 215"/>
                <a:gd name="T9" fmla="*/ 136 h 1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5" h="187">
                  <a:moveTo>
                    <a:pt x="215" y="136"/>
                  </a:moveTo>
                  <a:lnTo>
                    <a:pt x="40" y="187"/>
                  </a:lnTo>
                  <a:lnTo>
                    <a:pt x="0" y="52"/>
                  </a:lnTo>
                  <a:lnTo>
                    <a:pt x="175" y="0"/>
                  </a:lnTo>
                  <a:lnTo>
                    <a:pt x="215" y="136"/>
                  </a:lnTo>
                  <a:close/>
                </a:path>
              </a:pathLst>
            </a:custGeom>
            <a:solidFill>
              <a:srgbClr val="FBFCF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63" name="isľîdè">
              <a:extLst>
                <a:ext uri="{FF2B5EF4-FFF2-40B4-BE49-F238E27FC236}">
                  <a16:creationId xmlns:a16="http://schemas.microsoft.com/office/drawing/2014/main" id="{2D6CD1BC-0793-46DB-A1A4-564B4C6E9F83}"/>
                </a:ext>
              </a:extLst>
            </p:cNvPr>
            <p:cNvSpPr/>
            <p:nvPr userDrawn="1"/>
          </p:nvSpPr>
          <p:spPr bwMode="auto">
            <a:xfrm>
              <a:off x="4214813" y="3587750"/>
              <a:ext cx="334963" cy="165100"/>
            </a:xfrm>
            <a:custGeom>
              <a:avLst/>
              <a:gdLst>
                <a:gd name="T0" fmla="*/ 197 w 211"/>
                <a:gd name="T1" fmla="*/ 0 h 104"/>
                <a:gd name="T2" fmla="*/ 0 w 211"/>
                <a:gd name="T3" fmla="*/ 57 h 104"/>
                <a:gd name="T4" fmla="*/ 14 w 211"/>
                <a:gd name="T5" fmla="*/ 104 h 104"/>
                <a:gd name="T6" fmla="*/ 211 w 211"/>
                <a:gd name="T7" fmla="*/ 46 h 104"/>
                <a:gd name="T8" fmla="*/ 197 w 211"/>
                <a:gd name="T9" fmla="*/ 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1" h="104">
                  <a:moveTo>
                    <a:pt x="197" y="0"/>
                  </a:moveTo>
                  <a:lnTo>
                    <a:pt x="0" y="57"/>
                  </a:lnTo>
                  <a:lnTo>
                    <a:pt x="14" y="104"/>
                  </a:lnTo>
                  <a:lnTo>
                    <a:pt x="211" y="46"/>
                  </a:lnTo>
                  <a:lnTo>
                    <a:pt x="197" y="0"/>
                  </a:lnTo>
                  <a:close/>
                </a:path>
              </a:pathLst>
            </a:custGeom>
            <a:solidFill>
              <a:srgbClr val="FBFCF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64" name="iṥļiḑè">
              <a:extLst>
                <a:ext uri="{FF2B5EF4-FFF2-40B4-BE49-F238E27FC236}">
                  <a16:creationId xmlns:a16="http://schemas.microsoft.com/office/drawing/2014/main" id="{4087A787-56DE-4E8B-8690-563BBD368C74}"/>
                </a:ext>
              </a:extLst>
            </p:cNvPr>
            <p:cNvSpPr/>
            <p:nvPr userDrawn="1"/>
          </p:nvSpPr>
          <p:spPr bwMode="auto">
            <a:xfrm>
              <a:off x="4227513" y="3671888"/>
              <a:ext cx="33338" cy="77788"/>
            </a:xfrm>
            <a:custGeom>
              <a:avLst/>
              <a:gdLst>
                <a:gd name="T0" fmla="*/ 7 w 21"/>
                <a:gd name="T1" fmla="*/ 0 h 49"/>
                <a:gd name="T2" fmla="*/ 0 w 21"/>
                <a:gd name="T3" fmla="*/ 2 h 49"/>
                <a:gd name="T4" fmla="*/ 14 w 21"/>
                <a:gd name="T5" fmla="*/ 49 h 49"/>
                <a:gd name="T6" fmla="*/ 21 w 21"/>
                <a:gd name="T7" fmla="*/ 46 h 49"/>
                <a:gd name="T8" fmla="*/ 7 w 21"/>
                <a:gd name="T9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" h="49">
                  <a:moveTo>
                    <a:pt x="7" y="0"/>
                  </a:moveTo>
                  <a:lnTo>
                    <a:pt x="0" y="2"/>
                  </a:lnTo>
                  <a:lnTo>
                    <a:pt x="14" y="49"/>
                  </a:lnTo>
                  <a:lnTo>
                    <a:pt x="21" y="46"/>
                  </a:lnTo>
                  <a:lnTo>
                    <a:pt x="7" y="0"/>
                  </a:lnTo>
                  <a:close/>
                </a:path>
              </a:pathLst>
            </a:custGeom>
            <a:solidFill>
              <a:srgbClr val="D2D3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65" name="íṩļíḑe">
              <a:extLst>
                <a:ext uri="{FF2B5EF4-FFF2-40B4-BE49-F238E27FC236}">
                  <a16:creationId xmlns:a16="http://schemas.microsoft.com/office/drawing/2014/main" id="{69D3F296-2B3F-40C9-9E21-0C76CE4B76DA}"/>
                </a:ext>
              </a:extLst>
            </p:cNvPr>
            <p:cNvSpPr/>
            <p:nvPr userDrawn="1"/>
          </p:nvSpPr>
          <p:spPr bwMode="auto">
            <a:xfrm>
              <a:off x="4254500" y="3662363"/>
              <a:ext cx="34925" cy="77788"/>
            </a:xfrm>
            <a:custGeom>
              <a:avLst/>
              <a:gdLst>
                <a:gd name="T0" fmla="*/ 8 w 22"/>
                <a:gd name="T1" fmla="*/ 0 h 49"/>
                <a:gd name="T2" fmla="*/ 0 w 22"/>
                <a:gd name="T3" fmla="*/ 3 h 49"/>
                <a:gd name="T4" fmla="*/ 14 w 22"/>
                <a:gd name="T5" fmla="*/ 49 h 49"/>
                <a:gd name="T6" fmla="*/ 22 w 22"/>
                <a:gd name="T7" fmla="*/ 47 h 49"/>
                <a:gd name="T8" fmla="*/ 8 w 22"/>
                <a:gd name="T9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" h="49">
                  <a:moveTo>
                    <a:pt x="8" y="0"/>
                  </a:moveTo>
                  <a:lnTo>
                    <a:pt x="0" y="3"/>
                  </a:lnTo>
                  <a:lnTo>
                    <a:pt x="14" y="49"/>
                  </a:lnTo>
                  <a:lnTo>
                    <a:pt x="22" y="47"/>
                  </a:lnTo>
                  <a:lnTo>
                    <a:pt x="8" y="0"/>
                  </a:lnTo>
                  <a:close/>
                </a:path>
              </a:pathLst>
            </a:custGeom>
            <a:solidFill>
              <a:srgbClr val="D2D3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66" name="iṣļiḋe">
              <a:extLst>
                <a:ext uri="{FF2B5EF4-FFF2-40B4-BE49-F238E27FC236}">
                  <a16:creationId xmlns:a16="http://schemas.microsoft.com/office/drawing/2014/main" id="{77B5AE5C-36C5-4C75-B0B7-98B9673C91E7}"/>
                </a:ext>
              </a:extLst>
            </p:cNvPr>
            <p:cNvSpPr/>
            <p:nvPr userDrawn="1"/>
          </p:nvSpPr>
          <p:spPr bwMode="auto">
            <a:xfrm>
              <a:off x="4283075" y="3654425"/>
              <a:ext cx="33338" cy="77788"/>
            </a:xfrm>
            <a:custGeom>
              <a:avLst/>
              <a:gdLst>
                <a:gd name="T0" fmla="*/ 7 w 21"/>
                <a:gd name="T1" fmla="*/ 0 h 49"/>
                <a:gd name="T2" fmla="*/ 0 w 21"/>
                <a:gd name="T3" fmla="*/ 3 h 49"/>
                <a:gd name="T4" fmla="*/ 13 w 21"/>
                <a:gd name="T5" fmla="*/ 49 h 49"/>
                <a:gd name="T6" fmla="*/ 21 w 21"/>
                <a:gd name="T7" fmla="*/ 47 h 49"/>
                <a:gd name="T8" fmla="*/ 7 w 21"/>
                <a:gd name="T9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" h="49">
                  <a:moveTo>
                    <a:pt x="7" y="0"/>
                  </a:moveTo>
                  <a:lnTo>
                    <a:pt x="0" y="3"/>
                  </a:lnTo>
                  <a:lnTo>
                    <a:pt x="13" y="49"/>
                  </a:lnTo>
                  <a:lnTo>
                    <a:pt x="21" y="47"/>
                  </a:lnTo>
                  <a:lnTo>
                    <a:pt x="7" y="0"/>
                  </a:lnTo>
                  <a:close/>
                </a:path>
              </a:pathLst>
            </a:custGeom>
            <a:solidFill>
              <a:srgbClr val="D2D3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67" name="ís1iḋê">
              <a:extLst>
                <a:ext uri="{FF2B5EF4-FFF2-40B4-BE49-F238E27FC236}">
                  <a16:creationId xmlns:a16="http://schemas.microsoft.com/office/drawing/2014/main" id="{37FD8A64-AE25-4D60-A76E-6629EF56701C}"/>
                </a:ext>
              </a:extLst>
            </p:cNvPr>
            <p:cNvSpPr/>
            <p:nvPr userDrawn="1"/>
          </p:nvSpPr>
          <p:spPr bwMode="auto">
            <a:xfrm>
              <a:off x="4310063" y="3646488"/>
              <a:ext cx="34925" cy="79375"/>
            </a:xfrm>
            <a:custGeom>
              <a:avLst/>
              <a:gdLst>
                <a:gd name="T0" fmla="*/ 9 w 22"/>
                <a:gd name="T1" fmla="*/ 0 h 50"/>
                <a:gd name="T2" fmla="*/ 0 w 22"/>
                <a:gd name="T3" fmla="*/ 3 h 50"/>
                <a:gd name="T4" fmla="*/ 14 w 22"/>
                <a:gd name="T5" fmla="*/ 50 h 50"/>
                <a:gd name="T6" fmla="*/ 22 w 22"/>
                <a:gd name="T7" fmla="*/ 47 h 50"/>
                <a:gd name="T8" fmla="*/ 9 w 22"/>
                <a:gd name="T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" h="50">
                  <a:moveTo>
                    <a:pt x="9" y="0"/>
                  </a:moveTo>
                  <a:lnTo>
                    <a:pt x="0" y="3"/>
                  </a:lnTo>
                  <a:lnTo>
                    <a:pt x="14" y="50"/>
                  </a:lnTo>
                  <a:lnTo>
                    <a:pt x="22" y="47"/>
                  </a:lnTo>
                  <a:lnTo>
                    <a:pt x="9" y="0"/>
                  </a:lnTo>
                  <a:close/>
                </a:path>
              </a:pathLst>
            </a:custGeom>
            <a:solidFill>
              <a:srgbClr val="D2D3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68" name="îSḻíďe">
              <a:extLst>
                <a:ext uri="{FF2B5EF4-FFF2-40B4-BE49-F238E27FC236}">
                  <a16:creationId xmlns:a16="http://schemas.microsoft.com/office/drawing/2014/main" id="{820DDB9B-09D7-4F38-A85A-5398E2724FD6}"/>
                </a:ext>
              </a:extLst>
            </p:cNvPr>
            <p:cNvSpPr/>
            <p:nvPr userDrawn="1"/>
          </p:nvSpPr>
          <p:spPr bwMode="auto">
            <a:xfrm>
              <a:off x="4337050" y="3638550"/>
              <a:ext cx="34925" cy="77788"/>
            </a:xfrm>
            <a:custGeom>
              <a:avLst/>
              <a:gdLst>
                <a:gd name="T0" fmla="*/ 9 w 22"/>
                <a:gd name="T1" fmla="*/ 0 h 49"/>
                <a:gd name="T2" fmla="*/ 0 w 22"/>
                <a:gd name="T3" fmla="*/ 3 h 49"/>
                <a:gd name="T4" fmla="*/ 14 w 22"/>
                <a:gd name="T5" fmla="*/ 49 h 49"/>
                <a:gd name="T6" fmla="*/ 22 w 22"/>
                <a:gd name="T7" fmla="*/ 46 h 49"/>
                <a:gd name="T8" fmla="*/ 9 w 22"/>
                <a:gd name="T9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" h="49">
                  <a:moveTo>
                    <a:pt x="9" y="0"/>
                  </a:moveTo>
                  <a:lnTo>
                    <a:pt x="0" y="3"/>
                  </a:lnTo>
                  <a:lnTo>
                    <a:pt x="14" y="49"/>
                  </a:lnTo>
                  <a:lnTo>
                    <a:pt x="22" y="46"/>
                  </a:lnTo>
                  <a:lnTo>
                    <a:pt x="9" y="0"/>
                  </a:lnTo>
                  <a:close/>
                </a:path>
              </a:pathLst>
            </a:custGeom>
            <a:solidFill>
              <a:srgbClr val="D2D3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69" name="iSḷîḑê">
              <a:extLst>
                <a:ext uri="{FF2B5EF4-FFF2-40B4-BE49-F238E27FC236}">
                  <a16:creationId xmlns:a16="http://schemas.microsoft.com/office/drawing/2014/main" id="{C3DCA531-FF59-47C2-9BD4-BC0D136FECAB}"/>
                </a:ext>
              </a:extLst>
            </p:cNvPr>
            <p:cNvSpPr/>
            <p:nvPr userDrawn="1"/>
          </p:nvSpPr>
          <p:spPr bwMode="auto">
            <a:xfrm>
              <a:off x="4365625" y="3630613"/>
              <a:ext cx="36513" cy="77788"/>
            </a:xfrm>
            <a:custGeom>
              <a:avLst/>
              <a:gdLst>
                <a:gd name="T0" fmla="*/ 9 w 23"/>
                <a:gd name="T1" fmla="*/ 0 h 49"/>
                <a:gd name="T2" fmla="*/ 0 w 23"/>
                <a:gd name="T3" fmla="*/ 2 h 49"/>
                <a:gd name="T4" fmla="*/ 14 w 23"/>
                <a:gd name="T5" fmla="*/ 49 h 49"/>
                <a:gd name="T6" fmla="*/ 23 w 23"/>
                <a:gd name="T7" fmla="*/ 47 h 49"/>
                <a:gd name="T8" fmla="*/ 9 w 23"/>
                <a:gd name="T9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" h="49">
                  <a:moveTo>
                    <a:pt x="9" y="0"/>
                  </a:moveTo>
                  <a:lnTo>
                    <a:pt x="0" y="2"/>
                  </a:lnTo>
                  <a:lnTo>
                    <a:pt x="14" y="49"/>
                  </a:lnTo>
                  <a:lnTo>
                    <a:pt x="23" y="47"/>
                  </a:lnTo>
                  <a:lnTo>
                    <a:pt x="9" y="0"/>
                  </a:lnTo>
                  <a:close/>
                </a:path>
              </a:pathLst>
            </a:custGeom>
            <a:solidFill>
              <a:srgbClr val="D2D3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70" name="îṡ1ïďê">
              <a:extLst>
                <a:ext uri="{FF2B5EF4-FFF2-40B4-BE49-F238E27FC236}">
                  <a16:creationId xmlns:a16="http://schemas.microsoft.com/office/drawing/2014/main" id="{F28C7F60-2D43-4284-9879-432C3F9384E0}"/>
                </a:ext>
              </a:extLst>
            </p:cNvPr>
            <p:cNvSpPr/>
            <p:nvPr userDrawn="1"/>
          </p:nvSpPr>
          <p:spPr bwMode="auto">
            <a:xfrm>
              <a:off x="4392613" y="3622675"/>
              <a:ext cx="36513" cy="77788"/>
            </a:xfrm>
            <a:custGeom>
              <a:avLst/>
              <a:gdLst>
                <a:gd name="T0" fmla="*/ 9 w 23"/>
                <a:gd name="T1" fmla="*/ 0 h 49"/>
                <a:gd name="T2" fmla="*/ 0 w 23"/>
                <a:gd name="T3" fmla="*/ 2 h 49"/>
                <a:gd name="T4" fmla="*/ 14 w 23"/>
                <a:gd name="T5" fmla="*/ 49 h 49"/>
                <a:gd name="T6" fmla="*/ 23 w 23"/>
                <a:gd name="T7" fmla="*/ 47 h 49"/>
                <a:gd name="T8" fmla="*/ 9 w 23"/>
                <a:gd name="T9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" h="49">
                  <a:moveTo>
                    <a:pt x="9" y="0"/>
                  </a:moveTo>
                  <a:lnTo>
                    <a:pt x="0" y="2"/>
                  </a:lnTo>
                  <a:lnTo>
                    <a:pt x="14" y="49"/>
                  </a:lnTo>
                  <a:lnTo>
                    <a:pt x="23" y="47"/>
                  </a:lnTo>
                  <a:lnTo>
                    <a:pt x="9" y="0"/>
                  </a:lnTo>
                  <a:close/>
                </a:path>
              </a:pathLst>
            </a:custGeom>
            <a:solidFill>
              <a:srgbClr val="D2D3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71" name="îsḷïḓê">
              <a:extLst>
                <a:ext uri="{FF2B5EF4-FFF2-40B4-BE49-F238E27FC236}">
                  <a16:creationId xmlns:a16="http://schemas.microsoft.com/office/drawing/2014/main" id="{0724540A-7E04-45AF-8055-84D541E31954}"/>
                </a:ext>
              </a:extLst>
            </p:cNvPr>
            <p:cNvSpPr/>
            <p:nvPr userDrawn="1"/>
          </p:nvSpPr>
          <p:spPr bwMode="auto">
            <a:xfrm>
              <a:off x="4421188" y="3614738"/>
              <a:ext cx="34925" cy="76200"/>
            </a:xfrm>
            <a:custGeom>
              <a:avLst/>
              <a:gdLst>
                <a:gd name="T0" fmla="*/ 9 w 22"/>
                <a:gd name="T1" fmla="*/ 0 h 48"/>
                <a:gd name="T2" fmla="*/ 0 w 22"/>
                <a:gd name="T3" fmla="*/ 2 h 48"/>
                <a:gd name="T4" fmla="*/ 14 w 22"/>
                <a:gd name="T5" fmla="*/ 48 h 48"/>
                <a:gd name="T6" fmla="*/ 22 w 22"/>
                <a:gd name="T7" fmla="*/ 46 h 48"/>
                <a:gd name="T8" fmla="*/ 9 w 22"/>
                <a:gd name="T9" fmla="*/ 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" h="48">
                  <a:moveTo>
                    <a:pt x="9" y="0"/>
                  </a:moveTo>
                  <a:lnTo>
                    <a:pt x="0" y="2"/>
                  </a:lnTo>
                  <a:lnTo>
                    <a:pt x="14" y="48"/>
                  </a:lnTo>
                  <a:lnTo>
                    <a:pt x="22" y="46"/>
                  </a:lnTo>
                  <a:lnTo>
                    <a:pt x="9" y="0"/>
                  </a:lnTo>
                  <a:close/>
                </a:path>
              </a:pathLst>
            </a:custGeom>
            <a:solidFill>
              <a:srgbClr val="D2D3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72" name="iSḷídê">
              <a:extLst>
                <a:ext uri="{FF2B5EF4-FFF2-40B4-BE49-F238E27FC236}">
                  <a16:creationId xmlns:a16="http://schemas.microsoft.com/office/drawing/2014/main" id="{E57819EF-E998-47F6-B3C8-F3CE5C934191}"/>
                </a:ext>
              </a:extLst>
            </p:cNvPr>
            <p:cNvSpPr/>
            <p:nvPr userDrawn="1"/>
          </p:nvSpPr>
          <p:spPr bwMode="auto">
            <a:xfrm>
              <a:off x="4448175" y="3605213"/>
              <a:ext cx="36513" cy="77788"/>
            </a:xfrm>
            <a:custGeom>
              <a:avLst/>
              <a:gdLst>
                <a:gd name="T0" fmla="*/ 9 w 23"/>
                <a:gd name="T1" fmla="*/ 0 h 49"/>
                <a:gd name="T2" fmla="*/ 0 w 23"/>
                <a:gd name="T3" fmla="*/ 3 h 49"/>
                <a:gd name="T4" fmla="*/ 14 w 23"/>
                <a:gd name="T5" fmla="*/ 49 h 49"/>
                <a:gd name="T6" fmla="*/ 23 w 23"/>
                <a:gd name="T7" fmla="*/ 47 h 49"/>
                <a:gd name="T8" fmla="*/ 9 w 23"/>
                <a:gd name="T9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" h="49">
                  <a:moveTo>
                    <a:pt x="9" y="0"/>
                  </a:moveTo>
                  <a:lnTo>
                    <a:pt x="0" y="3"/>
                  </a:lnTo>
                  <a:lnTo>
                    <a:pt x="14" y="49"/>
                  </a:lnTo>
                  <a:lnTo>
                    <a:pt x="23" y="47"/>
                  </a:lnTo>
                  <a:lnTo>
                    <a:pt x="9" y="0"/>
                  </a:lnTo>
                  <a:close/>
                </a:path>
              </a:pathLst>
            </a:custGeom>
            <a:solidFill>
              <a:srgbClr val="D2D3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73" name="íslîḑé">
              <a:extLst>
                <a:ext uri="{FF2B5EF4-FFF2-40B4-BE49-F238E27FC236}">
                  <a16:creationId xmlns:a16="http://schemas.microsoft.com/office/drawing/2014/main" id="{FB28F069-DF59-42CE-8654-34C02B1D805D}"/>
                </a:ext>
              </a:extLst>
            </p:cNvPr>
            <p:cNvSpPr/>
            <p:nvPr userDrawn="1"/>
          </p:nvSpPr>
          <p:spPr bwMode="auto">
            <a:xfrm>
              <a:off x="4478338" y="3597275"/>
              <a:ext cx="33338" cy="79375"/>
            </a:xfrm>
            <a:custGeom>
              <a:avLst/>
              <a:gdLst>
                <a:gd name="T0" fmla="*/ 7 w 21"/>
                <a:gd name="T1" fmla="*/ 0 h 50"/>
                <a:gd name="T2" fmla="*/ 0 w 21"/>
                <a:gd name="T3" fmla="*/ 3 h 50"/>
                <a:gd name="T4" fmla="*/ 12 w 21"/>
                <a:gd name="T5" fmla="*/ 50 h 50"/>
                <a:gd name="T6" fmla="*/ 21 w 21"/>
                <a:gd name="T7" fmla="*/ 47 h 50"/>
                <a:gd name="T8" fmla="*/ 7 w 21"/>
                <a:gd name="T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" h="50">
                  <a:moveTo>
                    <a:pt x="7" y="0"/>
                  </a:moveTo>
                  <a:lnTo>
                    <a:pt x="0" y="3"/>
                  </a:lnTo>
                  <a:lnTo>
                    <a:pt x="12" y="50"/>
                  </a:lnTo>
                  <a:lnTo>
                    <a:pt x="21" y="47"/>
                  </a:lnTo>
                  <a:lnTo>
                    <a:pt x="7" y="0"/>
                  </a:lnTo>
                  <a:close/>
                </a:path>
              </a:pathLst>
            </a:custGeom>
            <a:solidFill>
              <a:srgbClr val="D2D3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74" name="íSļîḋè">
              <a:extLst>
                <a:ext uri="{FF2B5EF4-FFF2-40B4-BE49-F238E27FC236}">
                  <a16:creationId xmlns:a16="http://schemas.microsoft.com/office/drawing/2014/main" id="{CFA76792-A7AA-444F-9420-E0791E62D870}"/>
                </a:ext>
              </a:extLst>
            </p:cNvPr>
            <p:cNvSpPr/>
            <p:nvPr userDrawn="1"/>
          </p:nvSpPr>
          <p:spPr bwMode="auto">
            <a:xfrm>
              <a:off x="4505325" y="3590925"/>
              <a:ext cx="34925" cy="77788"/>
            </a:xfrm>
            <a:custGeom>
              <a:avLst/>
              <a:gdLst>
                <a:gd name="T0" fmla="*/ 8 w 22"/>
                <a:gd name="T1" fmla="*/ 0 h 49"/>
                <a:gd name="T2" fmla="*/ 0 w 22"/>
                <a:gd name="T3" fmla="*/ 2 h 49"/>
                <a:gd name="T4" fmla="*/ 13 w 22"/>
                <a:gd name="T5" fmla="*/ 49 h 49"/>
                <a:gd name="T6" fmla="*/ 22 w 22"/>
                <a:gd name="T7" fmla="*/ 46 h 49"/>
                <a:gd name="T8" fmla="*/ 8 w 22"/>
                <a:gd name="T9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" h="49">
                  <a:moveTo>
                    <a:pt x="8" y="0"/>
                  </a:moveTo>
                  <a:lnTo>
                    <a:pt x="0" y="2"/>
                  </a:lnTo>
                  <a:lnTo>
                    <a:pt x="13" y="49"/>
                  </a:lnTo>
                  <a:lnTo>
                    <a:pt x="22" y="46"/>
                  </a:lnTo>
                  <a:lnTo>
                    <a:pt x="8" y="0"/>
                  </a:lnTo>
                  <a:close/>
                </a:path>
              </a:pathLst>
            </a:custGeom>
            <a:solidFill>
              <a:srgbClr val="D2D3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75" name="íṩḻîḑê">
              <a:extLst>
                <a:ext uri="{FF2B5EF4-FFF2-40B4-BE49-F238E27FC236}">
                  <a16:creationId xmlns:a16="http://schemas.microsoft.com/office/drawing/2014/main" id="{9EC494CF-376C-463F-A17F-0566EAF636C5}"/>
                </a:ext>
              </a:extLst>
            </p:cNvPr>
            <p:cNvSpPr/>
            <p:nvPr userDrawn="1"/>
          </p:nvSpPr>
          <p:spPr bwMode="auto">
            <a:xfrm>
              <a:off x="4256088" y="3667125"/>
              <a:ext cx="285750" cy="112713"/>
            </a:xfrm>
            <a:custGeom>
              <a:avLst/>
              <a:gdLst>
                <a:gd name="T0" fmla="*/ 180 w 180"/>
                <a:gd name="T1" fmla="*/ 20 h 71"/>
                <a:gd name="T2" fmla="*/ 175 w 180"/>
                <a:gd name="T3" fmla="*/ 0 h 71"/>
                <a:gd name="T4" fmla="*/ 0 w 180"/>
                <a:gd name="T5" fmla="*/ 51 h 71"/>
                <a:gd name="T6" fmla="*/ 5 w 180"/>
                <a:gd name="T7" fmla="*/ 71 h 71"/>
                <a:gd name="T8" fmla="*/ 180 w 180"/>
                <a:gd name="T9" fmla="*/ 20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0" h="71">
                  <a:moveTo>
                    <a:pt x="180" y="20"/>
                  </a:moveTo>
                  <a:lnTo>
                    <a:pt x="175" y="0"/>
                  </a:lnTo>
                  <a:lnTo>
                    <a:pt x="0" y="51"/>
                  </a:lnTo>
                  <a:lnTo>
                    <a:pt x="5" y="71"/>
                  </a:lnTo>
                  <a:lnTo>
                    <a:pt x="180" y="20"/>
                  </a:lnTo>
                  <a:close/>
                </a:path>
              </a:pathLst>
            </a:custGeom>
            <a:solidFill>
              <a:srgbClr val="F56E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76" name="iṣliḑe">
              <a:extLst>
                <a:ext uri="{FF2B5EF4-FFF2-40B4-BE49-F238E27FC236}">
                  <a16:creationId xmlns:a16="http://schemas.microsoft.com/office/drawing/2014/main" id="{EDE7DC76-DD76-4A61-8215-1FE8816825E4}"/>
                </a:ext>
              </a:extLst>
            </p:cNvPr>
            <p:cNvSpPr/>
            <p:nvPr userDrawn="1"/>
          </p:nvSpPr>
          <p:spPr bwMode="auto">
            <a:xfrm>
              <a:off x="4511675" y="3943350"/>
              <a:ext cx="80963" cy="34925"/>
            </a:xfrm>
            <a:custGeom>
              <a:avLst/>
              <a:gdLst>
                <a:gd name="T0" fmla="*/ 51 w 51"/>
                <a:gd name="T1" fmla="*/ 8 h 22"/>
                <a:gd name="T2" fmla="*/ 3 w 51"/>
                <a:gd name="T3" fmla="*/ 22 h 22"/>
                <a:gd name="T4" fmla="*/ 0 w 51"/>
                <a:gd name="T5" fmla="*/ 15 h 22"/>
                <a:gd name="T6" fmla="*/ 49 w 51"/>
                <a:gd name="T7" fmla="*/ 0 h 22"/>
                <a:gd name="T8" fmla="*/ 51 w 51"/>
                <a:gd name="T9" fmla="*/ 8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" h="22">
                  <a:moveTo>
                    <a:pt x="51" y="8"/>
                  </a:moveTo>
                  <a:lnTo>
                    <a:pt x="3" y="22"/>
                  </a:lnTo>
                  <a:lnTo>
                    <a:pt x="0" y="15"/>
                  </a:lnTo>
                  <a:lnTo>
                    <a:pt x="49" y="0"/>
                  </a:lnTo>
                  <a:lnTo>
                    <a:pt x="51" y="8"/>
                  </a:lnTo>
                  <a:close/>
                </a:path>
              </a:pathLst>
            </a:custGeom>
            <a:solidFill>
              <a:srgbClr val="D2D3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77" name="išľiḋê">
              <a:extLst>
                <a:ext uri="{FF2B5EF4-FFF2-40B4-BE49-F238E27FC236}">
                  <a16:creationId xmlns:a16="http://schemas.microsoft.com/office/drawing/2014/main" id="{58FBC3E3-2417-4FF0-9F77-FB73E9D11864}"/>
                </a:ext>
              </a:extLst>
            </p:cNvPr>
            <p:cNvSpPr/>
            <p:nvPr userDrawn="1"/>
          </p:nvSpPr>
          <p:spPr bwMode="auto">
            <a:xfrm>
              <a:off x="4505325" y="3917950"/>
              <a:ext cx="80963" cy="34925"/>
            </a:xfrm>
            <a:custGeom>
              <a:avLst/>
              <a:gdLst>
                <a:gd name="T0" fmla="*/ 51 w 51"/>
                <a:gd name="T1" fmla="*/ 7 h 22"/>
                <a:gd name="T2" fmla="*/ 2 w 51"/>
                <a:gd name="T3" fmla="*/ 22 h 22"/>
                <a:gd name="T4" fmla="*/ 0 w 51"/>
                <a:gd name="T5" fmla="*/ 14 h 22"/>
                <a:gd name="T6" fmla="*/ 48 w 51"/>
                <a:gd name="T7" fmla="*/ 0 h 22"/>
                <a:gd name="T8" fmla="*/ 51 w 51"/>
                <a:gd name="T9" fmla="*/ 7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" h="22">
                  <a:moveTo>
                    <a:pt x="51" y="7"/>
                  </a:moveTo>
                  <a:lnTo>
                    <a:pt x="2" y="22"/>
                  </a:lnTo>
                  <a:lnTo>
                    <a:pt x="0" y="14"/>
                  </a:lnTo>
                  <a:lnTo>
                    <a:pt x="48" y="0"/>
                  </a:lnTo>
                  <a:lnTo>
                    <a:pt x="51" y="7"/>
                  </a:lnTo>
                  <a:close/>
                </a:path>
              </a:pathLst>
            </a:custGeom>
            <a:solidFill>
              <a:srgbClr val="D2D3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78" name="íṣḻïḋé">
              <a:extLst>
                <a:ext uri="{FF2B5EF4-FFF2-40B4-BE49-F238E27FC236}">
                  <a16:creationId xmlns:a16="http://schemas.microsoft.com/office/drawing/2014/main" id="{4E01D6DC-8CD6-42FF-B8C9-C2099BCDE428}"/>
                </a:ext>
              </a:extLst>
            </p:cNvPr>
            <p:cNvSpPr/>
            <p:nvPr userDrawn="1"/>
          </p:nvSpPr>
          <p:spPr bwMode="auto">
            <a:xfrm>
              <a:off x="4495800" y="3890963"/>
              <a:ext cx="80963" cy="36513"/>
            </a:xfrm>
            <a:custGeom>
              <a:avLst/>
              <a:gdLst>
                <a:gd name="T0" fmla="*/ 51 w 51"/>
                <a:gd name="T1" fmla="*/ 8 h 23"/>
                <a:gd name="T2" fmla="*/ 3 w 51"/>
                <a:gd name="T3" fmla="*/ 23 h 23"/>
                <a:gd name="T4" fmla="*/ 0 w 51"/>
                <a:gd name="T5" fmla="*/ 15 h 23"/>
                <a:gd name="T6" fmla="*/ 49 w 51"/>
                <a:gd name="T7" fmla="*/ 0 h 23"/>
                <a:gd name="T8" fmla="*/ 51 w 51"/>
                <a:gd name="T9" fmla="*/ 8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" h="23">
                  <a:moveTo>
                    <a:pt x="51" y="8"/>
                  </a:moveTo>
                  <a:lnTo>
                    <a:pt x="3" y="23"/>
                  </a:lnTo>
                  <a:lnTo>
                    <a:pt x="0" y="15"/>
                  </a:lnTo>
                  <a:lnTo>
                    <a:pt x="49" y="0"/>
                  </a:lnTo>
                  <a:lnTo>
                    <a:pt x="51" y="8"/>
                  </a:lnTo>
                  <a:close/>
                </a:path>
              </a:pathLst>
            </a:custGeom>
            <a:solidFill>
              <a:srgbClr val="D2D3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79" name="îṧḻíḍê">
              <a:extLst>
                <a:ext uri="{FF2B5EF4-FFF2-40B4-BE49-F238E27FC236}">
                  <a16:creationId xmlns:a16="http://schemas.microsoft.com/office/drawing/2014/main" id="{0CB45A26-B309-4305-A5B7-2BB74D36AD71}"/>
                </a:ext>
              </a:extLst>
            </p:cNvPr>
            <p:cNvSpPr/>
            <p:nvPr userDrawn="1"/>
          </p:nvSpPr>
          <p:spPr bwMode="auto">
            <a:xfrm>
              <a:off x="4330700" y="3884613"/>
              <a:ext cx="77788" cy="77788"/>
            </a:xfrm>
            <a:custGeom>
              <a:avLst/>
              <a:gdLst>
                <a:gd name="T0" fmla="*/ 42 w 46"/>
                <a:gd name="T1" fmla="*/ 17 h 46"/>
                <a:gd name="T2" fmla="*/ 28 w 46"/>
                <a:gd name="T3" fmla="*/ 43 h 46"/>
                <a:gd name="T4" fmla="*/ 3 w 46"/>
                <a:gd name="T5" fmla="*/ 29 h 46"/>
                <a:gd name="T6" fmla="*/ 17 w 46"/>
                <a:gd name="T7" fmla="*/ 3 h 46"/>
                <a:gd name="T8" fmla="*/ 42 w 46"/>
                <a:gd name="T9" fmla="*/ 17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6" h="46">
                  <a:moveTo>
                    <a:pt x="42" y="17"/>
                  </a:moveTo>
                  <a:cubicBezTo>
                    <a:pt x="46" y="28"/>
                    <a:pt x="39" y="39"/>
                    <a:pt x="28" y="43"/>
                  </a:cubicBezTo>
                  <a:cubicBezTo>
                    <a:pt x="17" y="46"/>
                    <a:pt x="6" y="40"/>
                    <a:pt x="3" y="29"/>
                  </a:cubicBezTo>
                  <a:cubicBezTo>
                    <a:pt x="0" y="18"/>
                    <a:pt x="6" y="6"/>
                    <a:pt x="17" y="3"/>
                  </a:cubicBezTo>
                  <a:cubicBezTo>
                    <a:pt x="28" y="0"/>
                    <a:pt x="39" y="6"/>
                    <a:pt x="42" y="17"/>
                  </a:cubicBezTo>
                  <a:close/>
                </a:path>
              </a:pathLst>
            </a:custGeom>
            <a:solidFill>
              <a:srgbClr val="4675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0" name="íşḷíḍe">
              <a:extLst>
                <a:ext uri="{FF2B5EF4-FFF2-40B4-BE49-F238E27FC236}">
                  <a16:creationId xmlns:a16="http://schemas.microsoft.com/office/drawing/2014/main" id="{D98AD8C5-6D55-4838-BC41-DF8D849F9271}"/>
                </a:ext>
              </a:extLst>
            </p:cNvPr>
            <p:cNvSpPr/>
            <p:nvPr userDrawn="1"/>
          </p:nvSpPr>
          <p:spPr bwMode="auto">
            <a:xfrm>
              <a:off x="4411663" y="4197350"/>
              <a:ext cx="295275" cy="152400"/>
            </a:xfrm>
            <a:custGeom>
              <a:avLst/>
              <a:gdLst>
                <a:gd name="T0" fmla="*/ 152 w 175"/>
                <a:gd name="T1" fmla="*/ 22 h 90"/>
                <a:gd name="T2" fmla="*/ 23 w 175"/>
                <a:gd name="T3" fmla="*/ 60 h 90"/>
                <a:gd name="T4" fmla="*/ 0 w 175"/>
                <a:gd name="T5" fmla="*/ 48 h 90"/>
                <a:gd name="T6" fmla="*/ 8 w 175"/>
                <a:gd name="T7" fmla="*/ 75 h 90"/>
                <a:gd name="T8" fmla="*/ 31 w 175"/>
                <a:gd name="T9" fmla="*/ 87 h 90"/>
                <a:gd name="T10" fmla="*/ 160 w 175"/>
                <a:gd name="T11" fmla="*/ 49 h 90"/>
                <a:gd name="T12" fmla="*/ 172 w 175"/>
                <a:gd name="T13" fmla="*/ 27 h 90"/>
                <a:gd name="T14" fmla="*/ 164 w 175"/>
                <a:gd name="T15" fmla="*/ 0 h 90"/>
                <a:gd name="T16" fmla="*/ 152 w 175"/>
                <a:gd name="T17" fmla="*/ 22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5" h="90">
                  <a:moveTo>
                    <a:pt x="152" y="22"/>
                  </a:moveTo>
                  <a:cubicBezTo>
                    <a:pt x="23" y="60"/>
                    <a:pt x="23" y="60"/>
                    <a:pt x="23" y="60"/>
                  </a:cubicBezTo>
                  <a:cubicBezTo>
                    <a:pt x="13" y="63"/>
                    <a:pt x="3" y="58"/>
                    <a:pt x="0" y="48"/>
                  </a:cubicBezTo>
                  <a:cubicBezTo>
                    <a:pt x="8" y="75"/>
                    <a:pt x="8" y="75"/>
                    <a:pt x="8" y="75"/>
                  </a:cubicBezTo>
                  <a:cubicBezTo>
                    <a:pt x="11" y="85"/>
                    <a:pt x="21" y="90"/>
                    <a:pt x="31" y="87"/>
                  </a:cubicBezTo>
                  <a:cubicBezTo>
                    <a:pt x="160" y="49"/>
                    <a:pt x="160" y="49"/>
                    <a:pt x="160" y="49"/>
                  </a:cubicBezTo>
                  <a:cubicBezTo>
                    <a:pt x="169" y="47"/>
                    <a:pt x="175" y="37"/>
                    <a:pt x="172" y="27"/>
                  </a:cubicBezTo>
                  <a:cubicBezTo>
                    <a:pt x="164" y="0"/>
                    <a:pt x="164" y="0"/>
                    <a:pt x="164" y="0"/>
                  </a:cubicBezTo>
                  <a:cubicBezTo>
                    <a:pt x="167" y="9"/>
                    <a:pt x="161" y="20"/>
                    <a:pt x="152" y="22"/>
                  </a:cubicBezTo>
                  <a:close/>
                </a:path>
              </a:pathLst>
            </a:custGeom>
            <a:solidFill>
              <a:srgbClr val="F56E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1" name="ïṥľïḍé">
              <a:extLst>
                <a:ext uri="{FF2B5EF4-FFF2-40B4-BE49-F238E27FC236}">
                  <a16:creationId xmlns:a16="http://schemas.microsoft.com/office/drawing/2014/main" id="{DF3EFD0F-C212-4345-9EC5-95C4BBD48D98}"/>
                </a:ext>
              </a:extLst>
            </p:cNvPr>
            <p:cNvSpPr/>
            <p:nvPr userDrawn="1"/>
          </p:nvSpPr>
          <p:spPr bwMode="auto">
            <a:xfrm>
              <a:off x="4827588" y="3898900"/>
              <a:ext cx="447675" cy="503238"/>
            </a:xfrm>
            <a:custGeom>
              <a:avLst/>
              <a:gdLst>
                <a:gd name="T0" fmla="*/ 236 w 265"/>
                <a:gd name="T1" fmla="*/ 45 h 298"/>
                <a:gd name="T2" fmla="*/ 239 w 265"/>
                <a:gd name="T3" fmla="*/ 31 h 298"/>
                <a:gd name="T4" fmla="*/ 81 w 265"/>
                <a:gd name="T5" fmla="*/ 0 h 298"/>
                <a:gd name="T6" fmla="*/ 79 w 265"/>
                <a:gd name="T7" fmla="*/ 14 h 298"/>
                <a:gd name="T8" fmla="*/ 38 w 265"/>
                <a:gd name="T9" fmla="*/ 46 h 298"/>
                <a:gd name="T10" fmla="*/ 4 w 265"/>
                <a:gd name="T11" fmla="*/ 218 h 298"/>
                <a:gd name="T12" fmla="*/ 43 w 265"/>
                <a:gd name="T13" fmla="*/ 267 h 298"/>
                <a:gd name="T14" fmla="*/ 173 w 265"/>
                <a:gd name="T15" fmla="*/ 293 h 298"/>
                <a:gd name="T16" fmla="*/ 228 w 265"/>
                <a:gd name="T17" fmla="*/ 262 h 298"/>
                <a:gd name="T18" fmla="*/ 262 w 265"/>
                <a:gd name="T19" fmla="*/ 90 h 298"/>
                <a:gd name="T20" fmla="*/ 236 w 265"/>
                <a:gd name="T21" fmla="*/ 45 h 2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65" h="298">
                  <a:moveTo>
                    <a:pt x="236" y="45"/>
                  </a:moveTo>
                  <a:cubicBezTo>
                    <a:pt x="239" y="31"/>
                    <a:pt x="239" y="31"/>
                    <a:pt x="239" y="31"/>
                  </a:cubicBezTo>
                  <a:cubicBezTo>
                    <a:pt x="81" y="0"/>
                    <a:pt x="81" y="0"/>
                    <a:pt x="81" y="0"/>
                  </a:cubicBezTo>
                  <a:cubicBezTo>
                    <a:pt x="79" y="14"/>
                    <a:pt x="79" y="14"/>
                    <a:pt x="79" y="14"/>
                  </a:cubicBezTo>
                  <a:cubicBezTo>
                    <a:pt x="59" y="15"/>
                    <a:pt x="42" y="28"/>
                    <a:pt x="38" y="46"/>
                  </a:cubicBezTo>
                  <a:cubicBezTo>
                    <a:pt x="4" y="218"/>
                    <a:pt x="4" y="218"/>
                    <a:pt x="4" y="218"/>
                  </a:cubicBezTo>
                  <a:cubicBezTo>
                    <a:pt x="0" y="240"/>
                    <a:pt x="18" y="262"/>
                    <a:pt x="43" y="267"/>
                  </a:cubicBezTo>
                  <a:cubicBezTo>
                    <a:pt x="173" y="293"/>
                    <a:pt x="173" y="293"/>
                    <a:pt x="173" y="293"/>
                  </a:cubicBezTo>
                  <a:cubicBezTo>
                    <a:pt x="199" y="298"/>
                    <a:pt x="223" y="284"/>
                    <a:pt x="228" y="262"/>
                  </a:cubicBezTo>
                  <a:cubicBezTo>
                    <a:pt x="262" y="90"/>
                    <a:pt x="262" y="90"/>
                    <a:pt x="262" y="90"/>
                  </a:cubicBezTo>
                  <a:cubicBezTo>
                    <a:pt x="265" y="72"/>
                    <a:pt x="254" y="54"/>
                    <a:pt x="236" y="45"/>
                  </a:cubicBezTo>
                  <a:close/>
                </a:path>
              </a:pathLst>
            </a:custGeom>
            <a:solidFill>
              <a:srgbClr val="4675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2" name="î$ľiḑé">
              <a:extLst>
                <a:ext uri="{FF2B5EF4-FFF2-40B4-BE49-F238E27FC236}">
                  <a16:creationId xmlns:a16="http://schemas.microsoft.com/office/drawing/2014/main" id="{A419DD48-348A-4D3E-BA6A-B6348C66F5C0}"/>
                </a:ext>
              </a:extLst>
            </p:cNvPr>
            <p:cNvSpPr/>
            <p:nvPr userDrawn="1"/>
          </p:nvSpPr>
          <p:spPr bwMode="auto">
            <a:xfrm>
              <a:off x="4962525" y="3898900"/>
              <a:ext cx="269875" cy="68263"/>
            </a:xfrm>
            <a:custGeom>
              <a:avLst/>
              <a:gdLst>
                <a:gd name="T0" fmla="*/ 168 w 170"/>
                <a:gd name="T1" fmla="*/ 43 h 43"/>
                <a:gd name="T2" fmla="*/ 0 w 170"/>
                <a:gd name="T3" fmla="*/ 10 h 43"/>
                <a:gd name="T4" fmla="*/ 1 w 170"/>
                <a:gd name="T5" fmla="*/ 0 h 43"/>
                <a:gd name="T6" fmla="*/ 170 w 170"/>
                <a:gd name="T7" fmla="*/ 33 h 43"/>
                <a:gd name="T8" fmla="*/ 168 w 170"/>
                <a:gd name="T9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0" h="43">
                  <a:moveTo>
                    <a:pt x="168" y="43"/>
                  </a:moveTo>
                  <a:lnTo>
                    <a:pt x="0" y="10"/>
                  </a:lnTo>
                  <a:lnTo>
                    <a:pt x="1" y="0"/>
                  </a:lnTo>
                  <a:lnTo>
                    <a:pt x="170" y="33"/>
                  </a:lnTo>
                  <a:lnTo>
                    <a:pt x="168" y="43"/>
                  </a:lnTo>
                  <a:close/>
                </a:path>
              </a:pathLst>
            </a:custGeom>
            <a:solidFill>
              <a:srgbClr val="3D69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3" name="i$ḷîḍé">
              <a:extLst>
                <a:ext uri="{FF2B5EF4-FFF2-40B4-BE49-F238E27FC236}">
                  <a16:creationId xmlns:a16="http://schemas.microsoft.com/office/drawing/2014/main" id="{356C1F8B-6A0C-4F39-A478-D065567266CE}"/>
                </a:ext>
              </a:extLst>
            </p:cNvPr>
            <p:cNvSpPr/>
            <p:nvPr userDrawn="1"/>
          </p:nvSpPr>
          <p:spPr bwMode="auto">
            <a:xfrm>
              <a:off x="4946650" y="3822700"/>
              <a:ext cx="319088" cy="133350"/>
            </a:xfrm>
            <a:custGeom>
              <a:avLst/>
              <a:gdLst>
                <a:gd name="T0" fmla="*/ 201 w 201"/>
                <a:gd name="T1" fmla="*/ 39 h 84"/>
                <a:gd name="T2" fmla="*/ 8 w 201"/>
                <a:gd name="T3" fmla="*/ 0 h 84"/>
                <a:gd name="T4" fmla="*/ 0 w 201"/>
                <a:gd name="T5" fmla="*/ 46 h 84"/>
                <a:gd name="T6" fmla="*/ 191 w 201"/>
                <a:gd name="T7" fmla="*/ 84 h 84"/>
                <a:gd name="T8" fmla="*/ 201 w 201"/>
                <a:gd name="T9" fmla="*/ 39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1" h="84">
                  <a:moveTo>
                    <a:pt x="201" y="39"/>
                  </a:moveTo>
                  <a:lnTo>
                    <a:pt x="8" y="0"/>
                  </a:lnTo>
                  <a:lnTo>
                    <a:pt x="0" y="46"/>
                  </a:lnTo>
                  <a:lnTo>
                    <a:pt x="191" y="84"/>
                  </a:lnTo>
                  <a:lnTo>
                    <a:pt x="201" y="39"/>
                  </a:lnTo>
                  <a:close/>
                </a:path>
              </a:pathLst>
            </a:custGeom>
            <a:solidFill>
              <a:srgbClr val="FBFCF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4" name="îṣlídê">
              <a:extLst>
                <a:ext uri="{FF2B5EF4-FFF2-40B4-BE49-F238E27FC236}">
                  <a16:creationId xmlns:a16="http://schemas.microsoft.com/office/drawing/2014/main" id="{87F9EEBA-26B9-498E-83F6-F7D1AE508224}"/>
                </a:ext>
              </a:extLst>
            </p:cNvPr>
            <p:cNvSpPr/>
            <p:nvPr userDrawn="1"/>
          </p:nvSpPr>
          <p:spPr bwMode="auto">
            <a:xfrm>
              <a:off x="4956175" y="3824288"/>
              <a:ext cx="26988" cy="76200"/>
            </a:xfrm>
            <a:custGeom>
              <a:avLst/>
              <a:gdLst>
                <a:gd name="T0" fmla="*/ 17 w 17"/>
                <a:gd name="T1" fmla="*/ 3 h 48"/>
                <a:gd name="T2" fmla="*/ 10 w 17"/>
                <a:gd name="T3" fmla="*/ 0 h 48"/>
                <a:gd name="T4" fmla="*/ 0 w 17"/>
                <a:gd name="T5" fmla="*/ 46 h 48"/>
                <a:gd name="T6" fmla="*/ 9 w 17"/>
                <a:gd name="T7" fmla="*/ 48 h 48"/>
                <a:gd name="T8" fmla="*/ 17 w 17"/>
                <a:gd name="T9" fmla="*/ 3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48">
                  <a:moveTo>
                    <a:pt x="17" y="3"/>
                  </a:moveTo>
                  <a:lnTo>
                    <a:pt x="10" y="0"/>
                  </a:lnTo>
                  <a:lnTo>
                    <a:pt x="0" y="46"/>
                  </a:lnTo>
                  <a:lnTo>
                    <a:pt x="9" y="48"/>
                  </a:lnTo>
                  <a:lnTo>
                    <a:pt x="17" y="3"/>
                  </a:lnTo>
                  <a:close/>
                </a:path>
              </a:pathLst>
            </a:custGeom>
            <a:solidFill>
              <a:srgbClr val="D2D3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5" name="iṥ1íďé">
              <a:extLst>
                <a:ext uri="{FF2B5EF4-FFF2-40B4-BE49-F238E27FC236}">
                  <a16:creationId xmlns:a16="http://schemas.microsoft.com/office/drawing/2014/main" id="{FD2A9D5E-4301-4C51-A9D5-9F6242BC24F0}"/>
                </a:ext>
              </a:extLst>
            </p:cNvPr>
            <p:cNvSpPr/>
            <p:nvPr userDrawn="1"/>
          </p:nvSpPr>
          <p:spPr bwMode="auto">
            <a:xfrm>
              <a:off x="4983163" y="3832225"/>
              <a:ext cx="26988" cy="74613"/>
            </a:xfrm>
            <a:custGeom>
              <a:avLst/>
              <a:gdLst>
                <a:gd name="T0" fmla="*/ 17 w 17"/>
                <a:gd name="T1" fmla="*/ 1 h 47"/>
                <a:gd name="T2" fmla="*/ 10 w 17"/>
                <a:gd name="T3" fmla="*/ 0 h 47"/>
                <a:gd name="T4" fmla="*/ 0 w 17"/>
                <a:gd name="T5" fmla="*/ 45 h 47"/>
                <a:gd name="T6" fmla="*/ 9 w 17"/>
                <a:gd name="T7" fmla="*/ 47 h 47"/>
                <a:gd name="T8" fmla="*/ 17 w 17"/>
                <a:gd name="T9" fmla="*/ 1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47">
                  <a:moveTo>
                    <a:pt x="17" y="1"/>
                  </a:moveTo>
                  <a:lnTo>
                    <a:pt x="10" y="0"/>
                  </a:lnTo>
                  <a:lnTo>
                    <a:pt x="0" y="45"/>
                  </a:lnTo>
                  <a:lnTo>
                    <a:pt x="9" y="47"/>
                  </a:lnTo>
                  <a:lnTo>
                    <a:pt x="17" y="1"/>
                  </a:lnTo>
                  <a:close/>
                </a:path>
              </a:pathLst>
            </a:custGeom>
            <a:solidFill>
              <a:srgbClr val="D2D3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6" name="íṧľiḋé">
              <a:extLst>
                <a:ext uri="{FF2B5EF4-FFF2-40B4-BE49-F238E27FC236}">
                  <a16:creationId xmlns:a16="http://schemas.microsoft.com/office/drawing/2014/main" id="{247D08FA-E148-4731-801E-61DE50963D0A}"/>
                </a:ext>
              </a:extLst>
            </p:cNvPr>
            <p:cNvSpPr/>
            <p:nvPr userDrawn="1"/>
          </p:nvSpPr>
          <p:spPr bwMode="auto">
            <a:xfrm>
              <a:off x="5010150" y="3836988"/>
              <a:ext cx="26988" cy="74613"/>
            </a:xfrm>
            <a:custGeom>
              <a:avLst/>
              <a:gdLst>
                <a:gd name="T0" fmla="*/ 17 w 17"/>
                <a:gd name="T1" fmla="*/ 1 h 47"/>
                <a:gd name="T2" fmla="*/ 10 w 17"/>
                <a:gd name="T3" fmla="*/ 0 h 47"/>
                <a:gd name="T4" fmla="*/ 0 w 17"/>
                <a:gd name="T5" fmla="*/ 46 h 47"/>
                <a:gd name="T6" fmla="*/ 9 w 17"/>
                <a:gd name="T7" fmla="*/ 47 h 47"/>
                <a:gd name="T8" fmla="*/ 17 w 17"/>
                <a:gd name="T9" fmla="*/ 1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47">
                  <a:moveTo>
                    <a:pt x="17" y="1"/>
                  </a:moveTo>
                  <a:lnTo>
                    <a:pt x="10" y="0"/>
                  </a:lnTo>
                  <a:lnTo>
                    <a:pt x="0" y="46"/>
                  </a:lnTo>
                  <a:lnTo>
                    <a:pt x="9" y="47"/>
                  </a:lnTo>
                  <a:lnTo>
                    <a:pt x="17" y="1"/>
                  </a:lnTo>
                  <a:close/>
                </a:path>
              </a:pathLst>
            </a:custGeom>
            <a:solidFill>
              <a:srgbClr val="D2D3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7" name="íṡlíde">
              <a:extLst>
                <a:ext uri="{FF2B5EF4-FFF2-40B4-BE49-F238E27FC236}">
                  <a16:creationId xmlns:a16="http://schemas.microsoft.com/office/drawing/2014/main" id="{21CCDB8C-C350-4B26-9FC2-8152FAE717B9}"/>
                </a:ext>
              </a:extLst>
            </p:cNvPr>
            <p:cNvSpPr/>
            <p:nvPr userDrawn="1"/>
          </p:nvSpPr>
          <p:spPr bwMode="auto">
            <a:xfrm>
              <a:off x="5037138" y="3841750"/>
              <a:ext cx="26988" cy="74613"/>
            </a:xfrm>
            <a:custGeom>
              <a:avLst/>
              <a:gdLst>
                <a:gd name="T0" fmla="*/ 17 w 17"/>
                <a:gd name="T1" fmla="*/ 2 h 47"/>
                <a:gd name="T2" fmla="*/ 10 w 17"/>
                <a:gd name="T3" fmla="*/ 0 h 47"/>
                <a:gd name="T4" fmla="*/ 0 w 17"/>
                <a:gd name="T5" fmla="*/ 46 h 47"/>
                <a:gd name="T6" fmla="*/ 9 w 17"/>
                <a:gd name="T7" fmla="*/ 47 h 47"/>
                <a:gd name="T8" fmla="*/ 17 w 17"/>
                <a:gd name="T9" fmla="*/ 2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47">
                  <a:moveTo>
                    <a:pt x="17" y="2"/>
                  </a:moveTo>
                  <a:lnTo>
                    <a:pt x="10" y="0"/>
                  </a:lnTo>
                  <a:lnTo>
                    <a:pt x="0" y="46"/>
                  </a:lnTo>
                  <a:lnTo>
                    <a:pt x="9" y="47"/>
                  </a:lnTo>
                  <a:lnTo>
                    <a:pt x="17" y="2"/>
                  </a:lnTo>
                  <a:close/>
                </a:path>
              </a:pathLst>
            </a:custGeom>
            <a:solidFill>
              <a:srgbClr val="D2D3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8" name="iṥliḍe">
              <a:extLst>
                <a:ext uri="{FF2B5EF4-FFF2-40B4-BE49-F238E27FC236}">
                  <a16:creationId xmlns:a16="http://schemas.microsoft.com/office/drawing/2014/main" id="{B1FD934D-C424-47E1-80E4-944D1DD1F1C5}"/>
                </a:ext>
              </a:extLst>
            </p:cNvPr>
            <p:cNvSpPr/>
            <p:nvPr userDrawn="1"/>
          </p:nvSpPr>
          <p:spPr bwMode="auto">
            <a:xfrm>
              <a:off x="5064125" y="3846513"/>
              <a:ext cx="26988" cy="76200"/>
            </a:xfrm>
            <a:custGeom>
              <a:avLst/>
              <a:gdLst>
                <a:gd name="T0" fmla="*/ 17 w 17"/>
                <a:gd name="T1" fmla="*/ 2 h 48"/>
                <a:gd name="T2" fmla="*/ 10 w 17"/>
                <a:gd name="T3" fmla="*/ 0 h 48"/>
                <a:gd name="T4" fmla="*/ 0 w 17"/>
                <a:gd name="T5" fmla="*/ 46 h 48"/>
                <a:gd name="T6" fmla="*/ 9 w 17"/>
                <a:gd name="T7" fmla="*/ 48 h 48"/>
                <a:gd name="T8" fmla="*/ 17 w 17"/>
                <a:gd name="T9" fmla="*/ 2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48">
                  <a:moveTo>
                    <a:pt x="17" y="2"/>
                  </a:moveTo>
                  <a:lnTo>
                    <a:pt x="10" y="0"/>
                  </a:lnTo>
                  <a:lnTo>
                    <a:pt x="0" y="46"/>
                  </a:lnTo>
                  <a:lnTo>
                    <a:pt x="9" y="48"/>
                  </a:lnTo>
                  <a:lnTo>
                    <a:pt x="17" y="2"/>
                  </a:lnTo>
                  <a:close/>
                </a:path>
              </a:pathLst>
            </a:custGeom>
            <a:solidFill>
              <a:srgbClr val="D2D3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9" name="iṥļiḓê">
              <a:extLst>
                <a:ext uri="{FF2B5EF4-FFF2-40B4-BE49-F238E27FC236}">
                  <a16:creationId xmlns:a16="http://schemas.microsoft.com/office/drawing/2014/main" id="{6EA31101-06D2-4A9D-96B7-9862B7C3BF3D}"/>
                </a:ext>
              </a:extLst>
            </p:cNvPr>
            <p:cNvSpPr/>
            <p:nvPr userDrawn="1"/>
          </p:nvSpPr>
          <p:spPr bwMode="auto">
            <a:xfrm>
              <a:off x="5091113" y="3851275"/>
              <a:ext cx="26988" cy="76200"/>
            </a:xfrm>
            <a:custGeom>
              <a:avLst/>
              <a:gdLst>
                <a:gd name="T0" fmla="*/ 17 w 17"/>
                <a:gd name="T1" fmla="*/ 3 h 48"/>
                <a:gd name="T2" fmla="*/ 10 w 17"/>
                <a:gd name="T3" fmla="*/ 0 h 48"/>
                <a:gd name="T4" fmla="*/ 0 w 17"/>
                <a:gd name="T5" fmla="*/ 46 h 48"/>
                <a:gd name="T6" fmla="*/ 9 w 17"/>
                <a:gd name="T7" fmla="*/ 48 h 48"/>
                <a:gd name="T8" fmla="*/ 17 w 17"/>
                <a:gd name="T9" fmla="*/ 3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48">
                  <a:moveTo>
                    <a:pt x="17" y="3"/>
                  </a:moveTo>
                  <a:lnTo>
                    <a:pt x="10" y="0"/>
                  </a:lnTo>
                  <a:lnTo>
                    <a:pt x="0" y="46"/>
                  </a:lnTo>
                  <a:lnTo>
                    <a:pt x="9" y="48"/>
                  </a:lnTo>
                  <a:lnTo>
                    <a:pt x="17" y="3"/>
                  </a:lnTo>
                  <a:close/>
                </a:path>
              </a:pathLst>
            </a:custGeom>
            <a:solidFill>
              <a:srgbClr val="D2D3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90" name="iṥļîďê">
              <a:extLst>
                <a:ext uri="{FF2B5EF4-FFF2-40B4-BE49-F238E27FC236}">
                  <a16:creationId xmlns:a16="http://schemas.microsoft.com/office/drawing/2014/main" id="{B7C7D426-A827-40AD-B2AB-F0026716B490}"/>
                </a:ext>
              </a:extLst>
            </p:cNvPr>
            <p:cNvSpPr/>
            <p:nvPr userDrawn="1"/>
          </p:nvSpPr>
          <p:spPr bwMode="auto">
            <a:xfrm>
              <a:off x="5118100" y="3859213"/>
              <a:ext cx="28575" cy="74613"/>
            </a:xfrm>
            <a:custGeom>
              <a:avLst/>
              <a:gdLst>
                <a:gd name="T0" fmla="*/ 18 w 18"/>
                <a:gd name="T1" fmla="*/ 1 h 47"/>
                <a:gd name="T2" fmla="*/ 10 w 18"/>
                <a:gd name="T3" fmla="*/ 0 h 47"/>
                <a:gd name="T4" fmla="*/ 0 w 18"/>
                <a:gd name="T5" fmla="*/ 45 h 47"/>
                <a:gd name="T6" fmla="*/ 9 w 18"/>
                <a:gd name="T7" fmla="*/ 47 h 47"/>
                <a:gd name="T8" fmla="*/ 18 w 18"/>
                <a:gd name="T9" fmla="*/ 1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47">
                  <a:moveTo>
                    <a:pt x="18" y="1"/>
                  </a:moveTo>
                  <a:lnTo>
                    <a:pt x="10" y="0"/>
                  </a:lnTo>
                  <a:lnTo>
                    <a:pt x="0" y="45"/>
                  </a:lnTo>
                  <a:lnTo>
                    <a:pt x="9" y="47"/>
                  </a:lnTo>
                  <a:lnTo>
                    <a:pt x="18" y="1"/>
                  </a:lnTo>
                  <a:close/>
                </a:path>
              </a:pathLst>
            </a:custGeom>
            <a:solidFill>
              <a:srgbClr val="D2D3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91" name="íṡlîḓê">
              <a:extLst>
                <a:ext uri="{FF2B5EF4-FFF2-40B4-BE49-F238E27FC236}">
                  <a16:creationId xmlns:a16="http://schemas.microsoft.com/office/drawing/2014/main" id="{562A24AA-2A73-4F37-8CC5-4AB70E20B779}"/>
                </a:ext>
              </a:extLst>
            </p:cNvPr>
            <p:cNvSpPr/>
            <p:nvPr userDrawn="1"/>
          </p:nvSpPr>
          <p:spPr bwMode="auto">
            <a:xfrm>
              <a:off x="5145088" y="3863975"/>
              <a:ext cx="28575" cy="74613"/>
            </a:xfrm>
            <a:custGeom>
              <a:avLst/>
              <a:gdLst>
                <a:gd name="T0" fmla="*/ 18 w 18"/>
                <a:gd name="T1" fmla="*/ 1 h 47"/>
                <a:gd name="T2" fmla="*/ 10 w 18"/>
                <a:gd name="T3" fmla="*/ 0 h 47"/>
                <a:gd name="T4" fmla="*/ 0 w 18"/>
                <a:gd name="T5" fmla="*/ 46 h 47"/>
                <a:gd name="T6" fmla="*/ 9 w 18"/>
                <a:gd name="T7" fmla="*/ 47 h 47"/>
                <a:gd name="T8" fmla="*/ 18 w 18"/>
                <a:gd name="T9" fmla="*/ 1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47">
                  <a:moveTo>
                    <a:pt x="18" y="1"/>
                  </a:moveTo>
                  <a:lnTo>
                    <a:pt x="10" y="0"/>
                  </a:lnTo>
                  <a:lnTo>
                    <a:pt x="0" y="46"/>
                  </a:lnTo>
                  <a:lnTo>
                    <a:pt x="9" y="47"/>
                  </a:lnTo>
                  <a:lnTo>
                    <a:pt x="18" y="1"/>
                  </a:lnTo>
                  <a:close/>
                </a:path>
              </a:pathLst>
            </a:custGeom>
            <a:solidFill>
              <a:srgbClr val="D2D3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92" name="íş1iḍê">
              <a:extLst>
                <a:ext uri="{FF2B5EF4-FFF2-40B4-BE49-F238E27FC236}">
                  <a16:creationId xmlns:a16="http://schemas.microsoft.com/office/drawing/2014/main" id="{3C23DDDB-2E60-4521-9600-C18DF0480C1A}"/>
                </a:ext>
              </a:extLst>
            </p:cNvPr>
            <p:cNvSpPr/>
            <p:nvPr userDrawn="1"/>
          </p:nvSpPr>
          <p:spPr bwMode="auto">
            <a:xfrm>
              <a:off x="5172075" y="3868738"/>
              <a:ext cx="28575" cy="76200"/>
            </a:xfrm>
            <a:custGeom>
              <a:avLst/>
              <a:gdLst>
                <a:gd name="T0" fmla="*/ 18 w 18"/>
                <a:gd name="T1" fmla="*/ 2 h 48"/>
                <a:gd name="T2" fmla="*/ 10 w 18"/>
                <a:gd name="T3" fmla="*/ 0 h 48"/>
                <a:gd name="T4" fmla="*/ 0 w 18"/>
                <a:gd name="T5" fmla="*/ 46 h 48"/>
                <a:gd name="T6" fmla="*/ 9 w 18"/>
                <a:gd name="T7" fmla="*/ 48 h 48"/>
                <a:gd name="T8" fmla="*/ 18 w 18"/>
                <a:gd name="T9" fmla="*/ 2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48">
                  <a:moveTo>
                    <a:pt x="18" y="2"/>
                  </a:moveTo>
                  <a:lnTo>
                    <a:pt x="10" y="0"/>
                  </a:lnTo>
                  <a:lnTo>
                    <a:pt x="0" y="46"/>
                  </a:lnTo>
                  <a:lnTo>
                    <a:pt x="9" y="48"/>
                  </a:lnTo>
                  <a:lnTo>
                    <a:pt x="18" y="2"/>
                  </a:lnTo>
                  <a:close/>
                </a:path>
              </a:pathLst>
            </a:custGeom>
            <a:solidFill>
              <a:srgbClr val="D2D3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93" name="í$ļiḋè">
              <a:extLst>
                <a:ext uri="{FF2B5EF4-FFF2-40B4-BE49-F238E27FC236}">
                  <a16:creationId xmlns:a16="http://schemas.microsoft.com/office/drawing/2014/main" id="{8235E84C-3709-4939-968F-6BCC28143CD6}"/>
                </a:ext>
              </a:extLst>
            </p:cNvPr>
            <p:cNvSpPr/>
            <p:nvPr userDrawn="1"/>
          </p:nvSpPr>
          <p:spPr bwMode="auto">
            <a:xfrm>
              <a:off x="5199063" y="3873500"/>
              <a:ext cx="30163" cy="76200"/>
            </a:xfrm>
            <a:custGeom>
              <a:avLst/>
              <a:gdLst>
                <a:gd name="T0" fmla="*/ 19 w 19"/>
                <a:gd name="T1" fmla="*/ 2 h 48"/>
                <a:gd name="T2" fmla="*/ 10 w 19"/>
                <a:gd name="T3" fmla="*/ 0 h 48"/>
                <a:gd name="T4" fmla="*/ 0 w 19"/>
                <a:gd name="T5" fmla="*/ 46 h 48"/>
                <a:gd name="T6" fmla="*/ 9 w 19"/>
                <a:gd name="T7" fmla="*/ 48 h 48"/>
                <a:gd name="T8" fmla="*/ 19 w 19"/>
                <a:gd name="T9" fmla="*/ 2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48">
                  <a:moveTo>
                    <a:pt x="19" y="2"/>
                  </a:moveTo>
                  <a:lnTo>
                    <a:pt x="10" y="0"/>
                  </a:lnTo>
                  <a:lnTo>
                    <a:pt x="0" y="46"/>
                  </a:lnTo>
                  <a:lnTo>
                    <a:pt x="9" y="48"/>
                  </a:lnTo>
                  <a:lnTo>
                    <a:pt x="19" y="2"/>
                  </a:lnTo>
                  <a:close/>
                </a:path>
              </a:pathLst>
            </a:custGeom>
            <a:solidFill>
              <a:srgbClr val="D2D3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94" name="îṧ1ïḋè">
              <a:extLst>
                <a:ext uri="{FF2B5EF4-FFF2-40B4-BE49-F238E27FC236}">
                  <a16:creationId xmlns:a16="http://schemas.microsoft.com/office/drawing/2014/main" id="{D6F963A2-BB0A-4599-829E-A934FEEECC99}"/>
                </a:ext>
              </a:extLst>
            </p:cNvPr>
            <p:cNvSpPr/>
            <p:nvPr userDrawn="1"/>
          </p:nvSpPr>
          <p:spPr bwMode="auto">
            <a:xfrm>
              <a:off x="5226050" y="3881438"/>
              <a:ext cx="30163" cy="73025"/>
            </a:xfrm>
            <a:custGeom>
              <a:avLst/>
              <a:gdLst>
                <a:gd name="T0" fmla="*/ 19 w 19"/>
                <a:gd name="T1" fmla="*/ 1 h 46"/>
                <a:gd name="T2" fmla="*/ 10 w 19"/>
                <a:gd name="T3" fmla="*/ 0 h 46"/>
                <a:gd name="T4" fmla="*/ 0 w 19"/>
                <a:gd name="T5" fmla="*/ 44 h 46"/>
                <a:gd name="T6" fmla="*/ 9 w 19"/>
                <a:gd name="T7" fmla="*/ 46 h 46"/>
                <a:gd name="T8" fmla="*/ 19 w 19"/>
                <a:gd name="T9" fmla="*/ 1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46">
                  <a:moveTo>
                    <a:pt x="19" y="1"/>
                  </a:moveTo>
                  <a:lnTo>
                    <a:pt x="10" y="0"/>
                  </a:lnTo>
                  <a:lnTo>
                    <a:pt x="0" y="44"/>
                  </a:lnTo>
                  <a:lnTo>
                    <a:pt x="9" y="46"/>
                  </a:lnTo>
                  <a:lnTo>
                    <a:pt x="19" y="1"/>
                  </a:lnTo>
                  <a:close/>
                </a:path>
              </a:pathLst>
            </a:custGeom>
            <a:solidFill>
              <a:srgbClr val="D2D3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95" name="is1îdé">
              <a:extLst>
                <a:ext uri="{FF2B5EF4-FFF2-40B4-BE49-F238E27FC236}">
                  <a16:creationId xmlns:a16="http://schemas.microsoft.com/office/drawing/2014/main" id="{18C51971-E80D-4D8F-8A96-5DD153D0C58E}"/>
                </a:ext>
              </a:extLst>
            </p:cNvPr>
            <p:cNvSpPr/>
            <p:nvPr userDrawn="1"/>
          </p:nvSpPr>
          <p:spPr bwMode="auto">
            <a:xfrm>
              <a:off x="4849813" y="4027488"/>
              <a:ext cx="411163" cy="241300"/>
            </a:xfrm>
            <a:custGeom>
              <a:avLst/>
              <a:gdLst>
                <a:gd name="T0" fmla="*/ 237 w 259"/>
                <a:gd name="T1" fmla="*/ 152 h 152"/>
                <a:gd name="T2" fmla="*/ 0 w 259"/>
                <a:gd name="T3" fmla="*/ 105 h 152"/>
                <a:gd name="T4" fmla="*/ 20 w 259"/>
                <a:gd name="T5" fmla="*/ 0 h 152"/>
                <a:gd name="T6" fmla="*/ 259 w 259"/>
                <a:gd name="T7" fmla="*/ 47 h 152"/>
                <a:gd name="T8" fmla="*/ 237 w 259"/>
                <a:gd name="T9" fmla="*/ 152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9" h="152">
                  <a:moveTo>
                    <a:pt x="237" y="152"/>
                  </a:moveTo>
                  <a:lnTo>
                    <a:pt x="0" y="105"/>
                  </a:lnTo>
                  <a:lnTo>
                    <a:pt x="20" y="0"/>
                  </a:lnTo>
                  <a:lnTo>
                    <a:pt x="259" y="47"/>
                  </a:lnTo>
                  <a:lnTo>
                    <a:pt x="237" y="152"/>
                  </a:lnTo>
                  <a:close/>
                </a:path>
              </a:pathLst>
            </a:custGeom>
            <a:solidFill>
              <a:srgbClr val="FBFCF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96" name="iṣļíďé">
              <a:extLst>
                <a:ext uri="{FF2B5EF4-FFF2-40B4-BE49-F238E27FC236}">
                  <a16:creationId xmlns:a16="http://schemas.microsoft.com/office/drawing/2014/main" id="{59711E76-79EC-4CA4-BDD9-E5A8AE20AFAC}"/>
                </a:ext>
              </a:extLst>
            </p:cNvPr>
            <p:cNvSpPr/>
            <p:nvPr userDrawn="1"/>
          </p:nvSpPr>
          <p:spPr bwMode="auto">
            <a:xfrm>
              <a:off x="4827588" y="4219575"/>
              <a:ext cx="393700" cy="182563"/>
            </a:xfrm>
            <a:custGeom>
              <a:avLst/>
              <a:gdLst>
                <a:gd name="T0" fmla="*/ 178 w 233"/>
                <a:gd name="T1" fmla="*/ 75 h 108"/>
                <a:gd name="T2" fmla="*/ 49 w 233"/>
                <a:gd name="T3" fmla="*/ 49 h 108"/>
                <a:gd name="T4" fmla="*/ 10 w 233"/>
                <a:gd name="T5" fmla="*/ 0 h 108"/>
                <a:gd name="T6" fmla="*/ 4 w 233"/>
                <a:gd name="T7" fmla="*/ 28 h 108"/>
                <a:gd name="T8" fmla="*/ 43 w 233"/>
                <a:gd name="T9" fmla="*/ 77 h 108"/>
                <a:gd name="T10" fmla="*/ 173 w 233"/>
                <a:gd name="T11" fmla="*/ 103 h 108"/>
                <a:gd name="T12" fmla="*/ 228 w 233"/>
                <a:gd name="T13" fmla="*/ 72 h 108"/>
                <a:gd name="T14" fmla="*/ 233 w 233"/>
                <a:gd name="T15" fmla="*/ 44 h 108"/>
                <a:gd name="T16" fmla="*/ 178 w 233"/>
                <a:gd name="T17" fmla="*/ 75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33" h="108">
                  <a:moveTo>
                    <a:pt x="178" y="75"/>
                  </a:moveTo>
                  <a:cubicBezTo>
                    <a:pt x="49" y="49"/>
                    <a:pt x="49" y="49"/>
                    <a:pt x="49" y="49"/>
                  </a:cubicBezTo>
                  <a:cubicBezTo>
                    <a:pt x="23" y="44"/>
                    <a:pt x="6" y="22"/>
                    <a:pt x="10" y="0"/>
                  </a:cubicBezTo>
                  <a:cubicBezTo>
                    <a:pt x="4" y="28"/>
                    <a:pt x="4" y="28"/>
                    <a:pt x="4" y="28"/>
                  </a:cubicBezTo>
                  <a:cubicBezTo>
                    <a:pt x="0" y="50"/>
                    <a:pt x="18" y="72"/>
                    <a:pt x="43" y="77"/>
                  </a:cubicBezTo>
                  <a:cubicBezTo>
                    <a:pt x="173" y="103"/>
                    <a:pt x="173" y="103"/>
                    <a:pt x="173" y="103"/>
                  </a:cubicBezTo>
                  <a:cubicBezTo>
                    <a:pt x="199" y="108"/>
                    <a:pt x="223" y="94"/>
                    <a:pt x="228" y="72"/>
                  </a:cubicBezTo>
                  <a:cubicBezTo>
                    <a:pt x="233" y="44"/>
                    <a:pt x="233" y="44"/>
                    <a:pt x="233" y="44"/>
                  </a:cubicBezTo>
                  <a:cubicBezTo>
                    <a:pt x="229" y="66"/>
                    <a:pt x="204" y="80"/>
                    <a:pt x="178" y="75"/>
                  </a:cubicBezTo>
                  <a:close/>
                </a:path>
              </a:pathLst>
            </a:custGeom>
            <a:solidFill>
              <a:srgbClr val="3D69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97" name="ïṡḷíďè">
              <a:extLst>
                <a:ext uri="{FF2B5EF4-FFF2-40B4-BE49-F238E27FC236}">
                  <a16:creationId xmlns:a16="http://schemas.microsoft.com/office/drawing/2014/main" id="{5D2D9B46-DCBD-45F9-B7C0-D9FE888527D7}"/>
                </a:ext>
              </a:extLst>
            </p:cNvPr>
            <p:cNvSpPr/>
            <p:nvPr userDrawn="1"/>
          </p:nvSpPr>
          <p:spPr bwMode="auto">
            <a:xfrm>
              <a:off x="4876800" y="4027488"/>
              <a:ext cx="384175" cy="104775"/>
            </a:xfrm>
            <a:custGeom>
              <a:avLst/>
              <a:gdLst>
                <a:gd name="T0" fmla="*/ 238 w 242"/>
                <a:gd name="T1" fmla="*/ 66 h 66"/>
                <a:gd name="T2" fmla="*/ 0 w 242"/>
                <a:gd name="T3" fmla="*/ 19 h 66"/>
                <a:gd name="T4" fmla="*/ 3 w 242"/>
                <a:gd name="T5" fmla="*/ 0 h 66"/>
                <a:gd name="T6" fmla="*/ 242 w 242"/>
                <a:gd name="T7" fmla="*/ 47 h 66"/>
                <a:gd name="T8" fmla="*/ 238 w 242"/>
                <a:gd name="T9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2" h="66">
                  <a:moveTo>
                    <a:pt x="238" y="66"/>
                  </a:moveTo>
                  <a:lnTo>
                    <a:pt x="0" y="19"/>
                  </a:lnTo>
                  <a:lnTo>
                    <a:pt x="3" y="0"/>
                  </a:lnTo>
                  <a:lnTo>
                    <a:pt x="242" y="47"/>
                  </a:lnTo>
                  <a:lnTo>
                    <a:pt x="238" y="66"/>
                  </a:lnTo>
                  <a:close/>
                </a:path>
              </a:pathLst>
            </a:custGeom>
            <a:solidFill>
              <a:srgbClr val="FF787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98" name="işlîḓé">
              <a:extLst>
                <a:ext uri="{FF2B5EF4-FFF2-40B4-BE49-F238E27FC236}">
                  <a16:creationId xmlns:a16="http://schemas.microsoft.com/office/drawing/2014/main" id="{FE18F4D3-5420-42B1-9601-43F3C90E7CFE}"/>
                </a:ext>
              </a:extLst>
            </p:cNvPr>
            <p:cNvSpPr/>
            <p:nvPr userDrawn="1"/>
          </p:nvSpPr>
          <p:spPr bwMode="auto">
            <a:xfrm>
              <a:off x="4895850" y="4094163"/>
              <a:ext cx="87313" cy="88900"/>
            </a:xfrm>
            <a:custGeom>
              <a:avLst/>
              <a:gdLst>
                <a:gd name="T0" fmla="*/ 55 w 55"/>
                <a:gd name="T1" fmla="*/ 22 h 56"/>
                <a:gd name="T2" fmla="*/ 40 w 55"/>
                <a:gd name="T3" fmla="*/ 20 h 56"/>
                <a:gd name="T4" fmla="*/ 43 w 55"/>
                <a:gd name="T5" fmla="*/ 4 h 56"/>
                <a:gd name="T6" fmla="*/ 22 w 55"/>
                <a:gd name="T7" fmla="*/ 0 h 56"/>
                <a:gd name="T8" fmla="*/ 19 w 55"/>
                <a:gd name="T9" fmla="*/ 16 h 56"/>
                <a:gd name="T10" fmla="*/ 4 w 55"/>
                <a:gd name="T11" fmla="*/ 12 h 56"/>
                <a:gd name="T12" fmla="*/ 0 w 55"/>
                <a:gd name="T13" fmla="*/ 34 h 56"/>
                <a:gd name="T14" fmla="*/ 15 w 55"/>
                <a:gd name="T15" fmla="*/ 36 h 56"/>
                <a:gd name="T16" fmla="*/ 11 w 55"/>
                <a:gd name="T17" fmla="*/ 52 h 56"/>
                <a:gd name="T18" fmla="*/ 33 w 55"/>
                <a:gd name="T19" fmla="*/ 56 h 56"/>
                <a:gd name="T20" fmla="*/ 36 w 55"/>
                <a:gd name="T21" fmla="*/ 40 h 56"/>
                <a:gd name="T22" fmla="*/ 51 w 55"/>
                <a:gd name="T23" fmla="*/ 43 h 56"/>
                <a:gd name="T24" fmla="*/ 55 w 55"/>
                <a:gd name="T25" fmla="*/ 22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5" h="56">
                  <a:moveTo>
                    <a:pt x="55" y="22"/>
                  </a:moveTo>
                  <a:lnTo>
                    <a:pt x="40" y="20"/>
                  </a:lnTo>
                  <a:lnTo>
                    <a:pt x="43" y="4"/>
                  </a:lnTo>
                  <a:lnTo>
                    <a:pt x="22" y="0"/>
                  </a:lnTo>
                  <a:lnTo>
                    <a:pt x="19" y="16"/>
                  </a:lnTo>
                  <a:lnTo>
                    <a:pt x="4" y="12"/>
                  </a:lnTo>
                  <a:lnTo>
                    <a:pt x="0" y="34"/>
                  </a:lnTo>
                  <a:lnTo>
                    <a:pt x="15" y="36"/>
                  </a:lnTo>
                  <a:lnTo>
                    <a:pt x="11" y="52"/>
                  </a:lnTo>
                  <a:lnTo>
                    <a:pt x="33" y="56"/>
                  </a:lnTo>
                  <a:lnTo>
                    <a:pt x="36" y="40"/>
                  </a:lnTo>
                  <a:lnTo>
                    <a:pt x="51" y="43"/>
                  </a:lnTo>
                  <a:lnTo>
                    <a:pt x="55" y="22"/>
                  </a:lnTo>
                  <a:close/>
                </a:path>
              </a:pathLst>
            </a:custGeom>
            <a:solidFill>
              <a:srgbClr val="FF787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99" name="išliḋe">
              <a:extLst>
                <a:ext uri="{FF2B5EF4-FFF2-40B4-BE49-F238E27FC236}">
                  <a16:creationId xmlns:a16="http://schemas.microsoft.com/office/drawing/2014/main" id="{E3A2CABF-57C7-41E7-8BA0-BE77A0DA33A1}"/>
                </a:ext>
              </a:extLst>
            </p:cNvPr>
            <p:cNvSpPr/>
            <p:nvPr userDrawn="1"/>
          </p:nvSpPr>
          <p:spPr bwMode="auto">
            <a:xfrm>
              <a:off x="5076825" y="4132263"/>
              <a:ext cx="134938" cy="41275"/>
            </a:xfrm>
            <a:custGeom>
              <a:avLst/>
              <a:gdLst>
                <a:gd name="T0" fmla="*/ 83 w 85"/>
                <a:gd name="T1" fmla="*/ 26 h 26"/>
                <a:gd name="T2" fmla="*/ 0 w 85"/>
                <a:gd name="T3" fmla="*/ 10 h 26"/>
                <a:gd name="T4" fmla="*/ 2 w 85"/>
                <a:gd name="T5" fmla="*/ 0 h 26"/>
                <a:gd name="T6" fmla="*/ 85 w 85"/>
                <a:gd name="T7" fmla="*/ 17 h 26"/>
                <a:gd name="T8" fmla="*/ 83 w 85"/>
                <a:gd name="T9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5" h="26">
                  <a:moveTo>
                    <a:pt x="83" y="26"/>
                  </a:moveTo>
                  <a:lnTo>
                    <a:pt x="0" y="10"/>
                  </a:lnTo>
                  <a:lnTo>
                    <a:pt x="2" y="0"/>
                  </a:lnTo>
                  <a:lnTo>
                    <a:pt x="85" y="17"/>
                  </a:lnTo>
                  <a:lnTo>
                    <a:pt x="83" y="26"/>
                  </a:lnTo>
                  <a:close/>
                </a:path>
              </a:pathLst>
            </a:custGeom>
            <a:solidFill>
              <a:srgbClr val="D2D3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00" name="îṥ1ïḑé">
              <a:extLst>
                <a:ext uri="{FF2B5EF4-FFF2-40B4-BE49-F238E27FC236}">
                  <a16:creationId xmlns:a16="http://schemas.microsoft.com/office/drawing/2014/main" id="{0257D96C-88DF-4DF6-84EB-5661E6C46F08}"/>
                </a:ext>
              </a:extLst>
            </p:cNvPr>
            <p:cNvSpPr/>
            <p:nvPr userDrawn="1"/>
          </p:nvSpPr>
          <p:spPr bwMode="auto">
            <a:xfrm>
              <a:off x="5068888" y="4168775"/>
              <a:ext cx="136525" cy="41275"/>
            </a:xfrm>
            <a:custGeom>
              <a:avLst/>
              <a:gdLst>
                <a:gd name="T0" fmla="*/ 83 w 86"/>
                <a:gd name="T1" fmla="*/ 26 h 26"/>
                <a:gd name="T2" fmla="*/ 0 w 86"/>
                <a:gd name="T3" fmla="*/ 9 h 26"/>
                <a:gd name="T4" fmla="*/ 3 w 86"/>
                <a:gd name="T5" fmla="*/ 0 h 26"/>
                <a:gd name="T6" fmla="*/ 86 w 86"/>
                <a:gd name="T7" fmla="*/ 16 h 26"/>
                <a:gd name="T8" fmla="*/ 83 w 86"/>
                <a:gd name="T9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6" h="26">
                  <a:moveTo>
                    <a:pt x="83" y="26"/>
                  </a:moveTo>
                  <a:lnTo>
                    <a:pt x="0" y="9"/>
                  </a:lnTo>
                  <a:lnTo>
                    <a:pt x="3" y="0"/>
                  </a:lnTo>
                  <a:lnTo>
                    <a:pt x="86" y="16"/>
                  </a:lnTo>
                  <a:lnTo>
                    <a:pt x="83" y="26"/>
                  </a:lnTo>
                  <a:close/>
                </a:path>
              </a:pathLst>
            </a:custGeom>
            <a:solidFill>
              <a:srgbClr val="D2D3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01" name="îŝḻídé">
              <a:extLst>
                <a:ext uri="{FF2B5EF4-FFF2-40B4-BE49-F238E27FC236}">
                  <a16:creationId xmlns:a16="http://schemas.microsoft.com/office/drawing/2014/main" id="{0C08AE13-0D58-43D2-B760-ECE8D2129363}"/>
                </a:ext>
              </a:extLst>
            </p:cNvPr>
            <p:cNvSpPr/>
            <p:nvPr userDrawn="1"/>
          </p:nvSpPr>
          <p:spPr bwMode="auto">
            <a:xfrm>
              <a:off x="7073900" y="2220913"/>
              <a:ext cx="447675" cy="503238"/>
            </a:xfrm>
            <a:custGeom>
              <a:avLst/>
              <a:gdLst>
                <a:gd name="T0" fmla="*/ 236 w 265"/>
                <a:gd name="T1" fmla="*/ 45 h 298"/>
                <a:gd name="T2" fmla="*/ 239 w 265"/>
                <a:gd name="T3" fmla="*/ 31 h 298"/>
                <a:gd name="T4" fmla="*/ 81 w 265"/>
                <a:gd name="T5" fmla="*/ 0 h 298"/>
                <a:gd name="T6" fmla="*/ 78 w 265"/>
                <a:gd name="T7" fmla="*/ 14 h 298"/>
                <a:gd name="T8" fmla="*/ 38 w 265"/>
                <a:gd name="T9" fmla="*/ 46 h 298"/>
                <a:gd name="T10" fmla="*/ 4 w 265"/>
                <a:gd name="T11" fmla="*/ 218 h 298"/>
                <a:gd name="T12" fmla="*/ 43 w 265"/>
                <a:gd name="T13" fmla="*/ 267 h 298"/>
                <a:gd name="T14" fmla="*/ 173 w 265"/>
                <a:gd name="T15" fmla="*/ 293 h 298"/>
                <a:gd name="T16" fmla="*/ 227 w 265"/>
                <a:gd name="T17" fmla="*/ 262 h 298"/>
                <a:gd name="T18" fmla="*/ 261 w 265"/>
                <a:gd name="T19" fmla="*/ 90 h 298"/>
                <a:gd name="T20" fmla="*/ 236 w 265"/>
                <a:gd name="T21" fmla="*/ 45 h 2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65" h="298">
                  <a:moveTo>
                    <a:pt x="236" y="45"/>
                  </a:moveTo>
                  <a:cubicBezTo>
                    <a:pt x="239" y="31"/>
                    <a:pt x="239" y="31"/>
                    <a:pt x="239" y="31"/>
                  </a:cubicBezTo>
                  <a:cubicBezTo>
                    <a:pt x="81" y="0"/>
                    <a:pt x="81" y="0"/>
                    <a:pt x="81" y="0"/>
                  </a:cubicBezTo>
                  <a:cubicBezTo>
                    <a:pt x="78" y="14"/>
                    <a:pt x="78" y="14"/>
                    <a:pt x="78" y="14"/>
                  </a:cubicBezTo>
                  <a:cubicBezTo>
                    <a:pt x="58" y="16"/>
                    <a:pt x="42" y="28"/>
                    <a:pt x="38" y="46"/>
                  </a:cubicBezTo>
                  <a:cubicBezTo>
                    <a:pt x="4" y="218"/>
                    <a:pt x="4" y="218"/>
                    <a:pt x="4" y="218"/>
                  </a:cubicBezTo>
                  <a:cubicBezTo>
                    <a:pt x="0" y="240"/>
                    <a:pt x="17" y="262"/>
                    <a:pt x="43" y="267"/>
                  </a:cubicBezTo>
                  <a:cubicBezTo>
                    <a:pt x="173" y="293"/>
                    <a:pt x="173" y="293"/>
                    <a:pt x="173" y="293"/>
                  </a:cubicBezTo>
                  <a:cubicBezTo>
                    <a:pt x="199" y="298"/>
                    <a:pt x="223" y="284"/>
                    <a:pt x="227" y="262"/>
                  </a:cubicBezTo>
                  <a:cubicBezTo>
                    <a:pt x="261" y="90"/>
                    <a:pt x="261" y="90"/>
                    <a:pt x="261" y="90"/>
                  </a:cubicBezTo>
                  <a:cubicBezTo>
                    <a:pt x="265" y="72"/>
                    <a:pt x="254" y="54"/>
                    <a:pt x="236" y="45"/>
                  </a:cubicBezTo>
                  <a:close/>
                </a:path>
              </a:pathLst>
            </a:custGeom>
            <a:solidFill>
              <a:srgbClr val="FF787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02" name="íşľïḍê">
              <a:extLst>
                <a:ext uri="{FF2B5EF4-FFF2-40B4-BE49-F238E27FC236}">
                  <a16:creationId xmlns:a16="http://schemas.microsoft.com/office/drawing/2014/main" id="{409412CB-9190-4B51-A275-0D0E4900B5EA}"/>
                </a:ext>
              </a:extLst>
            </p:cNvPr>
            <p:cNvSpPr/>
            <p:nvPr userDrawn="1"/>
          </p:nvSpPr>
          <p:spPr bwMode="auto">
            <a:xfrm>
              <a:off x="7207250" y="2220913"/>
              <a:ext cx="269875" cy="68263"/>
            </a:xfrm>
            <a:custGeom>
              <a:avLst/>
              <a:gdLst>
                <a:gd name="T0" fmla="*/ 168 w 170"/>
                <a:gd name="T1" fmla="*/ 43 h 43"/>
                <a:gd name="T2" fmla="*/ 0 w 170"/>
                <a:gd name="T3" fmla="*/ 10 h 43"/>
                <a:gd name="T4" fmla="*/ 2 w 170"/>
                <a:gd name="T5" fmla="*/ 0 h 43"/>
                <a:gd name="T6" fmla="*/ 170 w 170"/>
                <a:gd name="T7" fmla="*/ 33 h 43"/>
                <a:gd name="T8" fmla="*/ 168 w 170"/>
                <a:gd name="T9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0" h="43">
                  <a:moveTo>
                    <a:pt x="168" y="43"/>
                  </a:moveTo>
                  <a:lnTo>
                    <a:pt x="0" y="10"/>
                  </a:lnTo>
                  <a:lnTo>
                    <a:pt x="2" y="0"/>
                  </a:lnTo>
                  <a:lnTo>
                    <a:pt x="170" y="33"/>
                  </a:lnTo>
                  <a:lnTo>
                    <a:pt x="168" y="43"/>
                  </a:lnTo>
                  <a:close/>
                </a:path>
              </a:pathLst>
            </a:custGeom>
            <a:solidFill>
              <a:srgbClr val="F56E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03" name="îSḻïḓè">
              <a:extLst>
                <a:ext uri="{FF2B5EF4-FFF2-40B4-BE49-F238E27FC236}">
                  <a16:creationId xmlns:a16="http://schemas.microsoft.com/office/drawing/2014/main" id="{C971AB7C-8E3F-4C5D-BE69-05D510EF69D4}"/>
                </a:ext>
              </a:extLst>
            </p:cNvPr>
            <p:cNvSpPr/>
            <p:nvPr userDrawn="1"/>
          </p:nvSpPr>
          <p:spPr bwMode="auto">
            <a:xfrm>
              <a:off x="7191375" y="2144713"/>
              <a:ext cx="320675" cy="133350"/>
            </a:xfrm>
            <a:custGeom>
              <a:avLst/>
              <a:gdLst>
                <a:gd name="T0" fmla="*/ 202 w 202"/>
                <a:gd name="T1" fmla="*/ 39 h 84"/>
                <a:gd name="T2" fmla="*/ 9 w 202"/>
                <a:gd name="T3" fmla="*/ 0 h 84"/>
                <a:gd name="T4" fmla="*/ 0 w 202"/>
                <a:gd name="T5" fmla="*/ 46 h 84"/>
                <a:gd name="T6" fmla="*/ 192 w 202"/>
                <a:gd name="T7" fmla="*/ 84 h 84"/>
                <a:gd name="T8" fmla="*/ 202 w 202"/>
                <a:gd name="T9" fmla="*/ 39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2" h="84">
                  <a:moveTo>
                    <a:pt x="202" y="39"/>
                  </a:moveTo>
                  <a:lnTo>
                    <a:pt x="9" y="0"/>
                  </a:lnTo>
                  <a:lnTo>
                    <a:pt x="0" y="46"/>
                  </a:lnTo>
                  <a:lnTo>
                    <a:pt x="192" y="84"/>
                  </a:lnTo>
                  <a:lnTo>
                    <a:pt x="202" y="39"/>
                  </a:lnTo>
                  <a:close/>
                </a:path>
              </a:pathLst>
            </a:custGeom>
            <a:solidFill>
              <a:srgbClr val="FBFCF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04" name="iṩľîḍe">
              <a:extLst>
                <a:ext uri="{FF2B5EF4-FFF2-40B4-BE49-F238E27FC236}">
                  <a16:creationId xmlns:a16="http://schemas.microsoft.com/office/drawing/2014/main" id="{9388CE79-5850-4216-B34F-32F04FC4BABB}"/>
                </a:ext>
              </a:extLst>
            </p:cNvPr>
            <p:cNvSpPr/>
            <p:nvPr userDrawn="1"/>
          </p:nvSpPr>
          <p:spPr bwMode="auto">
            <a:xfrm>
              <a:off x="7202488" y="2147888"/>
              <a:ext cx="26988" cy="74613"/>
            </a:xfrm>
            <a:custGeom>
              <a:avLst/>
              <a:gdLst>
                <a:gd name="T0" fmla="*/ 17 w 17"/>
                <a:gd name="T1" fmla="*/ 1 h 47"/>
                <a:gd name="T2" fmla="*/ 8 w 17"/>
                <a:gd name="T3" fmla="*/ 0 h 47"/>
                <a:gd name="T4" fmla="*/ 0 w 17"/>
                <a:gd name="T5" fmla="*/ 45 h 47"/>
                <a:gd name="T6" fmla="*/ 7 w 17"/>
                <a:gd name="T7" fmla="*/ 47 h 47"/>
                <a:gd name="T8" fmla="*/ 17 w 17"/>
                <a:gd name="T9" fmla="*/ 1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47">
                  <a:moveTo>
                    <a:pt x="17" y="1"/>
                  </a:moveTo>
                  <a:lnTo>
                    <a:pt x="8" y="0"/>
                  </a:lnTo>
                  <a:lnTo>
                    <a:pt x="0" y="45"/>
                  </a:lnTo>
                  <a:lnTo>
                    <a:pt x="7" y="47"/>
                  </a:lnTo>
                  <a:lnTo>
                    <a:pt x="17" y="1"/>
                  </a:lnTo>
                  <a:close/>
                </a:path>
              </a:pathLst>
            </a:custGeom>
            <a:solidFill>
              <a:srgbClr val="D2D3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05" name="íSľíḑè">
              <a:extLst>
                <a:ext uri="{FF2B5EF4-FFF2-40B4-BE49-F238E27FC236}">
                  <a16:creationId xmlns:a16="http://schemas.microsoft.com/office/drawing/2014/main" id="{95570FFF-59EA-42A0-AD2B-5B75E0A52831}"/>
                </a:ext>
              </a:extLst>
            </p:cNvPr>
            <p:cNvSpPr/>
            <p:nvPr userDrawn="1"/>
          </p:nvSpPr>
          <p:spPr bwMode="auto">
            <a:xfrm>
              <a:off x="7229475" y="2154238"/>
              <a:ext cx="26988" cy="73025"/>
            </a:xfrm>
            <a:custGeom>
              <a:avLst/>
              <a:gdLst>
                <a:gd name="T0" fmla="*/ 17 w 17"/>
                <a:gd name="T1" fmla="*/ 1 h 46"/>
                <a:gd name="T2" fmla="*/ 8 w 17"/>
                <a:gd name="T3" fmla="*/ 0 h 46"/>
                <a:gd name="T4" fmla="*/ 0 w 17"/>
                <a:gd name="T5" fmla="*/ 45 h 46"/>
                <a:gd name="T6" fmla="*/ 7 w 17"/>
                <a:gd name="T7" fmla="*/ 46 h 46"/>
                <a:gd name="T8" fmla="*/ 17 w 17"/>
                <a:gd name="T9" fmla="*/ 1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46">
                  <a:moveTo>
                    <a:pt x="17" y="1"/>
                  </a:moveTo>
                  <a:lnTo>
                    <a:pt x="8" y="0"/>
                  </a:lnTo>
                  <a:lnTo>
                    <a:pt x="0" y="45"/>
                  </a:lnTo>
                  <a:lnTo>
                    <a:pt x="7" y="46"/>
                  </a:lnTo>
                  <a:lnTo>
                    <a:pt x="17" y="1"/>
                  </a:lnTo>
                  <a:close/>
                </a:path>
              </a:pathLst>
            </a:custGeom>
            <a:solidFill>
              <a:srgbClr val="D2D3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06" name="îSḷiḓe">
              <a:extLst>
                <a:ext uri="{FF2B5EF4-FFF2-40B4-BE49-F238E27FC236}">
                  <a16:creationId xmlns:a16="http://schemas.microsoft.com/office/drawing/2014/main" id="{90537978-94C6-4290-96CF-6357675A1FAD}"/>
                </a:ext>
              </a:extLst>
            </p:cNvPr>
            <p:cNvSpPr/>
            <p:nvPr userDrawn="1"/>
          </p:nvSpPr>
          <p:spPr bwMode="auto">
            <a:xfrm>
              <a:off x="7256463" y="2159000"/>
              <a:ext cx="26988" cy="74613"/>
            </a:xfrm>
            <a:custGeom>
              <a:avLst/>
              <a:gdLst>
                <a:gd name="T0" fmla="*/ 17 w 17"/>
                <a:gd name="T1" fmla="*/ 1 h 47"/>
                <a:gd name="T2" fmla="*/ 8 w 17"/>
                <a:gd name="T3" fmla="*/ 0 h 47"/>
                <a:gd name="T4" fmla="*/ 0 w 17"/>
                <a:gd name="T5" fmla="*/ 46 h 47"/>
                <a:gd name="T6" fmla="*/ 8 w 17"/>
                <a:gd name="T7" fmla="*/ 47 h 47"/>
                <a:gd name="T8" fmla="*/ 17 w 17"/>
                <a:gd name="T9" fmla="*/ 1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47">
                  <a:moveTo>
                    <a:pt x="17" y="1"/>
                  </a:moveTo>
                  <a:lnTo>
                    <a:pt x="8" y="0"/>
                  </a:lnTo>
                  <a:lnTo>
                    <a:pt x="0" y="46"/>
                  </a:lnTo>
                  <a:lnTo>
                    <a:pt x="8" y="47"/>
                  </a:lnTo>
                  <a:lnTo>
                    <a:pt x="17" y="1"/>
                  </a:lnTo>
                  <a:close/>
                </a:path>
              </a:pathLst>
            </a:custGeom>
            <a:solidFill>
              <a:srgbClr val="D2D3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07" name="íṧḻíḋê">
              <a:extLst>
                <a:ext uri="{FF2B5EF4-FFF2-40B4-BE49-F238E27FC236}">
                  <a16:creationId xmlns:a16="http://schemas.microsoft.com/office/drawing/2014/main" id="{B94ABAA4-4F27-43EF-A6A6-E318D3F2DB2E}"/>
                </a:ext>
              </a:extLst>
            </p:cNvPr>
            <p:cNvSpPr/>
            <p:nvPr userDrawn="1"/>
          </p:nvSpPr>
          <p:spPr bwMode="auto">
            <a:xfrm>
              <a:off x="7283450" y="2163763"/>
              <a:ext cx="26988" cy="76200"/>
            </a:xfrm>
            <a:custGeom>
              <a:avLst/>
              <a:gdLst>
                <a:gd name="T0" fmla="*/ 17 w 17"/>
                <a:gd name="T1" fmla="*/ 2 h 48"/>
                <a:gd name="T2" fmla="*/ 9 w 17"/>
                <a:gd name="T3" fmla="*/ 0 h 48"/>
                <a:gd name="T4" fmla="*/ 0 w 17"/>
                <a:gd name="T5" fmla="*/ 46 h 48"/>
                <a:gd name="T6" fmla="*/ 8 w 17"/>
                <a:gd name="T7" fmla="*/ 48 h 48"/>
                <a:gd name="T8" fmla="*/ 17 w 17"/>
                <a:gd name="T9" fmla="*/ 2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48">
                  <a:moveTo>
                    <a:pt x="17" y="2"/>
                  </a:moveTo>
                  <a:lnTo>
                    <a:pt x="9" y="0"/>
                  </a:lnTo>
                  <a:lnTo>
                    <a:pt x="0" y="46"/>
                  </a:lnTo>
                  <a:lnTo>
                    <a:pt x="8" y="48"/>
                  </a:lnTo>
                  <a:lnTo>
                    <a:pt x="17" y="2"/>
                  </a:lnTo>
                  <a:close/>
                </a:path>
              </a:pathLst>
            </a:custGeom>
            <a:solidFill>
              <a:srgbClr val="D2D3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08" name="iśļíḍe">
              <a:extLst>
                <a:ext uri="{FF2B5EF4-FFF2-40B4-BE49-F238E27FC236}">
                  <a16:creationId xmlns:a16="http://schemas.microsoft.com/office/drawing/2014/main" id="{208C2A94-BA65-48D6-A085-6ADF8668DD41}"/>
                </a:ext>
              </a:extLst>
            </p:cNvPr>
            <p:cNvSpPr/>
            <p:nvPr userDrawn="1"/>
          </p:nvSpPr>
          <p:spPr bwMode="auto">
            <a:xfrm>
              <a:off x="7310438" y="2168525"/>
              <a:ext cx="26988" cy="76200"/>
            </a:xfrm>
            <a:custGeom>
              <a:avLst/>
              <a:gdLst>
                <a:gd name="T0" fmla="*/ 17 w 17"/>
                <a:gd name="T1" fmla="*/ 2 h 48"/>
                <a:gd name="T2" fmla="*/ 10 w 17"/>
                <a:gd name="T3" fmla="*/ 0 h 48"/>
                <a:gd name="T4" fmla="*/ 0 w 17"/>
                <a:gd name="T5" fmla="*/ 46 h 48"/>
                <a:gd name="T6" fmla="*/ 8 w 17"/>
                <a:gd name="T7" fmla="*/ 48 h 48"/>
                <a:gd name="T8" fmla="*/ 17 w 17"/>
                <a:gd name="T9" fmla="*/ 2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48">
                  <a:moveTo>
                    <a:pt x="17" y="2"/>
                  </a:moveTo>
                  <a:lnTo>
                    <a:pt x="10" y="0"/>
                  </a:lnTo>
                  <a:lnTo>
                    <a:pt x="0" y="46"/>
                  </a:lnTo>
                  <a:lnTo>
                    <a:pt x="8" y="48"/>
                  </a:lnTo>
                  <a:lnTo>
                    <a:pt x="17" y="2"/>
                  </a:lnTo>
                  <a:close/>
                </a:path>
              </a:pathLst>
            </a:custGeom>
            <a:solidFill>
              <a:srgbClr val="D2D3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09" name="išḻïḑe">
              <a:extLst>
                <a:ext uri="{FF2B5EF4-FFF2-40B4-BE49-F238E27FC236}">
                  <a16:creationId xmlns:a16="http://schemas.microsoft.com/office/drawing/2014/main" id="{48BCE622-1980-46BF-B84C-7907F10B32B9}"/>
                </a:ext>
              </a:extLst>
            </p:cNvPr>
            <p:cNvSpPr/>
            <p:nvPr userDrawn="1"/>
          </p:nvSpPr>
          <p:spPr bwMode="auto">
            <a:xfrm>
              <a:off x="7337425" y="2174875"/>
              <a:ext cx="26988" cy="74613"/>
            </a:xfrm>
            <a:custGeom>
              <a:avLst/>
              <a:gdLst>
                <a:gd name="T0" fmla="*/ 17 w 17"/>
                <a:gd name="T1" fmla="*/ 2 h 47"/>
                <a:gd name="T2" fmla="*/ 10 w 17"/>
                <a:gd name="T3" fmla="*/ 0 h 47"/>
                <a:gd name="T4" fmla="*/ 0 w 17"/>
                <a:gd name="T5" fmla="*/ 45 h 47"/>
                <a:gd name="T6" fmla="*/ 8 w 17"/>
                <a:gd name="T7" fmla="*/ 47 h 47"/>
                <a:gd name="T8" fmla="*/ 17 w 17"/>
                <a:gd name="T9" fmla="*/ 2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47">
                  <a:moveTo>
                    <a:pt x="17" y="2"/>
                  </a:moveTo>
                  <a:lnTo>
                    <a:pt x="10" y="0"/>
                  </a:lnTo>
                  <a:lnTo>
                    <a:pt x="0" y="45"/>
                  </a:lnTo>
                  <a:lnTo>
                    <a:pt x="8" y="47"/>
                  </a:lnTo>
                  <a:lnTo>
                    <a:pt x="17" y="2"/>
                  </a:lnTo>
                  <a:close/>
                </a:path>
              </a:pathLst>
            </a:custGeom>
            <a:solidFill>
              <a:srgbClr val="D2D3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10" name="isľîďê">
              <a:extLst>
                <a:ext uri="{FF2B5EF4-FFF2-40B4-BE49-F238E27FC236}">
                  <a16:creationId xmlns:a16="http://schemas.microsoft.com/office/drawing/2014/main" id="{C4226E4E-045D-46AF-A08C-CD97A10B8FA7}"/>
                </a:ext>
              </a:extLst>
            </p:cNvPr>
            <p:cNvSpPr/>
            <p:nvPr userDrawn="1"/>
          </p:nvSpPr>
          <p:spPr bwMode="auto">
            <a:xfrm>
              <a:off x="7364413" y="2181225"/>
              <a:ext cx="26988" cy="73025"/>
            </a:xfrm>
            <a:custGeom>
              <a:avLst/>
              <a:gdLst>
                <a:gd name="T0" fmla="*/ 17 w 17"/>
                <a:gd name="T1" fmla="*/ 1 h 46"/>
                <a:gd name="T2" fmla="*/ 10 w 17"/>
                <a:gd name="T3" fmla="*/ 0 h 46"/>
                <a:gd name="T4" fmla="*/ 0 w 17"/>
                <a:gd name="T5" fmla="*/ 45 h 46"/>
                <a:gd name="T6" fmla="*/ 9 w 17"/>
                <a:gd name="T7" fmla="*/ 46 h 46"/>
                <a:gd name="T8" fmla="*/ 17 w 17"/>
                <a:gd name="T9" fmla="*/ 1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46">
                  <a:moveTo>
                    <a:pt x="17" y="1"/>
                  </a:moveTo>
                  <a:lnTo>
                    <a:pt x="10" y="0"/>
                  </a:lnTo>
                  <a:lnTo>
                    <a:pt x="0" y="45"/>
                  </a:lnTo>
                  <a:lnTo>
                    <a:pt x="9" y="46"/>
                  </a:lnTo>
                  <a:lnTo>
                    <a:pt x="17" y="1"/>
                  </a:lnTo>
                  <a:close/>
                </a:path>
              </a:pathLst>
            </a:custGeom>
            <a:solidFill>
              <a:srgbClr val="D2D3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11" name="işľiḋè">
              <a:extLst>
                <a:ext uri="{FF2B5EF4-FFF2-40B4-BE49-F238E27FC236}">
                  <a16:creationId xmlns:a16="http://schemas.microsoft.com/office/drawing/2014/main" id="{32C2D35E-45BB-43A3-BA3A-56DF8AB870C3}"/>
                </a:ext>
              </a:extLst>
            </p:cNvPr>
            <p:cNvSpPr/>
            <p:nvPr userDrawn="1"/>
          </p:nvSpPr>
          <p:spPr bwMode="auto">
            <a:xfrm>
              <a:off x="7391400" y="2185988"/>
              <a:ext cx="26988" cy="74613"/>
            </a:xfrm>
            <a:custGeom>
              <a:avLst/>
              <a:gdLst>
                <a:gd name="T0" fmla="*/ 17 w 17"/>
                <a:gd name="T1" fmla="*/ 2 h 47"/>
                <a:gd name="T2" fmla="*/ 10 w 17"/>
                <a:gd name="T3" fmla="*/ 0 h 47"/>
                <a:gd name="T4" fmla="*/ 0 w 17"/>
                <a:gd name="T5" fmla="*/ 46 h 47"/>
                <a:gd name="T6" fmla="*/ 9 w 17"/>
                <a:gd name="T7" fmla="*/ 47 h 47"/>
                <a:gd name="T8" fmla="*/ 17 w 17"/>
                <a:gd name="T9" fmla="*/ 2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47">
                  <a:moveTo>
                    <a:pt x="17" y="2"/>
                  </a:moveTo>
                  <a:lnTo>
                    <a:pt x="10" y="0"/>
                  </a:lnTo>
                  <a:lnTo>
                    <a:pt x="0" y="46"/>
                  </a:lnTo>
                  <a:lnTo>
                    <a:pt x="9" y="47"/>
                  </a:lnTo>
                  <a:lnTo>
                    <a:pt x="17" y="2"/>
                  </a:lnTo>
                  <a:close/>
                </a:path>
              </a:pathLst>
            </a:custGeom>
            <a:solidFill>
              <a:srgbClr val="D2D3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12" name="iṡlîḍê">
              <a:extLst>
                <a:ext uri="{FF2B5EF4-FFF2-40B4-BE49-F238E27FC236}">
                  <a16:creationId xmlns:a16="http://schemas.microsoft.com/office/drawing/2014/main" id="{B2BEECB9-4DF6-4C2E-BF08-A2EA7E0970F5}"/>
                </a:ext>
              </a:extLst>
            </p:cNvPr>
            <p:cNvSpPr/>
            <p:nvPr userDrawn="1"/>
          </p:nvSpPr>
          <p:spPr bwMode="auto">
            <a:xfrm>
              <a:off x="7418388" y="2190750"/>
              <a:ext cx="26988" cy="76200"/>
            </a:xfrm>
            <a:custGeom>
              <a:avLst/>
              <a:gdLst>
                <a:gd name="T0" fmla="*/ 17 w 17"/>
                <a:gd name="T1" fmla="*/ 2 h 48"/>
                <a:gd name="T2" fmla="*/ 10 w 17"/>
                <a:gd name="T3" fmla="*/ 0 h 48"/>
                <a:gd name="T4" fmla="*/ 0 w 17"/>
                <a:gd name="T5" fmla="*/ 46 h 48"/>
                <a:gd name="T6" fmla="*/ 9 w 17"/>
                <a:gd name="T7" fmla="*/ 48 h 48"/>
                <a:gd name="T8" fmla="*/ 17 w 17"/>
                <a:gd name="T9" fmla="*/ 2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48">
                  <a:moveTo>
                    <a:pt x="17" y="2"/>
                  </a:moveTo>
                  <a:lnTo>
                    <a:pt x="10" y="0"/>
                  </a:lnTo>
                  <a:lnTo>
                    <a:pt x="0" y="46"/>
                  </a:lnTo>
                  <a:lnTo>
                    <a:pt x="9" y="48"/>
                  </a:lnTo>
                  <a:lnTo>
                    <a:pt x="17" y="2"/>
                  </a:lnTo>
                  <a:close/>
                </a:path>
              </a:pathLst>
            </a:custGeom>
            <a:solidFill>
              <a:srgbClr val="D2D3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13" name="íṧlîḍe">
              <a:extLst>
                <a:ext uri="{FF2B5EF4-FFF2-40B4-BE49-F238E27FC236}">
                  <a16:creationId xmlns:a16="http://schemas.microsoft.com/office/drawing/2014/main" id="{7A26F0D8-E807-44E7-B3F6-5D5FDA8D4855}"/>
                </a:ext>
              </a:extLst>
            </p:cNvPr>
            <p:cNvSpPr/>
            <p:nvPr userDrawn="1"/>
          </p:nvSpPr>
          <p:spPr bwMode="auto">
            <a:xfrm>
              <a:off x="7445375" y="2195513"/>
              <a:ext cx="26988" cy="76200"/>
            </a:xfrm>
            <a:custGeom>
              <a:avLst/>
              <a:gdLst>
                <a:gd name="T0" fmla="*/ 17 w 17"/>
                <a:gd name="T1" fmla="*/ 2 h 48"/>
                <a:gd name="T2" fmla="*/ 10 w 17"/>
                <a:gd name="T3" fmla="*/ 0 h 48"/>
                <a:gd name="T4" fmla="*/ 0 w 17"/>
                <a:gd name="T5" fmla="*/ 46 h 48"/>
                <a:gd name="T6" fmla="*/ 9 w 17"/>
                <a:gd name="T7" fmla="*/ 48 h 48"/>
                <a:gd name="T8" fmla="*/ 17 w 17"/>
                <a:gd name="T9" fmla="*/ 2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48">
                  <a:moveTo>
                    <a:pt x="17" y="2"/>
                  </a:moveTo>
                  <a:lnTo>
                    <a:pt x="10" y="0"/>
                  </a:lnTo>
                  <a:lnTo>
                    <a:pt x="0" y="46"/>
                  </a:lnTo>
                  <a:lnTo>
                    <a:pt x="9" y="48"/>
                  </a:lnTo>
                  <a:lnTo>
                    <a:pt x="17" y="2"/>
                  </a:lnTo>
                  <a:close/>
                </a:path>
              </a:pathLst>
            </a:custGeom>
            <a:solidFill>
              <a:srgbClr val="D2D3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14" name="îsļíḋé">
              <a:extLst>
                <a:ext uri="{FF2B5EF4-FFF2-40B4-BE49-F238E27FC236}">
                  <a16:creationId xmlns:a16="http://schemas.microsoft.com/office/drawing/2014/main" id="{BD231BA5-2305-4B63-B169-27F927BDC933}"/>
                </a:ext>
              </a:extLst>
            </p:cNvPr>
            <p:cNvSpPr/>
            <p:nvPr userDrawn="1"/>
          </p:nvSpPr>
          <p:spPr bwMode="auto">
            <a:xfrm>
              <a:off x="7472363" y="2201863"/>
              <a:ext cx="28575" cy="74613"/>
            </a:xfrm>
            <a:custGeom>
              <a:avLst/>
              <a:gdLst>
                <a:gd name="T0" fmla="*/ 18 w 18"/>
                <a:gd name="T1" fmla="*/ 2 h 47"/>
                <a:gd name="T2" fmla="*/ 10 w 18"/>
                <a:gd name="T3" fmla="*/ 0 h 47"/>
                <a:gd name="T4" fmla="*/ 0 w 18"/>
                <a:gd name="T5" fmla="*/ 46 h 47"/>
                <a:gd name="T6" fmla="*/ 9 w 18"/>
                <a:gd name="T7" fmla="*/ 47 h 47"/>
                <a:gd name="T8" fmla="*/ 18 w 18"/>
                <a:gd name="T9" fmla="*/ 2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47">
                  <a:moveTo>
                    <a:pt x="18" y="2"/>
                  </a:moveTo>
                  <a:lnTo>
                    <a:pt x="10" y="0"/>
                  </a:lnTo>
                  <a:lnTo>
                    <a:pt x="0" y="46"/>
                  </a:lnTo>
                  <a:lnTo>
                    <a:pt x="9" y="47"/>
                  </a:lnTo>
                  <a:lnTo>
                    <a:pt x="18" y="2"/>
                  </a:lnTo>
                  <a:close/>
                </a:path>
              </a:pathLst>
            </a:custGeom>
            <a:solidFill>
              <a:srgbClr val="D2D3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15" name="íṧľîďé">
              <a:extLst>
                <a:ext uri="{FF2B5EF4-FFF2-40B4-BE49-F238E27FC236}">
                  <a16:creationId xmlns:a16="http://schemas.microsoft.com/office/drawing/2014/main" id="{CD23151C-3BC6-49E0-8282-8A7236BD3F80}"/>
                </a:ext>
              </a:extLst>
            </p:cNvPr>
            <p:cNvSpPr/>
            <p:nvPr userDrawn="1"/>
          </p:nvSpPr>
          <p:spPr bwMode="auto">
            <a:xfrm>
              <a:off x="7096125" y="2349500"/>
              <a:ext cx="407988" cy="241300"/>
            </a:xfrm>
            <a:custGeom>
              <a:avLst/>
              <a:gdLst>
                <a:gd name="T0" fmla="*/ 237 w 257"/>
                <a:gd name="T1" fmla="*/ 152 h 152"/>
                <a:gd name="T2" fmla="*/ 0 w 257"/>
                <a:gd name="T3" fmla="*/ 105 h 152"/>
                <a:gd name="T4" fmla="*/ 20 w 257"/>
                <a:gd name="T5" fmla="*/ 0 h 152"/>
                <a:gd name="T6" fmla="*/ 257 w 257"/>
                <a:gd name="T7" fmla="*/ 47 h 152"/>
                <a:gd name="T8" fmla="*/ 237 w 257"/>
                <a:gd name="T9" fmla="*/ 152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7" h="152">
                  <a:moveTo>
                    <a:pt x="237" y="152"/>
                  </a:moveTo>
                  <a:lnTo>
                    <a:pt x="0" y="105"/>
                  </a:lnTo>
                  <a:lnTo>
                    <a:pt x="20" y="0"/>
                  </a:lnTo>
                  <a:lnTo>
                    <a:pt x="257" y="47"/>
                  </a:lnTo>
                  <a:lnTo>
                    <a:pt x="237" y="152"/>
                  </a:lnTo>
                  <a:close/>
                </a:path>
              </a:pathLst>
            </a:custGeom>
            <a:solidFill>
              <a:srgbClr val="FBFCF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16" name="ïṧḻïḋe">
              <a:extLst>
                <a:ext uri="{FF2B5EF4-FFF2-40B4-BE49-F238E27FC236}">
                  <a16:creationId xmlns:a16="http://schemas.microsoft.com/office/drawing/2014/main" id="{2651A38F-9D2B-48F8-A352-EB9CDDF3B7B0}"/>
                </a:ext>
              </a:extLst>
            </p:cNvPr>
            <p:cNvSpPr/>
            <p:nvPr userDrawn="1"/>
          </p:nvSpPr>
          <p:spPr bwMode="auto">
            <a:xfrm>
              <a:off x="7073900" y="2541588"/>
              <a:ext cx="393700" cy="182563"/>
            </a:xfrm>
            <a:custGeom>
              <a:avLst/>
              <a:gdLst>
                <a:gd name="T0" fmla="*/ 178 w 233"/>
                <a:gd name="T1" fmla="*/ 75 h 108"/>
                <a:gd name="T2" fmla="*/ 49 w 233"/>
                <a:gd name="T3" fmla="*/ 50 h 108"/>
                <a:gd name="T4" fmla="*/ 10 w 233"/>
                <a:gd name="T5" fmla="*/ 0 h 108"/>
                <a:gd name="T6" fmla="*/ 4 w 233"/>
                <a:gd name="T7" fmla="*/ 28 h 108"/>
                <a:gd name="T8" fmla="*/ 43 w 233"/>
                <a:gd name="T9" fmla="*/ 77 h 108"/>
                <a:gd name="T10" fmla="*/ 173 w 233"/>
                <a:gd name="T11" fmla="*/ 103 h 108"/>
                <a:gd name="T12" fmla="*/ 227 w 233"/>
                <a:gd name="T13" fmla="*/ 72 h 108"/>
                <a:gd name="T14" fmla="*/ 233 w 233"/>
                <a:gd name="T15" fmla="*/ 44 h 108"/>
                <a:gd name="T16" fmla="*/ 178 w 233"/>
                <a:gd name="T17" fmla="*/ 75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33" h="108">
                  <a:moveTo>
                    <a:pt x="178" y="75"/>
                  </a:moveTo>
                  <a:cubicBezTo>
                    <a:pt x="49" y="50"/>
                    <a:pt x="49" y="50"/>
                    <a:pt x="49" y="50"/>
                  </a:cubicBezTo>
                  <a:cubicBezTo>
                    <a:pt x="23" y="44"/>
                    <a:pt x="5" y="22"/>
                    <a:pt x="10" y="0"/>
                  </a:cubicBezTo>
                  <a:cubicBezTo>
                    <a:pt x="4" y="28"/>
                    <a:pt x="4" y="28"/>
                    <a:pt x="4" y="28"/>
                  </a:cubicBezTo>
                  <a:cubicBezTo>
                    <a:pt x="0" y="50"/>
                    <a:pt x="17" y="72"/>
                    <a:pt x="43" y="77"/>
                  </a:cubicBezTo>
                  <a:cubicBezTo>
                    <a:pt x="173" y="103"/>
                    <a:pt x="173" y="103"/>
                    <a:pt x="173" y="103"/>
                  </a:cubicBezTo>
                  <a:cubicBezTo>
                    <a:pt x="199" y="108"/>
                    <a:pt x="223" y="94"/>
                    <a:pt x="227" y="72"/>
                  </a:cubicBezTo>
                  <a:cubicBezTo>
                    <a:pt x="233" y="44"/>
                    <a:pt x="233" y="44"/>
                    <a:pt x="233" y="44"/>
                  </a:cubicBezTo>
                  <a:cubicBezTo>
                    <a:pt x="229" y="66"/>
                    <a:pt x="204" y="80"/>
                    <a:pt x="178" y="75"/>
                  </a:cubicBezTo>
                  <a:close/>
                </a:path>
              </a:pathLst>
            </a:custGeom>
            <a:solidFill>
              <a:srgbClr val="F56E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17" name="îs1ide">
              <a:extLst>
                <a:ext uri="{FF2B5EF4-FFF2-40B4-BE49-F238E27FC236}">
                  <a16:creationId xmlns:a16="http://schemas.microsoft.com/office/drawing/2014/main" id="{338F18CC-02AA-45B5-9868-0771690D5A79}"/>
                </a:ext>
              </a:extLst>
            </p:cNvPr>
            <p:cNvSpPr/>
            <p:nvPr userDrawn="1"/>
          </p:nvSpPr>
          <p:spPr bwMode="auto">
            <a:xfrm>
              <a:off x="7123113" y="2349500"/>
              <a:ext cx="381000" cy="104775"/>
            </a:xfrm>
            <a:custGeom>
              <a:avLst/>
              <a:gdLst>
                <a:gd name="T0" fmla="*/ 237 w 240"/>
                <a:gd name="T1" fmla="*/ 66 h 66"/>
                <a:gd name="T2" fmla="*/ 0 w 240"/>
                <a:gd name="T3" fmla="*/ 19 h 66"/>
                <a:gd name="T4" fmla="*/ 3 w 240"/>
                <a:gd name="T5" fmla="*/ 0 h 66"/>
                <a:gd name="T6" fmla="*/ 240 w 240"/>
                <a:gd name="T7" fmla="*/ 47 h 66"/>
                <a:gd name="T8" fmla="*/ 237 w 240"/>
                <a:gd name="T9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0" h="66">
                  <a:moveTo>
                    <a:pt x="237" y="66"/>
                  </a:moveTo>
                  <a:lnTo>
                    <a:pt x="0" y="19"/>
                  </a:lnTo>
                  <a:lnTo>
                    <a:pt x="3" y="0"/>
                  </a:lnTo>
                  <a:lnTo>
                    <a:pt x="240" y="47"/>
                  </a:lnTo>
                  <a:lnTo>
                    <a:pt x="237" y="66"/>
                  </a:lnTo>
                  <a:close/>
                </a:path>
              </a:pathLst>
            </a:custGeom>
            <a:solidFill>
              <a:srgbClr val="3D69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18" name="ïṥļïḍê">
              <a:extLst>
                <a:ext uri="{FF2B5EF4-FFF2-40B4-BE49-F238E27FC236}">
                  <a16:creationId xmlns:a16="http://schemas.microsoft.com/office/drawing/2014/main" id="{A0F653DF-0EAF-43F8-9841-B8F3DD977467}"/>
                </a:ext>
              </a:extLst>
            </p:cNvPr>
            <p:cNvSpPr/>
            <p:nvPr userDrawn="1"/>
          </p:nvSpPr>
          <p:spPr bwMode="auto">
            <a:xfrm>
              <a:off x="7138988" y="2414588"/>
              <a:ext cx="90488" cy="90488"/>
            </a:xfrm>
            <a:custGeom>
              <a:avLst/>
              <a:gdLst>
                <a:gd name="T0" fmla="*/ 57 w 57"/>
                <a:gd name="T1" fmla="*/ 23 h 57"/>
                <a:gd name="T2" fmla="*/ 42 w 57"/>
                <a:gd name="T3" fmla="*/ 21 h 57"/>
                <a:gd name="T4" fmla="*/ 44 w 57"/>
                <a:gd name="T5" fmla="*/ 5 h 57"/>
                <a:gd name="T6" fmla="*/ 24 w 57"/>
                <a:gd name="T7" fmla="*/ 0 h 57"/>
                <a:gd name="T8" fmla="*/ 21 w 57"/>
                <a:gd name="T9" fmla="*/ 16 h 57"/>
                <a:gd name="T10" fmla="*/ 5 w 57"/>
                <a:gd name="T11" fmla="*/ 13 h 57"/>
                <a:gd name="T12" fmla="*/ 0 w 57"/>
                <a:gd name="T13" fmla="*/ 34 h 57"/>
                <a:gd name="T14" fmla="*/ 16 w 57"/>
                <a:gd name="T15" fmla="*/ 38 h 57"/>
                <a:gd name="T16" fmla="*/ 13 w 57"/>
                <a:gd name="T17" fmla="*/ 53 h 57"/>
                <a:gd name="T18" fmla="*/ 34 w 57"/>
                <a:gd name="T19" fmla="*/ 57 h 57"/>
                <a:gd name="T20" fmla="*/ 38 w 57"/>
                <a:gd name="T21" fmla="*/ 41 h 57"/>
                <a:gd name="T22" fmla="*/ 53 w 57"/>
                <a:gd name="T23" fmla="*/ 44 h 57"/>
                <a:gd name="T24" fmla="*/ 57 w 57"/>
                <a:gd name="T25" fmla="*/ 23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7" h="57">
                  <a:moveTo>
                    <a:pt x="57" y="23"/>
                  </a:moveTo>
                  <a:lnTo>
                    <a:pt x="42" y="21"/>
                  </a:lnTo>
                  <a:lnTo>
                    <a:pt x="44" y="5"/>
                  </a:lnTo>
                  <a:lnTo>
                    <a:pt x="24" y="0"/>
                  </a:lnTo>
                  <a:lnTo>
                    <a:pt x="21" y="16"/>
                  </a:lnTo>
                  <a:lnTo>
                    <a:pt x="5" y="13"/>
                  </a:lnTo>
                  <a:lnTo>
                    <a:pt x="0" y="34"/>
                  </a:lnTo>
                  <a:lnTo>
                    <a:pt x="16" y="38"/>
                  </a:lnTo>
                  <a:lnTo>
                    <a:pt x="13" y="53"/>
                  </a:lnTo>
                  <a:lnTo>
                    <a:pt x="34" y="57"/>
                  </a:lnTo>
                  <a:lnTo>
                    <a:pt x="38" y="41"/>
                  </a:lnTo>
                  <a:lnTo>
                    <a:pt x="53" y="44"/>
                  </a:lnTo>
                  <a:lnTo>
                    <a:pt x="57" y="23"/>
                  </a:lnTo>
                  <a:close/>
                </a:path>
              </a:pathLst>
            </a:custGeom>
            <a:solidFill>
              <a:srgbClr val="3D69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19" name="ïŝḷíďê">
              <a:extLst>
                <a:ext uri="{FF2B5EF4-FFF2-40B4-BE49-F238E27FC236}">
                  <a16:creationId xmlns:a16="http://schemas.microsoft.com/office/drawing/2014/main" id="{8D5957C7-C6A8-426E-8E7C-E4D6A0FAE1AF}"/>
                </a:ext>
              </a:extLst>
            </p:cNvPr>
            <p:cNvSpPr/>
            <p:nvPr userDrawn="1"/>
          </p:nvSpPr>
          <p:spPr bwMode="auto">
            <a:xfrm>
              <a:off x="7321550" y="2454275"/>
              <a:ext cx="136525" cy="39688"/>
            </a:xfrm>
            <a:custGeom>
              <a:avLst/>
              <a:gdLst>
                <a:gd name="T0" fmla="*/ 83 w 86"/>
                <a:gd name="T1" fmla="*/ 25 h 25"/>
                <a:gd name="T2" fmla="*/ 0 w 86"/>
                <a:gd name="T3" fmla="*/ 9 h 25"/>
                <a:gd name="T4" fmla="*/ 3 w 86"/>
                <a:gd name="T5" fmla="*/ 0 h 25"/>
                <a:gd name="T6" fmla="*/ 86 w 86"/>
                <a:gd name="T7" fmla="*/ 17 h 25"/>
                <a:gd name="T8" fmla="*/ 83 w 86"/>
                <a:gd name="T9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6" h="25">
                  <a:moveTo>
                    <a:pt x="83" y="25"/>
                  </a:moveTo>
                  <a:lnTo>
                    <a:pt x="0" y="9"/>
                  </a:lnTo>
                  <a:lnTo>
                    <a:pt x="3" y="0"/>
                  </a:lnTo>
                  <a:lnTo>
                    <a:pt x="86" y="17"/>
                  </a:lnTo>
                  <a:lnTo>
                    <a:pt x="83" y="25"/>
                  </a:lnTo>
                  <a:close/>
                </a:path>
              </a:pathLst>
            </a:custGeom>
            <a:solidFill>
              <a:srgbClr val="D2D3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20" name="íşḷîḑè">
              <a:extLst>
                <a:ext uri="{FF2B5EF4-FFF2-40B4-BE49-F238E27FC236}">
                  <a16:creationId xmlns:a16="http://schemas.microsoft.com/office/drawing/2014/main" id="{784093A3-14DD-4E5C-82D7-A7167646799B}"/>
                </a:ext>
              </a:extLst>
            </p:cNvPr>
            <p:cNvSpPr/>
            <p:nvPr userDrawn="1"/>
          </p:nvSpPr>
          <p:spPr bwMode="auto">
            <a:xfrm>
              <a:off x="7315200" y="2490788"/>
              <a:ext cx="134938" cy="41275"/>
            </a:xfrm>
            <a:custGeom>
              <a:avLst/>
              <a:gdLst>
                <a:gd name="T0" fmla="*/ 83 w 85"/>
                <a:gd name="T1" fmla="*/ 26 h 26"/>
                <a:gd name="T2" fmla="*/ 0 w 85"/>
                <a:gd name="T3" fmla="*/ 9 h 26"/>
                <a:gd name="T4" fmla="*/ 1 w 85"/>
                <a:gd name="T5" fmla="*/ 0 h 26"/>
                <a:gd name="T6" fmla="*/ 85 w 85"/>
                <a:gd name="T7" fmla="*/ 16 h 26"/>
                <a:gd name="T8" fmla="*/ 83 w 85"/>
                <a:gd name="T9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5" h="26">
                  <a:moveTo>
                    <a:pt x="83" y="26"/>
                  </a:moveTo>
                  <a:lnTo>
                    <a:pt x="0" y="9"/>
                  </a:lnTo>
                  <a:lnTo>
                    <a:pt x="1" y="0"/>
                  </a:lnTo>
                  <a:lnTo>
                    <a:pt x="85" y="16"/>
                  </a:lnTo>
                  <a:lnTo>
                    <a:pt x="83" y="26"/>
                  </a:lnTo>
                  <a:close/>
                </a:path>
              </a:pathLst>
            </a:custGeom>
            <a:solidFill>
              <a:srgbClr val="D2D3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21" name="ïṥľîďé">
              <a:extLst>
                <a:ext uri="{FF2B5EF4-FFF2-40B4-BE49-F238E27FC236}">
                  <a16:creationId xmlns:a16="http://schemas.microsoft.com/office/drawing/2014/main" id="{9634EEE8-B50C-4298-8512-CA66E41FF8FF}"/>
                </a:ext>
              </a:extLst>
            </p:cNvPr>
            <p:cNvSpPr/>
            <p:nvPr userDrawn="1"/>
          </p:nvSpPr>
          <p:spPr bwMode="auto">
            <a:xfrm>
              <a:off x="7191375" y="2909888"/>
              <a:ext cx="173038" cy="179388"/>
            </a:xfrm>
            <a:custGeom>
              <a:avLst/>
              <a:gdLst>
                <a:gd name="T0" fmla="*/ 109 w 109"/>
                <a:gd name="T1" fmla="*/ 85 h 113"/>
                <a:gd name="T2" fmla="*/ 30 w 109"/>
                <a:gd name="T3" fmla="*/ 0 h 113"/>
                <a:gd name="T4" fmla="*/ 0 w 109"/>
                <a:gd name="T5" fmla="*/ 28 h 113"/>
                <a:gd name="T6" fmla="*/ 79 w 109"/>
                <a:gd name="T7" fmla="*/ 113 h 113"/>
                <a:gd name="T8" fmla="*/ 109 w 109"/>
                <a:gd name="T9" fmla="*/ 85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9" h="113">
                  <a:moveTo>
                    <a:pt x="109" y="85"/>
                  </a:moveTo>
                  <a:lnTo>
                    <a:pt x="30" y="0"/>
                  </a:lnTo>
                  <a:lnTo>
                    <a:pt x="0" y="28"/>
                  </a:lnTo>
                  <a:lnTo>
                    <a:pt x="79" y="113"/>
                  </a:lnTo>
                  <a:lnTo>
                    <a:pt x="109" y="85"/>
                  </a:lnTo>
                  <a:close/>
                </a:path>
              </a:pathLst>
            </a:custGeom>
            <a:solidFill>
              <a:srgbClr val="2854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22" name="iṡľide">
              <a:extLst>
                <a:ext uri="{FF2B5EF4-FFF2-40B4-BE49-F238E27FC236}">
                  <a16:creationId xmlns:a16="http://schemas.microsoft.com/office/drawing/2014/main" id="{3DC22523-E8E4-473B-8185-4A15C1797B05}"/>
                </a:ext>
              </a:extLst>
            </p:cNvPr>
            <p:cNvSpPr/>
            <p:nvPr userDrawn="1"/>
          </p:nvSpPr>
          <p:spPr bwMode="auto">
            <a:xfrm>
              <a:off x="7197725" y="2914650"/>
              <a:ext cx="53975" cy="50800"/>
            </a:xfrm>
            <a:custGeom>
              <a:avLst/>
              <a:gdLst>
                <a:gd name="T0" fmla="*/ 34 w 34"/>
                <a:gd name="T1" fmla="*/ 5 h 32"/>
                <a:gd name="T2" fmla="*/ 29 w 34"/>
                <a:gd name="T3" fmla="*/ 0 h 32"/>
                <a:gd name="T4" fmla="*/ 0 w 34"/>
                <a:gd name="T5" fmla="*/ 29 h 32"/>
                <a:gd name="T6" fmla="*/ 4 w 34"/>
                <a:gd name="T7" fmla="*/ 32 h 32"/>
                <a:gd name="T8" fmla="*/ 34 w 34"/>
                <a:gd name="T9" fmla="*/ 5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32">
                  <a:moveTo>
                    <a:pt x="34" y="5"/>
                  </a:moveTo>
                  <a:lnTo>
                    <a:pt x="29" y="0"/>
                  </a:lnTo>
                  <a:lnTo>
                    <a:pt x="0" y="29"/>
                  </a:lnTo>
                  <a:lnTo>
                    <a:pt x="4" y="32"/>
                  </a:lnTo>
                  <a:lnTo>
                    <a:pt x="34" y="5"/>
                  </a:lnTo>
                  <a:close/>
                </a:path>
              </a:pathLst>
            </a:custGeom>
            <a:solidFill>
              <a:srgbClr val="306F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23" name="iṥ1îḍé">
              <a:extLst>
                <a:ext uri="{FF2B5EF4-FFF2-40B4-BE49-F238E27FC236}">
                  <a16:creationId xmlns:a16="http://schemas.microsoft.com/office/drawing/2014/main" id="{4535394C-CE24-4124-BE5E-029A0DD6EE2C}"/>
                </a:ext>
              </a:extLst>
            </p:cNvPr>
            <p:cNvSpPr/>
            <p:nvPr userDrawn="1"/>
          </p:nvSpPr>
          <p:spPr bwMode="auto">
            <a:xfrm>
              <a:off x="7208838" y="2928938"/>
              <a:ext cx="53975" cy="50800"/>
            </a:xfrm>
            <a:custGeom>
              <a:avLst/>
              <a:gdLst>
                <a:gd name="T0" fmla="*/ 34 w 34"/>
                <a:gd name="T1" fmla="*/ 4 h 32"/>
                <a:gd name="T2" fmla="*/ 31 w 34"/>
                <a:gd name="T3" fmla="*/ 0 h 32"/>
                <a:gd name="T4" fmla="*/ 0 w 34"/>
                <a:gd name="T5" fmla="*/ 27 h 32"/>
                <a:gd name="T6" fmla="*/ 4 w 34"/>
                <a:gd name="T7" fmla="*/ 32 h 32"/>
                <a:gd name="T8" fmla="*/ 34 w 34"/>
                <a:gd name="T9" fmla="*/ 4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32">
                  <a:moveTo>
                    <a:pt x="34" y="4"/>
                  </a:moveTo>
                  <a:lnTo>
                    <a:pt x="31" y="0"/>
                  </a:lnTo>
                  <a:lnTo>
                    <a:pt x="0" y="27"/>
                  </a:lnTo>
                  <a:lnTo>
                    <a:pt x="4" y="32"/>
                  </a:lnTo>
                  <a:lnTo>
                    <a:pt x="34" y="4"/>
                  </a:lnTo>
                  <a:close/>
                </a:path>
              </a:pathLst>
            </a:custGeom>
            <a:solidFill>
              <a:srgbClr val="306F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24" name="iṥľîḓè">
              <a:extLst>
                <a:ext uri="{FF2B5EF4-FFF2-40B4-BE49-F238E27FC236}">
                  <a16:creationId xmlns:a16="http://schemas.microsoft.com/office/drawing/2014/main" id="{607DF9CB-210A-44A4-822C-17513D602595}"/>
                </a:ext>
              </a:extLst>
            </p:cNvPr>
            <p:cNvSpPr/>
            <p:nvPr userDrawn="1"/>
          </p:nvSpPr>
          <p:spPr bwMode="auto">
            <a:xfrm>
              <a:off x="7223125" y="2941638"/>
              <a:ext cx="52388" cy="50800"/>
            </a:xfrm>
            <a:custGeom>
              <a:avLst/>
              <a:gdLst>
                <a:gd name="T0" fmla="*/ 33 w 33"/>
                <a:gd name="T1" fmla="*/ 5 h 32"/>
                <a:gd name="T2" fmla="*/ 29 w 33"/>
                <a:gd name="T3" fmla="*/ 0 h 32"/>
                <a:gd name="T4" fmla="*/ 0 w 33"/>
                <a:gd name="T5" fmla="*/ 28 h 32"/>
                <a:gd name="T6" fmla="*/ 3 w 33"/>
                <a:gd name="T7" fmla="*/ 32 h 32"/>
                <a:gd name="T8" fmla="*/ 33 w 33"/>
                <a:gd name="T9" fmla="*/ 5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32">
                  <a:moveTo>
                    <a:pt x="33" y="5"/>
                  </a:moveTo>
                  <a:lnTo>
                    <a:pt x="29" y="0"/>
                  </a:lnTo>
                  <a:lnTo>
                    <a:pt x="0" y="28"/>
                  </a:lnTo>
                  <a:lnTo>
                    <a:pt x="3" y="32"/>
                  </a:lnTo>
                  <a:lnTo>
                    <a:pt x="33" y="5"/>
                  </a:lnTo>
                  <a:close/>
                </a:path>
              </a:pathLst>
            </a:custGeom>
            <a:solidFill>
              <a:srgbClr val="306F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25" name="ïṡḻiḑè">
              <a:extLst>
                <a:ext uri="{FF2B5EF4-FFF2-40B4-BE49-F238E27FC236}">
                  <a16:creationId xmlns:a16="http://schemas.microsoft.com/office/drawing/2014/main" id="{8D532760-F6B1-404B-9232-C7EB90ECF7FD}"/>
                </a:ext>
              </a:extLst>
            </p:cNvPr>
            <p:cNvSpPr/>
            <p:nvPr userDrawn="1"/>
          </p:nvSpPr>
          <p:spPr bwMode="auto">
            <a:xfrm>
              <a:off x="7234238" y="2955925"/>
              <a:ext cx="53975" cy="50800"/>
            </a:xfrm>
            <a:custGeom>
              <a:avLst/>
              <a:gdLst>
                <a:gd name="T0" fmla="*/ 34 w 34"/>
                <a:gd name="T1" fmla="*/ 4 h 32"/>
                <a:gd name="T2" fmla="*/ 30 w 34"/>
                <a:gd name="T3" fmla="*/ 0 h 32"/>
                <a:gd name="T4" fmla="*/ 0 w 34"/>
                <a:gd name="T5" fmla="*/ 27 h 32"/>
                <a:gd name="T6" fmla="*/ 4 w 34"/>
                <a:gd name="T7" fmla="*/ 32 h 32"/>
                <a:gd name="T8" fmla="*/ 34 w 34"/>
                <a:gd name="T9" fmla="*/ 4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32">
                  <a:moveTo>
                    <a:pt x="34" y="4"/>
                  </a:moveTo>
                  <a:lnTo>
                    <a:pt x="30" y="0"/>
                  </a:lnTo>
                  <a:lnTo>
                    <a:pt x="0" y="27"/>
                  </a:lnTo>
                  <a:lnTo>
                    <a:pt x="4" y="32"/>
                  </a:lnTo>
                  <a:lnTo>
                    <a:pt x="34" y="4"/>
                  </a:lnTo>
                  <a:close/>
                </a:path>
              </a:pathLst>
            </a:custGeom>
            <a:solidFill>
              <a:srgbClr val="306F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26" name="îšļîḋé">
              <a:extLst>
                <a:ext uri="{FF2B5EF4-FFF2-40B4-BE49-F238E27FC236}">
                  <a16:creationId xmlns:a16="http://schemas.microsoft.com/office/drawing/2014/main" id="{26C3BAB6-4564-4DB4-80E1-63A8BF31F5AA}"/>
                </a:ext>
              </a:extLst>
            </p:cNvPr>
            <p:cNvSpPr/>
            <p:nvPr userDrawn="1"/>
          </p:nvSpPr>
          <p:spPr bwMode="auto">
            <a:xfrm>
              <a:off x="7245350" y="2968625"/>
              <a:ext cx="55563" cy="50800"/>
            </a:xfrm>
            <a:custGeom>
              <a:avLst/>
              <a:gdLst>
                <a:gd name="T0" fmla="*/ 35 w 35"/>
                <a:gd name="T1" fmla="*/ 3 h 32"/>
                <a:gd name="T2" fmla="*/ 31 w 35"/>
                <a:gd name="T3" fmla="*/ 0 h 32"/>
                <a:gd name="T4" fmla="*/ 0 w 35"/>
                <a:gd name="T5" fmla="*/ 28 h 32"/>
                <a:gd name="T6" fmla="*/ 5 w 35"/>
                <a:gd name="T7" fmla="*/ 32 h 32"/>
                <a:gd name="T8" fmla="*/ 35 w 35"/>
                <a:gd name="T9" fmla="*/ 3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32">
                  <a:moveTo>
                    <a:pt x="35" y="3"/>
                  </a:moveTo>
                  <a:lnTo>
                    <a:pt x="31" y="0"/>
                  </a:lnTo>
                  <a:lnTo>
                    <a:pt x="0" y="28"/>
                  </a:lnTo>
                  <a:lnTo>
                    <a:pt x="5" y="32"/>
                  </a:lnTo>
                  <a:lnTo>
                    <a:pt x="35" y="3"/>
                  </a:lnTo>
                  <a:close/>
                </a:path>
              </a:pathLst>
            </a:custGeom>
            <a:solidFill>
              <a:srgbClr val="306F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27" name="îśļiḓe">
              <a:extLst>
                <a:ext uri="{FF2B5EF4-FFF2-40B4-BE49-F238E27FC236}">
                  <a16:creationId xmlns:a16="http://schemas.microsoft.com/office/drawing/2014/main" id="{B898DF14-C58F-4B2C-B570-AE3009F22C61}"/>
                </a:ext>
              </a:extLst>
            </p:cNvPr>
            <p:cNvSpPr/>
            <p:nvPr userDrawn="1"/>
          </p:nvSpPr>
          <p:spPr bwMode="auto">
            <a:xfrm>
              <a:off x="7259638" y="2982913"/>
              <a:ext cx="52388" cy="49213"/>
            </a:xfrm>
            <a:custGeom>
              <a:avLst/>
              <a:gdLst>
                <a:gd name="T0" fmla="*/ 33 w 33"/>
                <a:gd name="T1" fmla="*/ 3 h 31"/>
                <a:gd name="T2" fmla="*/ 30 w 33"/>
                <a:gd name="T3" fmla="*/ 0 h 31"/>
                <a:gd name="T4" fmla="*/ 0 w 33"/>
                <a:gd name="T5" fmla="*/ 27 h 31"/>
                <a:gd name="T6" fmla="*/ 3 w 33"/>
                <a:gd name="T7" fmla="*/ 31 h 31"/>
                <a:gd name="T8" fmla="*/ 33 w 33"/>
                <a:gd name="T9" fmla="*/ 3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31">
                  <a:moveTo>
                    <a:pt x="33" y="3"/>
                  </a:moveTo>
                  <a:lnTo>
                    <a:pt x="30" y="0"/>
                  </a:lnTo>
                  <a:lnTo>
                    <a:pt x="0" y="27"/>
                  </a:lnTo>
                  <a:lnTo>
                    <a:pt x="3" y="31"/>
                  </a:lnTo>
                  <a:lnTo>
                    <a:pt x="33" y="3"/>
                  </a:lnTo>
                  <a:close/>
                </a:path>
              </a:pathLst>
            </a:custGeom>
            <a:solidFill>
              <a:srgbClr val="306F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28" name="íṧḷîḍè">
              <a:extLst>
                <a:ext uri="{FF2B5EF4-FFF2-40B4-BE49-F238E27FC236}">
                  <a16:creationId xmlns:a16="http://schemas.microsoft.com/office/drawing/2014/main" id="{3758ED2C-9A10-45F5-AD06-35841E268C12}"/>
                </a:ext>
              </a:extLst>
            </p:cNvPr>
            <p:cNvSpPr/>
            <p:nvPr userDrawn="1"/>
          </p:nvSpPr>
          <p:spPr bwMode="auto">
            <a:xfrm>
              <a:off x="7270750" y="2994025"/>
              <a:ext cx="55563" cy="50800"/>
            </a:xfrm>
            <a:custGeom>
              <a:avLst/>
              <a:gdLst>
                <a:gd name="T0" fmla="*/ 35 w 35"/>
                <a:gd name="T1" fmla="*/ 4 h 32"/>
                <a:gd name="T2" fmla="*/ 30 w 35"/>
                <a:gd name="T3" fmla="*/ 0 h 32"/>
                <a:gd name="T4" fmla="*/ 0 w 35"/>
                <a:gd name="T5" fmla="*/ 29 h 32"/>
                <a:gd name="T6" fmla="*/ 5 w 35"/>
                <a:gd name="T7" fmla="*/ 32 h 32"/>
                <a:gd name="T8" fmla="*/ 35 w 35"/>
                <a:gd name="T9" fmla="*/ 4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32">
                  <a:moveTo>
                    <a:pt x="35" y="4"/>
                  </a:moveTo>
                  <a:lnTo>
                    <a:pt x="30" y="0"/>
                  </a:lnTo>
                  <a:lnTo>
                    <a:pt x="0" y="29"/>
                  </a:lnTo>
                  <a:lnTo>
                    <a:pt x="5" y="32"/>
                  </a:lnTo>
                  <a:lnTo>
                    <a:pt x="35" y="4"/>
                  </a:lnTo>
                  <a:close/>
                </a:path>
              </a:pathLst>
            </a:custGeom>
            <a:solidFill>
              <a:srgbClr val="306F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29" name="ïšļïḍê">
              <a:extLst>
                <a:ext uri="{FF2B5EF4-FFF2-40B4-BE49-F238E27FC236}">
                  <a16:creationId xmlns:a16="http://schemas.microsoft.com/office/drawing/2014/main" id="{513EEDFA-BD27-4559-9A7C-DF72A0D642A2}"/>
                </a:ext>
              </a:extLst>
            </p:cNvPr>
            <p:cNvSpPr/>
            <p:nvPr userDrawn="1"/>
          </p:nvSpPr>
          <p:spPr bwMode="auto">
            <a:xfrm>
              <a:off x="7283450" y="3008313"/>
              <a:ext cx="53975" cy="50800"/>
            </a:xfrm>
            <a:custGeom>
              <a:avLst/>
              <a:gdLst>
                <a:gd name="T0" fmla="*/ 34 w 34"/>
                <a:gd name="T1" fmla="*/ 4 h 32"/>
                <a:gd name="T2" fmla="*/ 30 w 34"/>
                <a:gd name="T3" fmla="*/ 0 h 32"/>
                <a:gd name="T4" fmla="*/ 0 w 34"/>
                <a:gd name="T5" fmla="*/ 27 h 32"/>
                <a:gd name="T6" fmla="*/ 4 w 34"/>
                <a:gd name="T7" fmla="*/ 32 h 32"/>
                <a:gd name="T8" fmla="*/ 34 w 34"/>
                <a:gd name="T9" fmla="*/ 4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32">
                  <a:moveTo>
                    <a:pt x="34" y="4"/>
                  </a:moveTo>
                  <a:lnTo>
                    <a:pt x="30" y="0"/>
                  </a:lnTo>
                  <a:lnTo>
                    <a:pt x="0" y="27"/>
                  </a:lnTo>
                  <a:lnTo>
                    <a:pt x="4" y="32"/>
                  </a:lnTo>
                  <a:lnTo>
                    <a:pt x="34" y="4"/>
                  </a:lnTo>
                  <a:close/>
                </a:path>
              </a:pathLst>
            </a:custGeom>
            <a:solidFill>
              <a:srgbClr val="306F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30" name="i$ḷiḓé">
              <a:extLst>
                <a:ext uri="{FF2B5EF4-FFF2-40B4-BE49-F238E27FC236}">
                  <a16:creationId xmlns:a16="http://schemas.microsoft.com/office/drawing/2014/main" id="{A0B76581-BF94-47DA-816A-EB571B44E0C9}"/>
                </a:ext>
              </a:extLst>
            </p:cNvPr>
            <p:cNvSpPr/>
            <p:nvPr userDrawn="1"/>
          </p:nvSpPr>
          <p:spPr bwMode="auto">
            <a:xfrm>
              <a:off x="7296150" y="3021013"/>
              <a:ext cx="52388" cy="50800"/>
            </a:xfrm>
            <a:custGeom>
              <a:avLst/>
              <a:gdLst>
                <a:gd name="T0" fmla="*/ 33 w 33"/>
                <a:gd name="T1" fmla="*/ 5 h 32"/>
                <a:gd name="T2" fmla="*/ 30 w 33"/>
                <a:gd name="T3" fmla="*/ 0 h 32"/>
                <a:gd name="T4" fmla="*/ 0 w 33"/>
                <a:gd name="T5" fmla="*/ 28 h 32"/>
                <a:gd name="T6" fmla="*/ 4 w 33"/>
                <a:gd name="T7" fmla="*/ 32 h 32"/>
                <a:gd name="T8" fmla="*/ 33 w 33"/>
                <a:gd name="T9" fmla="*/ 5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32">
                  <a:moveTo>
                    <a:pt x="33" y="5"/>
                  </a:moveTo>
                  <a:lnTo>
                    <a:pt x="30" y="0"/>
                  </a:lnTo>
                  <a:lnTo>
                    <a:pt x="0" y="28"/>
                  </a:lnTo>
                  <a:lnTo>
                    <a:pt x="4" y="32"/>
                  </a:lnTo>
                  <a:lnTo>
                    <a:pt x="33" y="5"/>
                  </a:lnTo>
                  <a:close/>
                </a:path>
              </a:pathLst>
            </a:custGeom>
            <a:solidFill>
              <a:srgbClr val="306F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31" name="îşḻiḑe">
              <a:extLst>
                <a:ext uri="{FF2B5EF4-FFF2-40B4-BE49-F238E27FC236}">
                  <a16:creationId xmlns:a16="http://schemas.microsoft.com/office/drawing/2014/main" id="{044757E6-3BC8-4CBE-8234-CD5DE142F16D}"/>
                </a:ext>
              </a:extLst>
            </p:cNvPr>
            <p:cNvSpPr/>
            <p:nvPr userDrawn="1"/>
          </p:nvSpPr>
          <p:spPr bwMode="auto">
            <a:xfrm>
              <a:off x="7308850" y="3035300"/>
              <a:ext cx="53975" cy="50800"/>
            </a:xfrm>
            <a:custGeom>
              <a:avLst/>
              <a:gdLst>
                <a:gd name="T0" fmla="*/ 34 w 34"/>
                <a:gd name="T1" fmla="*/ 4 h 32"/>
                <a:gd name="T2" fmla="*/ 30 w 34"/>
                <a:gd name="T3" fmla="*/ 0 h 32"/>
                <a:gd name="T4" fmla="*/ 0 w 34"/>
                <a:gd name="T5" fmla="*/ 27 h 32"/>
                <a:gd name="T6" fmla="*/ 4 w 34"/>
                <a:gd name="T7" fmla="*/ 32 h 32"/>
                <a:gd name="T8" fmla="*/ 34 w 34"/>
                <a:gd name="T9" fmla="*/ 4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32">
                  <a:moveTo>
                    <a:pt x="34" y="4"/>
                  </a:moveTo>
                  <a:lnTo>
                    <a:pt x="30" y="0"/>
                  </a:lnTo>
                  <a:lnTo>
                    <a:pt x="0" y="27"/>
                  </a:lnTo>
                  <a:lnTo>
                    <a:pt x="4" y="32"/>
                  </a:lnTo>
                  <a:lnTo>
                    <a:pt x="34" y="4"/>
                  </a:lnTo>
                  <a:close/>
                </a:path>
              </a:pathLst>
            </a:custGeom>
            <a:solidFill>
              <a:srgbClr val="306F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32" name="îṩlíďe">
              <a:extLst>
                <a:ext uri="{FF2B5EF4-FFF2-40B4-BE49-F238E27FC236}">
                  <a16:creationId xmlns:a16="http://schemas.microsoft.com/office/drawing/2014/main" id="{0A6171FC-04A8-42CB-B55D-6FFAF284EAB5}"/>
                </a:ext>
              </a:extLst>
            </p:cNvPr>
            <p:cNvSpPr/>
            <p:nvPr userDrawn="1"/>
          </p:nvSpPr>
          <p:spPr bwMode="auto">
            <a:xfrm>
              <a:off x="6738938" y="2978150"/>
              <a:ext cx="554038" cy="527050"/>
            </a:xfrm>
            <a:custGeom>
              <a:avLst/>
              <a:gdLst>
                <a:gd name="T0" fmla="*/ 269 w 328"/>
                <a:gd name="T1" fmla="*/ 0 h 313"/>
                <a:gd name="T2" fmla="*/ 18 w 328"/>
                <a:gd name="T3" fmla="*/ 232 h 313"/>
                <a:gd name="T4" fmla="*/ 16 w 328"/>
                <a:gd name="T5" fmla="*/ 295 h 313"/>
                <a:gd name="T6" fmla="*/ 78 w 328"/>
                <a:gd name="T7" fmla="*/ 297 h 313"/>
                <a:gd name="T8" fmla="*/ 328 w 328"/>
                <a:gd name="T9" fmla="*/ 65 h 313"/>
                <a:gd name="T10" fmla="*/ 269 w 328"/>
                <a:gd name="T11" fmla="*/ 0 h 3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28" h="313">
                  <a:moveTo>
                    <a:pt x="269" y="0"/>
                  </a:moveTo>
                  <a:cubicBezTo>
                    <a:pt x="18" y="232"/>
                    <a:pt x="18" y="232"/>
                    <a:pt x="18" y="232"/>
                  </a:cubicBezTo>
                  <a:cubicBezTo>
                    <a:pt x="1" y="249"/>
                    <a:pt x="0" y="277"/>
                    <a:pt x="16" y="295"/>
                  </a:cubicBezTo>
                  <a:cubicBezTo>
                    <a:pt x="33" y="312"/>
                    <a:pt x="60" y="313"/>
                    <a:pt x="78" y="297"/>
                  </a:cubicBezTo>
                  <a:cubicBezTo>
                    <a:pt x="328" y="65"/>
                    <a:pt x="328" y="65"/>
                    <a:pt x="328" y="65"/>
                  </a:cubicBezTo>
                  <a:cubicBezTo>
                    <a:pt x="269" y="0"/>
                    <a:pt x="269" y="0"/>
                    <a:pt x="269" y="0"/>
                  </a:cubicBezTo>
                </a:path>
              </a:pathLst>
            </a:custGeom>
            <a:solidFill>
              <a:srgbClr val="FAFD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33" name="isḷíḋê">
              <a:extLst>
                <a:ext uri="{FF2B5EF4-FFF2-40B4-BE49-F238E27FC236}">
                  <a16:creationId xmlns:a16="http://schemas.microsoft.com/office/drawing/2014/main" id="{E412536B-9FEA-4928-A3B8-51081E1BD013}"/>
                </a:ext>
              </a:extLst>
            </p:cNvPr>
            <p:cNvSpPr/>
            <p:nvPr userDrawn="1"/>
          </p:nvSpPr>
          <p:spPr bwMode="auto">
            <a:xfrm>
              <a:off x="6764338" y="3100388"/>
              <a:ext cx="398463" cy="381000"/>
            </a:xfrm>
            <a:custGeom>
              <a:avLst/>
              <a:gdLst>
                <a:gd name="T0" fmla="*/ 193 w 236"/>
                <a:gd name="T1" fmla="*/ 0 h 225"/>
                <a:gd name="T2" fmla="*/ 14 w 236"/>
                <a:gd name="T3" fmla="*/ 166 h 225"/>
                <a:gd name="T4" fmla="*/ 12 w 236"/>
                <a:gd name="T5" fmla="*/ 211 h 225"/>
                <a:gd name="T6" fmla="*/ 57 w 236"/>
                <a:gd name="T7" fmla="*/ 213 h 225"/>
                <a:gd name="T8" fmla="*/ 236 w 236"/>
                <a:gd name="T9" fmla="*/ 47 h 225"/>
                <a:gd name="T10" fmla="*/ 193 w 236"/>
                <a:gd name="T11" fmla="*/ 0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36" h="225">
                  <a:moveTo>
                    <a:pt x="193" y="0"/>
                  </a:moveTo>
                  <a:cubicBezTo>
                    <a:pt x="14" y="166"/>
                    <a:pt x="14" y="166"/>
                    <a:pt x="14" y="166"/>
                  </a:cubicBezTo>
                  <a:cubicBezTo>
                    <a:pt x="1" y="178"/>
                    <a:pt x="0" y="198"/>
                    <a:pt x="12" y="211"/>
                  </a:cubicBezTo>
                  <a:cubicBezTo>
                    <a:pt x="24" y="224"/>
                    <a:pt x="44" y="225"/>
                    <a:pt x="57" y="213"/>
                  </a:cubicBezTo>
                  <a:cubicBezTo>
                    <a:pt x="236" y="47"/>
                    <a:pt x="236" y="47"/>
                    <a:pt x="236" y="47"/>
                  </a:cubicBezTo>
                  <a:cubicBezTo>
                    <a:pt x="193" y="0"/>
                    <a:pt x="193" y="0"/>
                    <a:pt x="193" y="0"/>
                  </a:cubicBezTo>
                </a:path>
              </a:pathLst>
            </a:custGeom>
            <a:solidFill>
              <a:srgbClr val="FF787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34" name="îśḻîḍé">
              <a:extLst>
                <a:ext uri="{FF2B5EF4-FFF2-40B4-BE49-F238E27FC236}">
                  <a16:creationId xmlns:a16="http://schemas.microsoft.com/office/drawing/2014/main" id="{FDDCD025-B2A1-4AD2-A4E3-EFFF924888D1}"/>
                </a:ext>
              </a:extLst>
            </p:cNvPr>
            <p:cNvSpPr/>
            <p:nvPr userDrawn="1"/>
          </p:nvSpPr>
          <p:spPr bwMode="auto">
            <a:xfrm>
              <a:off x="7175500" y="2952750"/>
              <a:ext cx="142875" cy="152400"/>
            </a:xfrm>
            <a:custGeom>
              <a:avLst/>
              <a:gdLst>
                <a:gd name="T0" fmla="*/ 90 w 90"/>
                <a:gd name="T1" fmla="*/ 85 h 96"/>
                <a:gd name="T2" fmla="*/ 11 w 90"/>
                <a:gd name="T3" fmla="*/ 0 h 96"/>
                <a:gd name="T4" fmla="*/ 0 w 90"/>
                <a:gd name="T5" fmla="*/ 11 h 96"/>
                <a:gd name="T6" fmla="*/ 79 w 90"/>
                <a:gd name="T7" fmla="*/ 96 h 96"/>
                <a:gd name="T8" fmla="*/ 90 w 90"/>
                <a:gd name="T9" fmla="*/ 85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0" h="96">
                  <a:moveTo>
                    <a:pt x="90" y="85"/>
                  </a:moveTo>
                  <a:lnTo>
                    <a:pt x="11" y="0"/>
                  </a:lnTo>
                  <a:lnTo>
                    <a:pt x="0" y="11"/>
                  </a:lnTo>
                  <a:lnTo>
                    <a:pt x="79" y="96"/>
                  </a:lnTo>
                  <a:lnTo>
                    <a:pt x="90" y="85"/>
                  </a:lnTo>
                  <a:close/>
                </a:path>
              </a:pathLst>
            </a:custGeom>
            <a:solidFill>
              <a:srgbClr val="E8E8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35" name="ïṥļîḍe">
              <a:extLst>
                <a:ext uri="{FF2B5EF4-FFF2-40B4-BE49-F238E27FC236}">
                  <a16:creationId xmlns:a16="http://schemas.microsoft.com/office/drawing/2014/main" id="{9331F0DD-B8D9-4FED-BD9B-0C8DCBF1B522}"/>
                </a:ext>
              </a:extLst>
            </p:cNvPr>
            <p:cNvSpPr/>
            <p:nvPr userDrawn="1"/>
          </p:nvSpPr>
          <p:spPr bwMode="auto">
            <a:xfrm>
              <a:off x="6764338" y="3348038"/>
              <a:ext cx="133350" cy="133350"/>
            </a:xfrm>
            <a:custGeom>
              <a:avLst/>
              <a:gdLst>
                <a:gd name="T0" fmla="*/ 34 w 79"/>
                <a:gd name="T1" fmla="*/ 45 h 79"/>
                <a:gd name="T2" fmla="*/ 36 w 79"/>
                <a:gd name="T3" fmla="*/ 0 h 79"/>
                <a:gd name="T4" fmla="*/ 14 w 79"/>
                <a:gd name="T5" fmla="*/ 20 h 79"/>
                <a:gd name="T6" fmla="*/ 12 w 79"/>
                <a:gd name="T7" fmla="*/ 65 h 79"/>
                <a:gd name="T8" fmla="*/ 57 w 79"/>
                <a:gd name="T9" fmla="*/ 67 h 79"/>
                <a:gd name="T10" fmla="*/ 79 w 79"/>
                <a:gd name="T11" fmla="*/ 47 h 79"/>
                <a:gd name="T12" fmla="*/ 34 w 79"/>
                <a:gd name="T13" fmla="*/ 45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9" h="79">
                  <a:moveTo>
                    <a:pt x="34" y="45"/>
                  </a:moveTo>
                  <a:cubicBezTo>
                    <a:pt x="22" y="32"/>
                    <a:pt x="23" y="12"/>
                    <a:pt x="36" y="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" y="32"/>
                    <a:pt x="0" y="52"/>
                    <a:pt x="12" y="65"/>
                  </a:cubicBezTo>
                  <a:cubicBezTo>
                    <a:pt x="24" y="78"/>
                    <a:pt x="44" y="79"/>
                    <a:pt x="57" y="67"/>
                  </a:cubicBezTo>
                  <a:cubicBezTo>
                    <a:pt x="79" y="47"/>
                    <a:pt x="79" y="47"/>
                    <a:pt x="79" y="47"/>
                  </a:cubicBezTo>
                  <a:cubicBezTo>
                    <a:pt x="66" y="59"/>
                    <a:pt x="46" y="58"/>
                    <a:pt x="34" y="45"/>
                  </a:cubicBezTo>
                  <a:close/>
                </a:path>
              </a:pathLst>
            </a:custGeom>
            <a:solidFill>
              <a:srgbClr val="F56E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36" name="îṩľiḍê">
              <a:extLst>
                <a:ext uri="{FF2B5EF4-FFF2-40B4-BE49-F238E27FC236}">
                  <a16:creationId xmlns:a16="http://schemas.microsoft.com/office/drawing/2014/main" id="{C5351ECA-B510-4328-948F-7FF4A7BF7943}"/>
                </a:ext>
              </a:extLst>
            </p:cNvPr>
            <p:cNvSpPr/>
            <p:nvPr userDrawn="1"/>
          </p:nvSpPr>
          <p:spPr bwMode="auto">
            <a:xfrm>
              <a:off x="6180138" y="1919288"/>
              <a:ext cx="185738" cy="165100"/>
            </a:xfrm>
            <a:custGeom>
              <a:avLst/>
              <a:gdLst>
                <a:gd name="T0" fmla="*/ 7 w 117"/>
                <a:gd name="T1" fmla="*/ 104 h 104"/>
                <a:gd name="T2" fmla="*/ 0 w 117"/>
                <a:gd name="T3" fmla="*/ 97 h 104"/>
                <a:gd name="T4" fmla="*/ 111 w 117"/>
                <a:gd name="T5" fmla="*/ 0 h 104"/>
                <a:gd name="T6" fmla="*/ 117 w 117"/>
                <a:gd name="T7" fmla="*/ 7 h 104"/>
                <a:gd name="T8" fmla="*/ 7 w 117"/>
                <a:gd name="T9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7" h="104">
                  <a:moveTo>
                    <a:pt x="7" y="104"/>
                  </a:moveTo>
                  <a:lnTo>
                    <a:pt x="0" y="97"/>
                  </a:lnTo>
                  <a:lnTo>
                    <a:pt x="111" y="0"/>
                  </a:lnTo>
                  <a:lnTo>
                    <a:pt x="117" y="7"/>
                  </a:lnTo>
                  <a:lnTo>
                    <a:pt x="7" y="104"/>
                  </a:lnTo>
                  <a:close/>
                </a:path>
              </a:pathLst>
            </a:custGeom>
            <a:solidFill>
              <a:srgbClr val="F1F0E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37" name="islîďê">
              <a:extLst>
                <a:ext uri="{FF2B5EF4-FFF2-40B4-BE49-F238E27FC236}">
                  <a16:creationId xmlns:a16="http://schemas.microsoft.com/office/drawing/2014/main" id="{E7222ED3-63FD-4A96-818C-77E7D9301FC3}"/>
                </a:ext>
              </a:extLst>
            </p:cNvPr>
            <p:cNvSpPr/>
            <p:nvPr userDrawn="1"/>
          </p:nvSpPr>
          <p:spPr bwMode="auto">
            <a:xfrm>
              <a:off x="6345238" y="1919288"/>
              <a:ext cx="20638" cy="22225"/>
            </a:xfrm>
            <a:custGeom>
              <a:avLst/>
              <a:gdLst>
                <a:gd name="T0" fmla="*/ 6 w 13"/>
                <a:gd name="T1" fmla="*/ 14 h 14"/>
                <a:gd name="T2" fmla="*/ 13 w 13"/>
                <a:gd name="T3" fmla="*/ 7 h 14"/>
                <a:gd name="T4" fmla="*/ 7 w 13"/>
                <a:gd name="T5" fmla="*/ 0 h 14"/>
                <a:gd name="T6" fmla="*/ 0 w 13"/>
                <a:gd name="T7" fmla="*/ 6 h 14"/>
                <a:gd name="T8" fmla="*/ 6 w 13"/>
                <a:gd name="T9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14">
                  <a:moveTo>
                    <a:pt x="6" y="14"/>
                  </a:moveTo>
                  <a:lnTo>
                    <a:pt x="13" y="7"/>
                  </a:lnTo>
                  <a:lnTo>
                    <a:pt x="7" y="0"/>
                  </a:lnTo>
                  <a:lnTo>
                    <a:pt x="0" y="6"/>
                  </a:lnTo>
                  <a:lnTo>
                    <a:pt x="6" y="14"/>
                  </a:lnTo>
                  <a:close/>
                </a:path>
              </a:pathLst>
            </a:custGeom>
            <a:solidFill>
              <a:srgbClr val="C1C0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38" name="iśḻíďe">
              <a:extLst>
                <a:ext uri="{FF2B5EF4-FFF2-40B4-BE49-F238E27FC236}">
                  <a16:creationId xmlns:a16="http://schemas.microsoft.com/office/drawing/2014/main" id="{FC6F1BA2-8953-44DF-891A-9E0456D92658}"/>
                </a:ext>
              </a:extLst>
            </p:cNvPr>
            <p:cNvSpPr/>
            <p:nvPr userDrawn="1"/>
          </p:nvSpPr>
          <p:spPr bwMode="auto">
            <a:xfrm>
              <a:off x="6340475" y="1509713"/>
              <a:ext cx="476250" cy="438150"/>
            </a:xfrm>
            <a:custGeom>
              <a:avLst/>
              <a:gdLst>
                <a:gd name="T0" fmla="*/ 210 w 281"/>
                <a:gd name="T1" fmla="*/ 0 h 259"/>
                <a:gd name="T2" fmla="*/ 28 w 281"/>
                <a:gd name="T3" fmla="*/ 160 h 259"/>
                <a:gd name="T4" fmla="*/ 15 w 281"/>
                <a:gd name="T5" fmla="*/ 213 h 259"/>
                <a:gd name="T6" fmla="*/ 1 w 281"/>
                <a:gd name="T7" fmla="*/ 226 h 259"/>
                <a:gd name="T8" fmla="*/ 10 w 281"/>
                <a:gd name="T9" fmla="*/ 247 h 259"/>
                <a:gd name="T10" fmla="*/ 30 w 281"/>
                <a:gd name="T11" fmla="*/ 259 h 259"/>
                <a:gd name="T12" fmla="*/ 44 w 281"/>
                <a:gd name="T13" fmla="*/ 246 h 259"/>
                <a:gd name="T14" fmla="*/ 99 w 281"/>
                <a:gd name="T15" fmla="*/ 241 h 259"/>
                <a:gd name="T16" fmla="*/ 281 w 281"/>
                <a:gd name="T17" fmla="*/ 81 h 259"/>
                <a:gd name="T18" fmla="*/ 210 w 281"/>
                <a:gd name="T19" fmla="*/ 0 h 2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1" h="259">
                  <a:moveTo>
                    <a:pt x="210" y="0"/>
                  </a:moveTo>
                  <a:cubicBezTo>
                    <a:pt x="28" y="160"/>
                    <a:pt x="28" y="160"/>
                    <a:pt x="28" y="160"/>
                  </a:cubicBezTo>
                  <a:cubicBezTo>
                    <a:pt x="15" y="213"/>
                    <a:pt x="15" y="213"/>
                    <a:pt x="15" y="213"/>
                  </a:cubicBezTo>
                  <a:cubicBezTo>
                    <a:pt x="1" y="226"/>
                    <a:pt x="1" y="226"/>
                    <a:pt x="1" y="226"/>
                  </a:cubicBezTo>
                  <a:cubicBezTo>
                    <a:pt x="1" y="226"/>
                    <a:pt x="0" y="236"/>
                    <a:pt x="10" y="247"/>
                  </a:cubicBezTo>
                  <a:cubicBezTo>
                    <a:pt x="20" y="259"/>
                    <a:pt x="30" y="259"/>
                    <a:pt x="30" y="259"/>
                  </a:cubicBezTo>
                  <a:cubicBezTo>
                    <a:pt x="44" y="246"/>
                    <a:pt x="44" y="246"/>
                    <a:pt x="44" y="246"/>
                  </a:cubicBezTo>
                  <a:cubicBezTo>
                    <a:pt x="99" y="241"/>
                    <a:pt x="99" y="241"/>
                    <a:pt x="99" y="241"/>
                  </a:cubicBezTo>
                  <a:cubicBezTo>
                    <a:pt x="281" y="81"/>
                    <a:pt x="281" y="81"/>
                    <a:pt x="281" y="81"/>
                  </a:cubicBezTo>
                  <a:lnTo>
                    <a:pt x="210" y="0"/>
                  </a:lnTo>
                  <a:close/>
                </a:path>
              </a:pathLst>
            </a:custGeom>
            <a:solidFill>
              <a:srgbClr val="FAFD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39" name="iŝḻïḑé">
              <a:extLst>
                <a:ext uri="{FF2B5EF4-FFF2-40B4-BE49-F238E27FC236}">
                  <a16:creationId xmlns:a16="http://schemas.microsoft.com/office/drawing/2014/main" id="{ECC91659-A898-49EA-8DFB-DE727FF3C3BE}"/>
                </a:ext>
              </a:extLst>
            </p:cNvPr>
            <p:cNvSpPr/>
            <p:nvPr userDrawn="1"/>
          </p:nvSpPr>
          <p:spPr bwMode="auto">
            <a:xfrm>
              <a:off x="6745288" y="1403350"/>
              <a:ext cx="201613" cy="192088"/>
            </a:xfrm>
            <a:custGeom>
              <a:avLst/>
              <a:gdLst>
                <a:gd name="T0" fmla="*/ 32 w 127"/>
                <a:gd name="T1" fmla="*/ 121 h 121"/>
                <a:gd name="T2" fmla="*/ 0 w 127"/>
                <a:gd name="T3" fmla="*/ 84 h 121"/>
                <a:gd name="T4" fmla="*/ 96 w 127"/>
                <a:gd name="T5" fmla="*/ 0 h 121"/>
                <a:gd name="T6" fmla="*/ 127 w 127"/>
                <a:gd name="T7" fmla="*/ 37 h 121"/>
                <a:gd name="T8" fmla="*/ 32 w 127"/>
                <a:gd name="T9" fmla="*/ 121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7" h="121">
                  <a:moveTo>
                    <a:pt x="32" y="121"/>
                  </a:moveTo>
                  <a:lnTo>
                    <a:pt x="0" y="84"/>
                  </a:lnTo>
                  <a:lnTo>
                    <a:pt x="96" y="0"/>
                  </a:lnTo>
                  <a:lnTo>
                    <a:pt x="127" y="37"/>
                  </a:lnTo>
                  <a:lnTo>
                    <a:pt x="32" y="121"/>
                  </a:lnTo>
                  <a:close/>
                </a:path>
              </a:pathLst>
            </a:custGeom>
            <a:solidFill>
              <a:srgbClr val="F1F0E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40" name="îsļiḋe">
              <a:extLst>
                <a:ext uri="{FF2B5EF4-FFF2-40B4-BE49-F238E27FC236}">
                  <a16:creationId xmlns:a16="http://schemas.microsoft.com/office/drawing/2014/main" id="{A76E49DC-47E9-4FC4-A704-BE3CFCC5A074}"/>
                </a:ext>
              </a:extLst>
            </p:cNvPr>
            <p:cNvSpPr/>
            <p:nvPr userDrawn="1"/>
          </p:nvSpPr>
          <p:spPr bwMode="auto">
            <a:xfrm>
              <a:off x="6745288" y="1519238"/>
              <a:ext cx="73025" cy="76200"/>
            </a:xfrm>
            <a:custGeom>
              <a:avLst/>
              <a:gdLst>
                <a:gd name="T0" fmla="*/ 32 w 46"/>
                <a:gd name="T1" fmla="*/ 48 h 48"/>
                <a:gd name="T2" fmla="*/ 0 w 46"/>
                <a:gd name="T3" fmla="*/ 11 h 48"/>
                <a:gd name="T4" fmla="*/ 14 w 46"/>
                <a:gd name="T5" fmla="*/ 0 h 48"/>
                <a:gd name="T6" fmla="*/ 46 w 46"/>
                <a:gd name="T7" fmla="*/ 35 h 48"/>
                <a:gd name="T8" fmla="*/ 32 w 46"/>
                <a:gd name="T9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6" h="48">
                  <a:moveTo>
                    <a:pt x="32" y="48"/>
                  </a:moveTo>
                  <a:lnTo>
                    <a:pt x="0" y="11"/>
                  </a:lnTo>
                  <a:lnTo>
                    <a:pt x="14" y="0"/>
                  </a:lnTo>
                  <a:lnTo>
                    <a:pt x="46" y="35"/>
                  </a:lnTo>
                  <a:lnTo>
                    <a:pt x="32" y="48"/>
                  </a:lnTo>
                  <a:close/>
                </a:path>
              </a:pathLst>
            </a:custGeom>
            <a:solidFill>
              <a:srgbClr val="C2C2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41" name="îS1iḓè">
              <a:extLst>
                <a:ext uri="{FF2B5EF4-FFF2-40B4-BE49-F238E27FC236}">
                  <a16:creationId xmlns:a16="http://schemas.microsoft.com/office/drawing/2014/main" id="{895A05AC-72F2-45DB-B1EA-0DD8C7638234}"/>
                </a:ext>
              </a:extLst>
            </p:cNvPr>
            <p:cNvSpPr/>
            <p:nvPr userDrawn="1"/>
          </p:nvSpPr>
          <p:spPr bwMode="auto">
            <a:xfrm>
              <a:off x="6886575" y="1370013"/>
              <a:ext cx="96838" cy="104775"/>
            </a:xfrm>
            <a:custGeom>
              <a:avLst/>
              <a:gdLst>
                <a:gd name="T0" fmla="*/ 61 w 61"/>
                <a:gd name="T1" fmla="*/ 52 h 66"/>
                <a:gd name="T2" fmla="*/ 16 w 61"/>
                <a:gd name="T3" fmla="*/ 0 h 66"/>
                <a:gd name="T4" fmla="*/ 0 w 61"/>
                <a:gd name="T5" fmla="*/ 14 h 66"/>
                <a:gd name="T6" fmla="*/ 45 w 61"/>
                <a:gd name="T7" fmla="*/ 66 h 66"/>
                <a:gd name="T8" fmla="*/ 61 w 61"/>
                <a:gd name="T9" fmla="*/ 52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1" h="66">
                  <a:moveTo>
                    <a:pt x="61" y="52"/>
                  </a:moveTo>
                  <a:lnTo>
                    <a:pt x="16" y="0"/>
                  </a:lnTo>
                  <a:lnTo>
                    <a:pt x="0" y="14"/>
                  </a:lnTo>
                  <a:lnTo>
                    <a:pt x="45" y="66"/>
                  </a:lnTo>
                  <a:lnTo>
                    <a:pt x="61" y="52"/>
                  </a:lnTo>
                  <a:close/>
                </a:path>
              </a:pathLst>
            </a:custGeom>
            <a:solidFill>
              <a:srgbClr val="4675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42" name="îşḷïḋe">
              <a:extLst>
                <a:ext uri="{FF2B5EF4-FFF2-40B4-BE49-F238E27FC236}">
                  <a16:creationId xmlns:a16="http://schemas.microsoft.com/office/drawing/2014/main" id="{4EA675AE-942C-492D-9F3B-01B856E15D59}"/>
                </a:ext>
              </a:extLst>
            </p:cNvPr>
            <p:cNvSpPr/>
            <p:nvPr userDrawn="1"/>
          </p:nvSpPr>
          <p:spPr bwMode="auto">
            <a:xfrm>
              <a:off x="6675438" y="1490663"/>
              <a:ext cx="165100" cy="176213"/>
            </a:xfrm>
            <a:custGeom>
              <a:avLst/>
              <a:gdLst>
                <a:gd name="T0" fmla="*/ 104 w 104"/>
                <a:gd name="T1" fmla="*/ 89 h 111"/>
                <a:gd name="T2" fmla="*/ 26 w 104"/>
                <a:gd name="T3" fmla="*/ 0 h 111"/>
                <a:gd name="T4" fmla="*/ 0 w 104"/>
                <a:gd name="T5" fmla="*/ 22 h 111"/>
                <a:gd name="T6" fmla="*/ 78 w 104"/>
                <a:gd name="T7" fmla="*/ 111 h 111"/>
                <a:gd name="T8" fmla="*/ 104 w 104"/>
                <a:gd name="T9" fmla="*/ 89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4" h="111">
                  <a:moveTo>
                    <a:pt x="104" y="89"/>
                  </a:moveTo>
                  <a:lnTo>
                    <a:pt x="26" y="0"/>
                  </a:lnTo>
                  <a:lnTo>
                    <a:pt x="0" y="22"/>
                  </a:lnTo>
                  <a:lnTo>
                    <a:pt x="78" y="111"/>
                  </a:lnTo>
                  <a:lnTo>
                    <a:pt x="104" y="89"/>
                  </a:lnTo>
                  <a:close/>
                </a:path>
              </a:pathLst>
            </a:custGeom>
            <a:solidFill>
              <a:srgbClr val="4675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43" name="îšľiḋe">
              <a:extLst>
                <a:ext uri="{FF2B5EF4-FFF2-40B4-BE49-F238E27FC236}">
                  <a16:creationId xmlns:a16="http://schemas.microsoft.com/office/drawing/2014/main" id="{40F9FCDC-CA9D-4D68-B3C5-AFD7EBEC7D54}"/>
                </a:ext>
              </a:extLst>
            </p:cNvPr>
            <p:cNvSpPr/>
            <p:nvPr userDrawn="1"/>
          </p:nvSpPr>
          <p:spPr bwMode="auto">
            <a:xfrm>
              <a:off x="6692900" y="1638300"/>
              <a:ext cx="61913" cy="69850"/>
            </a:xfrm>
            <a:custGeom>
              <a:avLst/>
              <a:gdLst>
                <a:gd name="T0" fmla="*/ 34 w 39"/>
                <a:gd name="T1" fmla="*/ 44 h 44"/>
                <a:gd name="T2" fmla="*/ 0 w 39"/>
                <a:gd name="T3" fmla="*/ 6 h 44"/>
                <a:gd name="T4" fmla="*/ 6 w 39"/>
                <a:gd name="T5" fmla="*/ 0 h 44"/>
                <a:gd name="T6" fmla="*/ 39 w 39"/>
                <a:gd name="T7" fmla="*/ 39 h 44"/>
                <a:gd name="T8" fmla="*/ 34 w 39"/>
                <a:gd name="T9" fmla="*/ 44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44">
                  <a:moveTo>
                    <a:pt x="34" y="44"/>
                  </a:moveTo>
                  <a:lnTo>
                    <a:pt x="0" y="6"/>
                  </a:lnTo>
                  <a:lnTo>
                    <a:pt x="6" y="0"/>
                  </a:lnTo>
                  <a:lnTo>
                    <a:pt x="39" y="39"/>
                  </a:lnTo>
                  <a:lnTo>
                    <a:pt x="34" y="44"/>
                  </a:lnTo>
                  <a:close/>
                </a:path>
              </a:pathLst>
            </a:custGeom>
            <a:solidFill>
              <a:srgbClr val="C2C2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44" name="îṩļíḍé">
              <a:extLst>
                <a:ext uri="{FF2B5EF4-FFF2-40B4-BE49-F238E27FC236}">
                  <a16:creationId xmlns:a16="http://schemas.microsoft.com/office/drawing/2014/main" id="{D45F916B-ED43-44D3-A663-8A72CFDEA572}"/>
                </a:ext>
              </a:extLst>
            </p:cNvPr>
            <p:cNvSpPr/>
            <p:nvPr userDrawn="1"/>
          </p:nvSpPr>
          <p:spPr bwMode="auto">
            <a:xfrm>
              <a:off x="6646863" y="1679575"/>
              <a:ext cx="63500" cy="66675"/>
            </a:xfrm>
            <a:custGeom>
              <a:avLst/>
              <a:gdLst>
                <a:gd name="T0" fmla="*/ 34 w 40"/>
                <a:gd name="T1" fmla="*/ 42 h 42"/>
                <a:gd name="T2" fmla="*/ 0 w 40"/>
                <a:gd name="T3" fmla="*/ 4 h 42"/>
                <a:gd name="T4" fmla="*/ 7 w 40"/>
                <a:gd name="T5" fmla="*/ 0 h 42"/>
                <a:gd name="T6" fmla="*/ 40 w 40"/>
                <a:gd name="T7" fmla="*/ 38 h 42"/>
                <a:gd name="T8" fmla="*/ 34 w 40"/>
                <a:gd name="T9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" h="42">
                  <a:moveTo>
                    <a:pt x="34" y="42"/>
                  </a:moveTo>
                  <a:lnTo>
                    <a:pt x="0" y="4"/>
                  </a:lnTo>
                  <a:lnTo>
                    <a:pt x="7" y="0"/>
                  </a:lnTo>
                  <a:lnTo>
                    <a:pt x="40" y="38"/>
                  </a:lnTo>
                  <a:lnTo>
                    <a:pt x="34" y="42"/>
                  </a:lnTo>
                  <a:close/>
                </a:path>
              </a:pathLst>
            </a:custGeom>
            <a:solidFill>
              <a:srgbClr val="C2C2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45" name="išḷïḑè">
              <a:extLst>
                <a:ext uri="{FF2B5EF4-FFF2-40B4-BE49-F238E27FC236}">
                  <a16:creationId xmlns:a16="http://schemas.microsoft.com/office/drawing/2014/main" id="{F3FE26B3-C341-43F6-BEC0-80ABC74AAF6A}"/>
                </a:ext>
              </a:extLst>
            </p:cNvPr>
            <p:cNvSpPr/>
            <p:nvPr userDrawn="1"/>
          </p:nvSpPr>
          <p:spPr bwMode="auto">
            <a:xfrm>
              <a:off x="6602413" y="1717675"/>
              <a:ext cx="61913" cy="69850"/>
            </a:xfrm>
            <a:custGeom>
              <a:avLst/>
              <a:gdLst>
                <a:gd name="T0" fmla="*/ 34 w 39"/>
                <a:gd name="T1" fmla="*/ 44 h 44"/>
                <a:gd name="T2" fmla="*/ 0 w 39"/>
                <a:gd name="T3" fmla="*/ 6 h 44"/>
                <a:gd name="T4" fmla="*/ 6 w 39"/>
                <a:gd name="T5" fmla="*/ 0 h 44"/>
                <a:gd name="T6" fmla="*/ 39 w 39"/>
                <a:gd name="T7" fmla="*/ 40 h 44"/>
                <a:gd name="T8" fmla="*/ 34 w 39"/>
                <a:gd name="T9" fmla="*/ 44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44">
                  <a:moveTo>
                    <a:pt x="34" y="44"/>
                  </a:moveTo>
                  <a:lnTo>
                    <a:pt x="0" y="6"/>
                  </a:lnTo>
                  <a:lnTo>
                    <a:pt x="6" y="0"/>
                  </a:lnTo>
                  <a:lnTo>
                    <a:pt x="39" y="40"/>
                  </a:lnTo>
                  <a:lnTo>
                    <a:pt x="34" y="44"/>
                  </a:lnTo>
                  <a:close/>
                </a:path>
              </a:pathLst>
            </a:custGeom>
            <a:solidFill>
              <a:srgbClr val="C2C2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46" name="işḻidê">
              <a:extLst>
                <a:ext uri="{FF2B5EF4-FFF2-40B4-BE49-F238E27FC236}">
                  <a16:creationId xmlns:a16="http://schemas.microsoft.com/office/drawing/2014/main" id="{D5E989ED-D7E1-4444-AECC-8332CD16F9B0}"/>
                </a:ext>
              </a:extLst>
            </p:cNvPr>
            <p:cNvSpPr/>
            <p:nvPr userDrawn="1"/>
          </p:nvSpPr>
          <p:spPr bwMode="auto">
            <a:xfrm>
              <a:off x="6361113" y="1692275"/>
              <a:ext cx="250825" cy="234950"/>
            </a:xfrm>
            <a:custGeom>
              <a:avLst/>
              <a:gdLst>
                <a:gd name="T0" fmla="*/ 148 w 148"/>
                <a:gd name="T1" fmla="*/ 65 h 139"/>
                <a:gd name="T2" fmla="*/ 91 w 148"/>
                <a:gd name="T3" fmla="*/ 0 h 139"/>
                <a:gd name="T4" fmla="*/ 30 w 148"/>
                <a:gd name="T5" fmla="*/ 54 h 139"/>
                <a:gd name="T6" fmla="*/ 17 w 148"/>
                <a:gd name="T7" fmla="*/ 106 h 139"/>
                <a:gd name="T8" fmla="*/ 1 w 148"/>
                <a:gd name="T9" fmla="*/ 120 h 139"/>
                <a:gd name="T10" fmla="*/ 6 w 148"/>
                <a:gd name="T11" fmla="*/ 132 h 139"/>
                <a:gd name="T12" fmla="*/ 17 w 148"/>
                <a:gd name="T13" fmla="*/ 138 h 139"/>
                <a:gd name="T14" fmla="*/ 34 w 148"/>
                <a:gd name="T15" fmla="*/ 124 h 139"/>
                <a:gd name="T16" fmla="*/ 87 w 148"/>
                <a:gd name="T17" fmla="*/ 119 h 139"/>
                <a:gd name="T18" fmla="*/ 148 w 148"/>
                <a:gd name="T19" fmla="*/ 65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8" h="139">
                  <a:moveTo>
                    <a:pt x="148" y="65"/>
                  </a:moveTo>
                  <a:cubicBezTo>
                    <a:pt x="91" y="0"/>
                    <a:pt x="91" y="0"/>
                    <a:pt x="91" y="0"/>
                  </a:cubicBezTo>
                  <a:cubicBezTo>
                    <a:pt x="30" y="54"/>
                    <a:pt x="30" y="54"/>
                    <a:pt x="30" y="54"/>
                  </a:cubicBezTo>
                  <a:cubicBezTo>
                    <a:pt x="17" y="106"/>
                    <a:pt x="17" y="106"/>
                    <a:pt x="17" y="106"/>
                  </a:cubicBezTo>
                  <a:cubicBezTo>
                    <a:pt x="1" y="120"/>
                    <a:pt x="1" y="120"/>
                    <a:pt x="1" y="120"/>
                  </a:cubicBezTo>
                  <a:cubicBezTo>
                    <a:pt x="1" y="120"/>
                    <a:pt x="0" y="126"/>
                    <a:pt x="6" y="132"/>
                  </a:cubicBezTo>
                  <a:cubicBezTo>
                    <a:pt x="12" y="139"/>
                    <a:pt x="17" y="138"/>
                    <a:pt x="17" y="138"/>
                  </a:cubicBezTo>
                  <a:cubicBezTo>
                    <a:pt x="34" y="124"/>
                    <a:pt x="34" y="124"/>
                    <a:pt x="34" y="124"/>
                  </a:cubicBezTo>
                  <a:cubicBezTo>
                    <a:pt x="87" y="119"/>
                    <a:pt x="87" y="119"/>
                    <a:pt x="87" y="119"/>
                  </a:cubicBezTo>
                  <a:lnTo>
                    <a:pt x="148" y="65"/>
                  </a:lnTo>
                  <a:close/>
                </a:path>
              </a:pathLst>
            </a:custGeom>
            <a:solidFill>
              <a:srgbClr val="FF787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47" name="ïsļíḑe">
              <a:extLst>
                <a:ext uri="{FF2B5EF4-FFF2-40B4-BE49-F238E27FC236}">
                  <a16:creationId xmlns:a16="http://schemas.microsoft.com/office/drawing/2014/main" id="{634C4F6D-9A20-4BD2-A744-E325295A5233}"/>
                </a:ext>
              </a:extLst>
            </p:cNvPr>
            <p:cNvSpPr/>
            <p:nvPr userDrawn="1"/>
          </p:nvSpPr>
          <p:spPr bwMode="auto">
            <a:xfrm>
              <a:off x="6361113" y="1790700"/>
              <a:ext cx="250825" cy="136525"/>
            </a:xfrm>
            <a:custGeom>
              <a:avLst/>
              <a:gdLst>
                <a:gd name="T0" fmla="*/ 142 w 148"/>
                <a:gd name="T1" fmla="*/ 0 h 81"/>
                <a:gd name="T2" fmla="*/ 87 w 148"/>
                <a:gd name="T3" fmla="*/ 48 h 81"/>
                <a:gd name="T4" fmla="*/ 34 w 148"/>
                <a:gd name="T5" fmla="*/ 54 h 81"/>
                <a:gd name="T6" fmla="*/ 17 w 148"/>
                <a:gd name="T7" fmla="*/ 68 h 81"/>
                <a:gd name="T8" fmla="*/ 6 w 148"/>
                <a:gd name="T9" fmla="*/ 62 h 81"/>
                <a:gd name="T10" fmla="*/ 4 w 148"/>
                <a:gd name="T11" fmla="*/ 59 h 81"/>
                <a:gd name="T12" fmla="*/ 1 w 148"/>
                <a:gd name="T13" fmla="*/ 62 h 81"/>
                <a:gd name="T14" fmla="*/ 6 w 148"/>
                <a:gd name="T15" fmla="*/ 74 h 81"/>
                <a:gd name="T16" fmla="*/ 17 w 148"/>
                <a:gd name="T17" fmla="*/ 80 h 81"/>
                <a:gd name="T18" fmla="*/ 34 w 148"/>
                <a:gd name="T19" fmla="*/ 66 h 81"/>
                <a:gd name="T20" fmla="*/ 87 w 148"/>
                <a:gd name="T21" fmla="*/ 61 h 81"/>
                <a:gd name="T22" fmla="*/ 148 w 148"/>
                <a:gd name="T23" fmla="*/ 7 h 81"/>
                <a:gd name="T24" fmla="*/ 142 w 148"/>
                <a:gd name="T25" fmla="*/ 0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48" h="81">
                  <a:moveTo>
                    <a:pt x="142" y="0"/>
                  </a:moveTo>
                  <a:cubicBezTo>
                    <a:pt x="87" y="48"/>
                    <a:pt x="87" y="48"/>
                    <a:pt x="87" y="48"/>
                  </a:cubicBezTo>
                  <a:cubicBezTo>
                    <a:pt x="34" y="54"/>
                    <a:pt x="34" y="54"/>
                    <a:pt x="34" y="54"/>
                  </a:cubicBezTo>
                  <a:cubicBezTo>
                    <a:pt x="17" y="68"/>
                    <a:pt x="17" y="68"/>
                    <a:pt x="17" y="68"/>
                  </a:cubicBezTo>
                  <a:cubicBezTo>
                    <a:pt x="17" y="68"/>
                    <a:pt x="12" y="68"/>
                    <a:pt x="6" y="62"/>
                  </a:cubicBezTo>
                  <a:cubicBezTo>
                    <a:pt x="5" y="61"/>
                    <a:pt x="5" y="60"/>
                    <a:pt x="4" y="59"/>
                  </a:cubicBezTo>
                  <a:cubicBezTo>
                    <a:pt x="1" y="62"/>
                    <a:pt x="1" y="62"/>
                    <a:pt x="1" y="62"/>
                  </a:cubicBezTo>
                  <a:cubicBezTo>
                    <a:pt x="1" y="62"/>
                    <a:pt x="0" y="68"/>
                    <a:pt x="6" y="74"/>
                  </a:cubicBezTo>
                  <a:cubicBezTo>
                    <a:pt x="12" y="81"/>
                    <a:pt x="17" y="80"/>
                    <a:pt x="17" y="80"/>
                  </a:cubicBezTo>
                  <a:cubicBezTo>
                    <a:pt x="34" y="66"/>
                    <a:pt x="34" y="66"/>
                    <a:pt x="34" y="66"/>
                  </a:cubicBezTo>
                  <a:cubicBezTo>
                    <a:pt x="87" y="61"/>
                    <a:pt x="87" y="61"/>
                    <a:pt x="87" y="61"/>
                  </a:cubicBezTo>
                  <a:cubicBezTo>
                    <a:pt x="148" y="7"/>
                    <a:pt x="148" y="7"/>
                    <a:pt x="148" y="7"/>
                  </a:cubicBezTo>
                  <a:lnTo>
                    <a:pt x="142" y="0"/>
                  </a:lnTo>
                  <a:close/>
                </a:path>
              </a:pathLst>
            </a:custGeom>
            <a:solidFill>
              <a:srgbClr val="F56E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48" name="îśľïḋê">
              <a:extLst>
                <a:ext uri="{FF2B5EF4-FFF2-40B4-BE49-F238E27FC236}">
                  <a16:creationId xmlns:a16="http://schemas.microsoft.com/office/drawing/2014/main" id="{02D9BB66-8710-498C-BFD4-2CF3E0997824}"/>
                </a:ext>
              </a:extLst>
            </p:cNvPr>
            <p:cNvSpPr/>
            <p:nvPr userDrawn="1"/>
          </p:nvSpPr>
          <p:spPr bwMode="auto">
            <a:xfrm>
              <a:off x="5553075" y="1971675"/>
              <a:ext cx="136525" cy="136525"/>
            </a:xfrm>
            <a:custGeom>
              <a:avLst/>
              <a:gdLst>
                <a:gd name="T0" fmla="*/ 74 w 81"/>
                <a:gd name="T1" fmla="*/ 55 h 81"/>
                <a:gd name="T2" fmla="*/ 27 w 81"/>
                <a:gd name="T3" fmla="*/ 74 h 81"/>
                <a:gd name="T4" fmla="*/ 8 w 81"/>
                <a:gd name="T5" fmla="*/ 27 h 81"/>
                <a:gd name="T6" fmla="*/ 55 w 81"/>
                <a:gd name="T7" fmla="*/ 8 h 81"/>
                <a:gd name="T8" fmla="*/ 74 w 81"/>
                <a:gd name="T9" fmla="*/ 55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1" h="81">
                  <a:moveTo>
                    <a:pt x="74" y="55"/>
                  </a:moveTo>
                  <a:cubicBezTo>
                    <a:pt x="66" y="73"/>
                    <a:pt x="45" y="81"/>
                    <a:pt x="27" y="74"/>
                  </a:cubicBezTo>
                  <a:cubicBezTo>
                    <a:pt x="9" y="66"/>
                    <a:pt x="0" y="45"/>
                    <a:pt x="8" y="27"/>
                  </a:cubicBezTo>
                  <a:cubicBezTo>
                    <a:pt x="15" y="9"/>
                    <a:pt x="36" y="0"/>
                    <a:pt x="55" y="8"/>
                  </a:cubicBezTo>
                  <a:cubicBezTo>
                    <a:pt x="73" y="15"/>
                    <a:pt x="81" y="36"/>
                    <a:pt x="74" y="55"/>
                  </a:cubicBezTo>
                  <a:close/>
                </a:path>
              </a:pathLst>
            </a:custGeom>
            <a:solidFill>
              <a:srgbClr val="FF787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49" name="iṩḻîḍê">
              <a:extLst>
                <a:ext uri="{FF2B5EF4-FFF2-40B4-BE49-F238E27FC236}">
                  <a16:creationId xmlns:a16="http://schemas.microsoft.com/office/drawing/2014/main" id="{837C5101-C2A8-4F23-B61D-A0855A1AC474}"/>
                </a:ext>
              </a:extLst>
            </p:cNvPr>
            <p:cNvSpPr/>
            <p:nvPr userDrawn="1"/>
          </p:nvSpPr>
          <p:spPr bwMode="auto">
            <a:xfrm>
              <a:off x="5561013" y="2027238"/>
              <a:ext cx="122238" cy="80963"/>
            </a:xfrm>
            <a:custGeom>
              <a:avLst/>
              <a:gdLst>
                <a:gd name="T0" fmla="*/ 71 w 72"/>
                <a:gd name="T1" fmla="*/ 0 h 48"/>
                <a:gd name="T2" fmla="*/ 68 w 72"/>
                <a:gd name="T3" fmla="*/ 14 h 48"/>
                <a:gd name="T4" fmla="*/ 21 w 72"/>
                <a:gd name="T5" fmla="*/ 33 h 48"/>
                <a:gd name="T6" fmla="*/ 0 w 72"/>
                <a:gd name="T7" fmla="*/ 8 h 48"/>
                <a:gd name="T8" fmla="*/ 22 w 72"/>
                <a:gd name="T9" fmla="*/ 41 h 48"/>
                <a:gd name="T10" fmla="*/ 69 w 72"/>
                <a:gd name="T11" fmla="*/ 22 h 48"/>
                <a:gd name="T12" fmla="*/ 71 w 72"/>
                <a:gd name="T13" fmla="*/ 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2" h="48">
                  <a:moveTo>
                    <a:pt x="71" y="0"/>
                  </a:moveTo>
                  <a:cubicBezTo>
                    <a:pt x="71" y="5"/>
                    <a:pt x="70" y="9"/>
                    <a:pt x="68" y="14"/>
                  </a:cubicBezTo>
                  <a:cubicBezTo>
                    <a:pt x="60" y="32"/>
                    <a:pt x="39" y="41"/>
                    <a:pt x="21" y="33"/>
                  </a:cubicBezTo>
                  <a:cubicBezTo>
                    <a:pt x="10" y="28"/>
                    <a:pt x="2" y="19"/>
                    <a:pt x="0" y="8"/>
                  </a:cubicBezTo>
                  <a:cubicBezTo>
                    <a:pt x="0" y="22"/>
                    <a:pt x="8" y="35"/>
                    <a:pt x="22" y="41"/>
                  </a:cubicBezTo>
                  <a:cubicBezTo>
                    <a:pt x="40" y="48"/>
                    <a:pt x="61" y="40"/>
                    <a:pt x="69" y="22"/>
                  </a:cubicBezTo>
                  <a:cubicBezTo>
                    <a:pt x="72" y="14"/>
                    <a:pt x="72" y="7"/>
                    <a:pt x="71" y="0"/>
                  </a:cubicBezTo>
                  <a:close/>
                </a:path>
              </a:pathLst>
            </a:custGeom>
            <a:solidFill>
              <a:srgbClr val="F56E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50" name="íśļíďê">
              <a:extLst>
                <a:ext uri="{FF2B5EF4-FFF2-40B4-BE49-F238E27FC236}">
                  <a16:creationId xmlns:a16="http://schemas.microsoft.com/office/drawing/2014/main" id="{F457BC32-9E5E-4C5D-B12E-1E25DAB0E679}"/>
                </a:ext>
              </a:extLst>
            </p:cNvPr>
            <p:cNvSpPr/>
            <p:nvPr userDrawn="1"/>
          </p:nvSpPr>
          <p:spPr bwMode="auto">
            <a:xfrm>
              <a:off x="5562600" y="2016125"/>
              <a:ext cx="115888" cy="55563"/>
            </a:xfrm>
            <a:custGeom>
              <a:avLst/>
              <a:gdLst>
                <a:gd name="T0" fmla="*/ 1 w 68"/>
                <a:gd name="T1" fmla="*/ 1 h 32"/>
                <a:gd name="T2" fmla="*/ 0 w 68"/>
                <a:gd name="T3" fmla="*/ 4 h 32"/>
                <a:gd name="T4" fmla="*/ 66 w 68"/>
                <a:gd name="T5" fmla="*/ 32 h 32"/>
                <a:gd name="T6" fmla="*/ 67 w 68"/>
                <a:gd name="T7" fmla="*/ 29 h 32"/>
                <a:gd name="T8" fmla="*/ 68 w 68"/>
                <a:gd name="T9" fmla="*/ 28 h 32"/>
                <a:gd name="T10" fmla="*/ 2 w 68"/>
                <a:gd name="T11" fmla="*/ 0 h 32"/>
                <a:gd name="T12" fmla="*/ 1 w 68"/>
                <a:gd name="T13" fmla="*/ 1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8" h="32">
                  <a:moveTo>
                    <a:pt x="1" y="1"/>
                  </a:moveTo>
                  <a:cubicBezTo>
                    <a:pt x="1" y="2"/>
                    <a:pt x="1" y="3"/>
                    <a:pt x="0" y="4"/>
                  </a:cubicBezTo>
                  <a:cubicBezTo>
                    <a:pt x="66" y="32"/>
                    <a:pt x="66" y="32"/>
                    <a:pt x="66" y="32"/>
                  </a:cubicBezTo>
                  <a:cubicBezTo>
                    <a:pt x="66" y="31"/>
                    <a:pt x="67" y="30"/>
                    <a:pt x="67" y="29"/>
                  </a:cubicBezTo>
                  <a:cubicBezTo>
                    <a:pt x="67" y="28"/>
                    <a:pt x="67" y="28"/>
                    <a:pt x="68" y="28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1" y="1"/>
                    <a:pt x="1" y="1"/>
                  </a:cubicBezTo>
                  <a:close/>
                </a:path>
              </a:pathLst>
            </a:custGeom>
            <a:solidFill>
              <a:srgbClr val="F56E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51" name="îŝlíḓè">
              <a:extLst>
                <a:ext uri="{FF2B5EF4-FFF2-40B4-BE49-F238E27FC236}">
                  <a16:creationId xmlns:a16="http://schemas.microsoft.com/office/drawing/2014/main" id="{9D2F3DF9-AC6D-4D8D-86DD-0DA15DDA9591}"/>
                </a:ext>
              </a:extLst>
            </p:cNvPr>
            <p:cNvSpPr/>
            <p:nvPr userDrawn="1"/>
          </p:nvSpPr>
          <p:spPr bwMode="auto">
            <a:xfrm>
              <a:off x="5565775" y="2012950"/>
              <a:ext cx="114300" cy="53975"/>
            </a:xfrm>
            <a:custGeom>
              <a:avLst/>
              <a:gdLst>
                <a:gd name="T0" fmla="*/ 1 w 68"/>
                <a:gd name="T1" fmla="*/ 2 h 32"/>
                <a:gd name="T2" fmla="*/ 0 w 68"/>
                <a:gd name="T3" fmla="*/ 4 h 32"/>
                <a:gd name="T4" fmla="*/ 66 w 68"/>
                <a:gd name="T5" fmla="*/ 32 h 32"/>
                <a:gd name="T6" fmla="*/ 67 w 68"/>
                <a:gd name="T7" fmla="*/ 30 h 32"/>
                <a:gd name="T8" fmla="*/ 68 w 68"/>
                <a:gd name="T9" fmla="*/ 27 h 32"/>
                <a:gd name="T10" fmla="*/ 2 w 68"/>
                <a:gd name="T11" fmla="*/ 0 h 32"/>
                <a:gd name="T12" fmla="*/ 1 w 68"/>
                <a:gd name="T13" fmla="*/ 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8" h="32">
                  <a:moveTo>
                    <a:pt x="1" y="2"/>
                  </a:moveTo>
                  <a:cubicBezTo>
                    <a:pt x="0" y="3"/>
                    <a:pt x="0" y="3"/>
                    <a:pt x="0" y="4"/>
                  </a:cubicBezTo>
                  <a:cubicBezTo>
                    <a:pt x="66" y="32"/>
                    <a:pt x="66" y="32"/>
                    <a:pt x="66" y="32"/>
                  </a:cubicBezTo>
                  <a:cubicBezTo>
                    <a:pt x="66" y="31"/>
                    <a:pt x="66" y="30"/>
                    <a:pt x="67" y="30"/>
                  </a:cubicBezTo>
                  <a:cubicBezTo>
                    <a:pt x="67" y="29"/>
                    <a:pt x="67" y="28"/>
                    <a:pt x="68" y="27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1"/>
                    <a:pt x="1" y="1"/>
                    <a:pt x="1" y="2"/>
                  </a:cubicBezTo>
                  <a:close/>
                </a:path>
              </a:pathLst>
            </a:custGeom>
            <a:solidFill>
              <a:srgbClr val="E54C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52" name="íṩḷíḋe">
              <a:extLst>
                <a:ext uri="{FF2B5EF4-FFF2-40B4-BE49-F238E27FC236}">
                  <a16:creationId xmlns:a16="http://schemas.microsoft.com/office/drawing/2014/main" id="{A3DF1CC3-E6DC-441D-A221-52A14A7C0100}"/>
                </a:ext>
              </a:extLst>
            </p:cNvPr>
            <p:cNvSpPr/>
            <p:nvPr userDrawn="1"/>
          </p:nvSpPr>
          <p:spPr bwMode="auto">
            <a:xfrm>
              <a:off x="5846763" y="1997075"/>
              <a:ext cx="136525" cy="133350"/>
            </a:xfrm>
            <a:custGeom>
              <a:avLst/>
              <a:gdLst>
                <a:gd name="T0" fmla="*/ 66 w 80"/>
                <a:gd name="T1" fmla="*/ 64 h 79"/>
                <a:gd name="T2" fmla="*/ 16 w 80"/>
                <a:gd name="T3" fmla="*/ 66 h 79"/>
                <a:gd name="T4" fmla="*/ 14 w 80"/>
                <a:gd name="T5" fmla="*/ 15 h 79"/>
                <a:gd name="T6" fmla="*/ 64 w 80"/>
                <a:gd name="T7" fmla="*/ 13 h 79"/>
                <a:gd name="T8" fmla="*/ 66 w 80"/>
                <a:gd name="T9" fmla="*/ 64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0" h="79">
                  <a:moveTo>
                    <a:pt x="66" y="64"/>
                  </a:moveTo>
                  <a:cubicBezTo>
                    <a:pt x="53" y="78"/>
                    <a:pt x="30" y="79"/>
                    <a:pt x="16" y="66"/>
                  </a:cubicBezTo>
                  <a:cubicBezTo>
                    <a:pt x="1" y="52"/>
                    <a:pt x="0" y="30"/>
                    <a:pt x="14" y="15"/>
                  </a:cubicBezTo>
                  <a:cubicBezTo>
                    <a:pt x="27" y="1"/>
                    <a:pt x="50" y="0"/>
                    <a:pt x="64" y="13"/>
                  </a:cubicBezTo>
                  <a:cubicBezTo>
                    <a:pt x="79" y="27"/>
                    <a:pt x="80" y="49"/>
                    <a:pt x="66" y="64"/>
                  </a:cubicBezTo>
                  <a:close/>
                </a:path>
              </a:pathLst>
            </a:custGeom>
            <a:solidFill>
              <a:srgbClr val="FF787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53" name="íśḷîḓe">
              <a:extLst>
                <a:ext uri="{FF2B5EF4-FFF2-40B4-BE49-F238E27FC236}">
                  <a16:creationId xmlns:a16="http://schemas.microsoft.com/office/drawing/2014/main" id="{4AEACE1F-612C-45B2-A4F6-0D10D25830E7}"/>
                </a:ext>
              </a:extLst>
            </p:cNvPr>
            <p:cNvSpPr/>
            <p:nvPr userDrawn="1"/>
          </p:nvSpPr>
          <p:spPr bwMode="auto">
            <a:xfrm>
              <a:off x="5851525" y="2041525"/>
              <a:ext cx="123825" cy="88900"/>
            </a:xfrm>
            <a:custGeom>
              <a:avLst/>
              <a:gdLst>
                <a:gd name="T0" fmla="*/ 74 w 74"/>
                <a:gd name="T1" fmla="*/ 17 h 52"/>
                <a:gd name="T2" fmla="*/ 66 w 74"/>
                <a:gd name="T3" fmla="*/ 29 h 52"/>
                <a:gd name="T4" fmla="*/ 16 w 74"/>
                <a:gd name="T5" fmla="*/ 31 h 52"/>
                <a:gd name="T6" fmla="*/ 5 w 74"/>
                <a:gd name="T7" fmla="*/ 0 h 52"/>
                <a:gd name="T8" fmla="*/ 14 w 74"/>
                <a:gd name="T9" fmla="*/ 39 h 52"/>
                <a:gd name="T10" fmla="*/ 64 w 74"/>
                <a:gd name="T11" fmla="*/ 37 h 52"/>
                <a:gd name="T12" fmla="*/ 74 w 74"/>
                <a:gd name="T13" fmla="*/ 17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4" h="52">
                  <a:moveTo>
                    <a:pt x="74" y="17"/>
                  </a:moveTo>
                  <a:cubicBezTo>
                    <a:pt x="72" y="21"/>
                    <a:pt x="70" y="25"/>
                    <a:pt x="66" y="29"/>
                  </a:cubicBezTo>
                  <a:cubicBezTo>
                    <a:pt x="53" y="43"/>
                    <a:pt x="30" y="44"/>
                    <a:pt x="16" y="31"/>
                  </a:cubicBezTo>
                  <a:cubicBezTo>
                    <a:pt x="7" y="23"/>
                    <a:pt x="3" y="11"/>
                    <a:pt x="5" y="0"/>
                  </a:cubicBezTo>
                  <a:cubicBezTo>
                    <a:pt x="0" y="13"/>
                    <a:pt x="3" y="28"/>
                    <a:pt x="14" y="39"/>
                  </a:cubicBezTo>
                  <a:cubicBezTo>
                    <a:pt x="28" y="52"/>
                    <a:pt x="51" y="51"/>
                    <a:pt x="64" y="37"/>
                  </a:cubicBezTo>
                  <a:cubicBezTo>
                    <a:pt x="70" y="31"/>
                    <a:pt x="73" y="24"/>
                    <a:pt x="74" y="17"/>
                  </a:cubicBezTo>
                  <a:close/>
                </a:path>
              </a:pathLst>
            </a:custGeom>
            <a:solidFill>
              <a:srgbClr val="F56E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54" name="íṡḷiďe">
              <a:extLst>
                <a:ext uri="{FF2B5EF4-FFF2-40B4-BE49-F238E27FC236}">
                  <a16:creationId xmlns:a16="http://schemas.microsoft.com/office/drawing/2014/main" id="{38E33BCF-6877-46CF-9449-B0BE74E837F2}"/>
                </a:ext>
              </a:extLst>
            </p:cNvPr>
            <p:cNvSpPr/>
            <p:nvPr userDrawn="1"/>
          </p:nvSpPr>
          <p:spPr bwMode="auto">
            <a:xfrm>
              <a:off x="5865813" y="2022475"/>
              <a:ext cx="93663" cy="87313"/>
            </a:xfrm>
            <a:custGeom>
              <a:avLst/>
              <a:gdLst>
                <a:gd name="T0" fmla="*/ 2 w 55"/>
                <a:gd name="T1" fmla="*/ 1 h 52"/>
                <a:gd name="T2" fmla="*/ 0 w 55"/>
                <a:gd name="T3" fmla="*/ 4 h 52"/>
                <a:gd name="T4" fmla="*/ 52 w 55"/>
                <a:gd name="T5" fmla="*/ 52 h 52"/>
                <a:gd name="T6" fmla="*/ 54 w 55"/>
                <a:gd name="T7" fmla="*/ 50 h 52"/>
                <a:gd name="T8" fmla="*/ 55 w 55"/>
                <a:gd name="T9" fmla="*/ 49 h 52"/>
                <a:gd name="T10" fmla="*/ 3 w 55"/>
                <a:gd name="T11" fmla="*/ 0 h 52"/>
                <a:gd name="T12" fmla="*/ 2 w 55"/>
                <a:gd name="T13" fmla="*/ 1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5" h="52">
                  <a:moveTo>
                    <a:pt x="2" y="1"/>
                  </a:moveTo>
                  <a:cubicBezTo>
                    <a:pt x="1" y="2"/>
                    <a:pt x="1" y="3"/>
                    <a:pt x="0" y="4"/>
                  </a:cubicBezTo>
                  <a:cubicBezTo>
                    <a:pt x="52" y="52"/>
                    <a:pt x="52" y="52"/>
                    <a:pt x="52" y="52"/>
                  </a:cubicBezTo>
                  <a:cubicBezTo>
                    <a:pt x="53" y="51"/>
                    <a:pt x="54" y="50"/>
                    <a:pt x="54" y="50"/>
                  </a:cubicBezTo>
                  <a:cubicBezTo>
                    <a:pt x="55" y="49"/>
                    <a:pt x="55" y="49"/>
                    <a:pt x="55" y="49"/>
                  </a:cubicBezTo>
                  <a:cubicBezTo>
                    <a:pt x="3" y="0"/>
                    <a:pt x="3" y="0"/>
                    <a:pt x="3" y="0"/>
                  </a:cubicBezTo>
                  <a:lnTo>
                    <a:pt x="2" y="1"/>
                  </a:lnTo>
                  <a:close/>
                </a:path>
              </a:pathLst>
            </a:custGeom>
            <a:solidFill>
              <a:srgbClr val="F56E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55" name="íṣľïḓê">
              <a:extLst>
                <a:ext uri="{FF2B5EF4-FFF2-40B4-BE49-F238E27FC236}">
                  <a16:creationId xmlns:a16="http://schemas.microsoft.com/office/drawing/2014/main" id="{BB0B4ACF-E0ED-49A1-9810-079F9795ABEC}"/>
                </a:ext>
              </a:extLst>
            </p:cNvPr>
            <p:cNvSpPr/>
            <p:nvPr userDrawn="1"/>
          </p:nvSpPr>
          <p:spPr bwMode="auto">
            <a:xfrm>
              <a:off x="5867400" y="2019300"/>
              <a:ext cx="95250" cy="87313"/>
            </a:xfrm>
            <a:custGeom>
              <a:avLst/>
              <a:gdLst>
                <a:gd name="T0" fmla="*/ 2 w 56"/>
                <a:gd name="T1" fmla="*/ 2 h 52"/>
                <a:gd name="T2" fmla="*/ 0 w 56"/>
                <a:gd name="T3" fmla="*/ 4 h 52"/>
                <a:gd name="T4" fmla="*/ 53 w 56"/>
                <a:gd name="T5" fmla="*/ 52 h 52"/>
                <a:gd name="T6" fmla="*/ 54 w 56"/>
                <a:gd name="T7" fmla="*/ 51 h 52"/>
                <a:gd name="T8" fmla="*/ 56 w 56"/>
                <a:gd name="T9" fmla="*/ 49 h 52"/>
                <a:gd name="T10" fmla="*/ 4 w 56"/>
                <a:gd name="T11" fmla="*/ 0 h 52"/>
                <a:gd name="T12" fmla="*/ 2 w 56"/>
                <a:gd name="T13" fmla="*/ 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6" h="52">
                  <a:moveTo>
                    <a:pt x="2" y="2"/>
                  </a:moveTo>
                  <a:cubicBezTo>
                    <a:pt x="1" y="3"/>
                    <a:pt x="1" y="3"/>
                    <a:pt x="0" y="4"/>
                  </a:cubicBezTo>
                  <a:cubicBezTo>
                    <a:pt x="53" y="52"/>
                    <a:pt x="53" y="52"/>
                    <a:pt x="53" y="52"/>
                  </a:cubicBezTo>
                  <a:cubicBezTo>
                    <a:pt x="53" y="52"/>
                    <a:pt x="54" y="51"/>
                    <a:pt x="54" y="51"/>
                  </a:cubicBezTo>
                  <a:cubicBezTo>
                    <a:pt x="55" y="50"/>
                    <a:pt x="55" y="50"/>
                    <a:pt x="56" y="49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1"/>
                    <a:pt x="2" y="1"/>
                    <a:pt x="2" y="2"/>
                  </a:cubicBezTo>
                  <a:close/>
                </a:path>
              </a:pathLst>
            </a:custGeom>
            <a:solidFill>
              <a:srgbClr val="E54C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56" name="íṣlîḓê">
              <a:extLst>
                <a:ext uri="{FF2B5EF4-FFF2-40B4-BE49-F238E27FC236}">
                  <a16:creationId xmlns:a16="http://schemas.microsoft.com/office/drawing/2014/main" id="{A6237659-F177-4F29-AA3B-C9874420806A}"/>
                </a:ext>
              </a:extLst>
            </p:cNvPr>
            <p:cNvSpPr/>
            <p:nvPr userDrawn="1"/>
          </p:nvSpPr>
          <p:spPr bwMode="auto">
            <a:xfrm>
              <a:off x="5726113" y="2211388"/>
              <a:ext cx="133350" cy="131763"/>
            </a:xfrm>
            <a:custGeom>
              <a:avLst/>
              <a:gdLst>
                <a:gd name="T0" fmla="*/ 74 w 79"/>
                <a:gd name="T1" fmla="*/ 31 h 78"/>
                <a:gd name="T2" fmla="*/ 48 w 79"/>
                <a:gd name="T3" fmla="*/ 74 h 78"/>
                <a:gd name="T4" fmla="*/ 5 w 79"/>
                <a:gd name="T5" fmla="*/ 47 h 78"/>
                <a:gd name="T6" fmla="*/ 31 w 79"/>
                <a:gd name="T7" fmla="*/ 4 h 78"/>
                <a:gd name="T8" fmla="*/ 74 w 79"/>
                <a:gd name="T9" fmla="*/ 31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9" h="78">
                  <a:moveTo>
                    <a:pt x="74" y="31"/>
                  </a:moveTo>
                  <a:cubicBezTo>
                    <a:pt x="79" y="50"/>
                    <a:pt x="67" y="69"/>
                    <a:pt x="48" y="74"/>
                  </a:cubicBezTo>
                  <a:cubicBezTo>
                    <a:pt x="28" y="78"/>
                    <a:pt x="9" y="67"/>
                    <a:pt x="5" y="47"/>
                  </a:cubicBezTo>
                  <a:cubicBezTo>
                    <a:pt x="0" y="28"/>
                    <a:pt x="12" y="9"/>
                    <a:pt x="31" y="4"/>
                  </a:cubicBezTo>
                  <a:cubicBezTo>
                    <a:pt x="50" y="0"/>
                    <a:pt x="69" y="12"/>
                    <a:pt x="74" y="31"/>
                  </a:cubicBezTo>
                  <a:close/>
                </a:path>
              </a:pathLst>
            </a:custGeom>
            <a:solidFill>
              <a:srgbClr val="FF787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57" name="îsļiḍé">
              <a:extLst>
                <a:ext uri="{FF2B5EF4-FFF2-40B4-BE49-F238E27FC236}">
                  <a16:creationId xmlns:a16="http://schemas.microsoft.com/office/drawing/2014/main" id="{10722CFE-9D01-4DE3-BA3D-48449847539F}"/>
                </a:ext>
              </a:extLst>
            </p:cNvPr>
            <p:cNvSpPr/>
            <p:nvPr userDrawn="1"/>
          </p:nvSpPr>
          <p:spPr bwMode="auto">
            <a:xfrm>
              <a:off x="5741988" y="2232025"/>
              <a:ext cx="117475" cy="109538"/>
            </a:xfrm>
            <a:custGeom>
              <a:avLst/>
              <a:gdLst>
                <a:gd name="T0" fmla="*/ 53 w 69"/>
                <a:gd name="T1" fmla="*/ 0 h 65"/>
                <a:gd name="T2" fmla="*/ 59 w 69"/>
                <a:gd name="T3" fmla="*/ 13 h 65"/>
                <a:gd name="T4" fmla="*/ 32 w 69"/>
                <a:gd name="T5" fmla="*/ 56 h 65"/>
                <a:gd name="T6" fmla="*/ 0 w 69"/>
                <a:gd name="T7" fmla="*/ 48 h 65"/>
                <a:gd name="T8" fmla="*/ 38 w 69"/>
                <a:gd name="T9" fmla="*/ 62 h 65"/>
                <a:gd name="T10" fmla="*/ 64 w 69"/>
                <a:gd name="T11" fmla="*/ 19 h 65"/>
                <a:gd name="T12" fmla="*/ 53 w 69"/>
                <a:gd name="T13" fmla="*/ 0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9" h="65">
                  <a:moveTo>
                    <a:pt x="53" y="0"/>
                  </a:moveTo>
                  <a:cubicBezTo>
                    <a:pt x="56" y="4"/>
                    <a:pt x="58" y="8"/>
                    <a:pt x="59" y="13"/>
                  </a:cubicBezTo>
                  <a:cubicBezTo>
                    <a:pt x="63" y="32"/>
                    <a:pt x="51" y="51"/>
                    <a:pt x="32" y="56"/>
                  </a:cubicBezTo>
                  <a:cubicBezTo>
                    <a:pt x="21" y="59"/>
                    <a:pt x="9" y="56"/>
                    <a:pt x="0" y="48"/>
                  </a:cubicBezTo>
                  <a:cubicBezTo>
                    <a:pt x="9" y="59"/>
                    <a:pt x="23" y="65"/>
                    <a:pt x="38" y="62"/>
                  </a:cubicBezTo>
                  <a:cubicBezTo>
                    <a:pt x="57" y="57"/>
                    <a:pt x="69" y="38"/>
                    <a:pt x="64" y="19"/>
                  </a:cubicBezTo>
                  <a:cubicBezTo>
                    <a:pt x="62" y="11"/>
                    <a:pt x="58" y="5"/>
                    <a:pt x="53" y="0"/>
                  </a:cubicBezTo>
                  <a:close/>
                </a:path>
              </a:pathLst>
            </a:custGeom>
            <a:solidFill>
              <a:srgbClr val="F56E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58" name="ïṣlîḋe">
              <a:extLst>
                <a:ext uri="{FF2B5EF4-FFF2-40B4-BE49-F238E27FC236}">
                  <a16:creationId xmlns:a16="http://schemas.microsoft.com/office/drawing/2014/main" id="{1D962FBB-1ADD-4F6E-995A-C790EC7E29E0}"/>
                </a:ext>
              </a:extLst>
            </p:cNvPr>
            <p:cNvSpPr/>
            <p:nvPr userDrawn="1"/>
          </p:nvSpPr>
          <p:spPr bwMode="auto">
            <a:xfrm>
              <a:off x="5734050" y="2263775"/>
              <a:ext cx="119063" cy="34925"/>
            </a:xfrm>
            <a:custGeom>
              <a:avLst/>
              <a:gdLst>
                <a:gd name="T0" fmla="*/ 0 w 70"/>
                <a:gd name="T1" fmla="*/ 18 h 21"/>
                <a:gd name="T2" fmla="*/ 1 w 70"/>
                <a:gd name="T3" fmla="*/ 21 h 21"/>
                <a:gd name="T4" fmla="*/ 70 w 70"/>
                <a:gd name="T5" fmla="*/ 4 h 21"/>
                <a:gd name="T6" fmla="*/ 69 w 70"/>
                <a:gd name="T7" fmla="*/ 1 h 21"/>
                <a:gd name="T8" fmla="*/ 69 w 70"/>
                <a:gd name="T9" fmla="*/ 0 h 21"/>
                <a:gd name="T10" fmla="*/ 0 w 70"/>
                <a:gd name="T11" fmla="*/ 16 h 21"/>
                <a:gd name="T12" fmla="*/ 0 w 70"/>
                <a:gd name="T13" fmla="*/ 18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0" h="21">
                  <a:moveTo>
                    <a:pt x="0" y="18"/>
                  </a:moveTo>
                  <a:cubicBezTo>
                    <a:pt x="0" y="19"/>
                    <a:pt x="1" y="20"/>
                    <a:pt x="1" y="21"/>
                  </a:cubicBezTo>
                  <a:cubicBezTo>
                    <a:pt x="70" y="4"/>
                    <a:pt x="70" y="4"/>
                    <a:pt x="70" y="4"/>
                  </a:cubicBezTo>
                  <a:cubicBezTo>
                    <a:pt x="70" y="3"/>
                    <a:pt x="70" y="2"/>
                    <a:pt x="69" y="1"/>
                  </a:cubicBezTo>
                  <a:cubicBezTo>
                    <a:pt x="69" y="1"/>
                    <a:pt x="69" y="0"/>
                    <a:pt x="69" y="0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17"/>
                    <a:pt x="0" y="17"/>
                    <a:pt x="0" y="18"/>
                  </a:cubicBezTo>
                  <a:close/>
                </a:path>
              </a:pathLst>
            </a:custGeom>
            <a:solidFill>
              <a:srgbClr val="F56E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59" name="išļídé">
              <a:extLst>
                <a:ext uri="{FF2B5EF4-FFF2-40B4-BE49-F238E27FC236}">
                  <a16:creationId xmlns:a16="http://schemas.microsoft.com/office/drawing/2014/main" id="{1878E15E-A3C5-4244-885F-937BA964C1DB}"/>
                </a:ext>
              </a:extLst>
            </p:cNvPr>
            <p:cNvSpPr/>
            <p:nvPr userDrawn="1"/>
          </p:nvSpPr>
          <p:spPr bwMode="auto">
            <a:xfrm>
              <a:off x="5732463" y="2260600"/>
              <a:ext cx="120650" cy="34925"/>
            </a:xfrm>
            <a:custGeom>
              <a:avLst/>
              <a:gdLst>
                <a:gd name="T0" fmla="*/ 1 w 71"/>
                <a:gd name="T1" fmla="*/ 18 h 21"/>
                <a:gd name="T2" fmla="*/ 1 w 71"/>
                <a:gd name="T3" fmla="*/ 21 h 21"/>
                <a:gd name="T4" fmla="*/ 71 w 71"/>
                <a:gd name="T5" fmla="*/ 4 h 21"/>
                <a:gd name="T6" fmla="*/ 70 w 71"/>
                <a:gd name="T7" fmla="*/ 2 h 21"/>
                <a:gd name="T8" fmla="*/ 69 w 71"/>
                <a:gd name="T9" fmla="*/ 0 h 21"/>
                <a:gd name="T10" fmla="*/ 0 w 71"/>
                <a:gd name="T11" fmla="*/ 16 h 21"/>
                <a:gd name="T12" fmla="*/ 1 w 71"/>
                <a:gd name="T13" fmla="*/ 18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1" h="21">
                  <a:moveTo>
                    <a:pt x="1" y="18"/>
                  </a:moveTo>
                  <a:cubicBezTo>
                    <a:pt x="1" y="19"/>
                    <a:pt x="1" y="20"/>
                    <a:pt x="1" y="21"/>
                  </a:cubicBezTo>
                  <a:cubicBezTo>
                    <a:pt x="71" y="4"/>
                    <a:pt x="71" y="4"/>
                    <a:pt x="71" y="4"/>
                  </a:cubicBezTo>
                  <a:cubicBezTo>
                    <a:pt x="70" y="3"/>
                    <a:pt x="70" y="3"/>
                    <a:pt x="70" y="2"/>
                  </a:cubicBezTo>
                  <a:cubicBezTo>
                    <a:pt x="70" y="1"/>
                    <a:pt x="70" y="0"/>
                    <a:pt x="69" y="0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17"/>
                    <a:pt x="0" y="18"/>
                    <a:pt x="1" y="18"/>
                  </a:cubicBezTo>
                  <a:close/>
                </a:path>
              </a:pathLst>
            </a:custGeom>
            <a:solidFill>
              <a:srgbClr val="E54C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60" name="iṣḻiďe">
              <a:extLst>
                <a:ext uri="{FF2B5EF4-FFF2-40B4-BE49-F238E27FC236}">
                  <a16:creationId xmlns:a16="http://schemas.microsoft.com/office/drawing/2014/main" id="{0FA31487-BFB9-4A24-A182-69E7D22638C8}"/>
                </a:ext>
              </a:extLst>
            </p:cNvPr>
            <p:cNvSpPr/>
            <p:nvPr userDrawn="1"/>
          </p:nvSpPr>
          <p:spPr bwMode="auto">
            <a:xfrm>
              <a:off x="6184900" y="3732213"/>
              <a:ext cx="1616075" cy="1838325"/>
            </a:xfrm>
            <a:custGeom>
              <a:avLst/>
              <a:gdLst>
                <a:gd name="T0" fmla="*/ 490 w 955"/>
                <a:gd name="T1" fmla="*/ 0 h 1089"/>
                <a:gd name="T2" fmla="*/ 122 w 955"/>
                <a:gd name="T3" fmla="*/ 130 h 1089"/>
                <a:gd name="T4" fmla="*/ 129 w 955"/>
                <a:gd name="T5" fmla="*/ 151 h 1089"/>
                <a:gd name="T6" fmla="*/ 122 w 955"/>
                <a:gd name="T7" fmla="*/ 154 h 1089"/>
                <a:gd name="T8" fmla="*/ 115 w 955"/>
                <a:gd name="T9" fmla="*/ 158 h 1089"/>
                <a:gd name="T10" fmla="*/ 37 w 955"/>
                <a:gd name="T11" fmla="*/ 185 h 1089"/>
                <a:gd name="T12" fmla="*/ 8 w 955"/>
                <a:gd name="T13" fmla="*/ 244 h 1089"/>
                <a:gd name="T14" fmla="*/ 294 w 955"/>
                <a:gd name="T15" fmla="*/ 1058 h 1089"/>
                <a:gd name="T16" fmla="*/ 338 w 955"/>
                <a:gd name="T17" fmla="*/ 1089 h 1089"/>
                <a:gd name="T18" fmla="*/ 353 w 955"/>
                <a:gd name="T19" fmla="*/ 1087 h 1089"/>
                <a:gd name="T20" fmla="*/ 918 w 955"/>
                <a:gd name="T21" fmla="*/ 889 h 1089"/>
                <a:gd name="T22" fmla="*/ 946 w 955"/>
                <a:gd name="T23" fmla="*/ 830 h 1089"/>
                <a:gd name="T24" fmla="*/ 923 w 955"/>
                <a:gd name="T25" fmla="*/ 763 h 1089"/>
                <a:gd name="T26" fmla="*/ 916 w 955"/>
                <a:gd name="T27" fmla="*/ 785 h 1089"/>
                <a:gd name="T28" fmla="*/ 330 w 955"/>
                <a:gd name="T29" fmla="*/ 590 h 1089"/>
                <a:gd name="T30" fmla="*/ 334 w 955"/>
                <a:gd name="T31" fmla="*/ 579 h 1089"/>
                <a:gd name="T32" fmla="*/ 301 w 955"/>
                <a:gd name="T33" fmla="*/ 568 h 1089"/>
                <a:gd name="T34" fmla="*/ 490 w 955"/>
                <a:gd name="T35" fmla="*/ 0 h 10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55" h="1089">
                  <a:moveTo>
                    <a:pt x="490" y="0"/>
                  </a:moveTo>
                  <a:cubicBezTo>
                    <a:pt x="122" y="130"/>
                    <a:pt x="122" y="130"/>
                    <a:pt x="122" y="130"/>
                  </a:cubicBezTo>
                  <a:cubicBezTo>
                    <a:pt x="129" y="151"/>
                    <a:pt x="129" y="151"/>
                    <a:pt x="129" y="151"/>
                  </a:cubicBezTo>
                  <a:cubicBezTo>
                    <a:pt x="122" y="154"/>
                    <a:pt x="122" y="154"/>
                    <a:pt x="122" y="154"/>
                  </a:cubicBezTo>
                  <a:cubicBezTo>
                    <a:pt x="119" y="155"/>
                    <a:pt x="117" y="156"/>
                    <a:pt x="115" y="158"/>
                  </a:cubicBezTo>
                  <a:cubicBezTo>
                    <a:pt x="37" y="185"/>
                    <a:pt x="37" y="185"/>
                    <a:pt x="37" y="185"/>
                  </a:cubicBezTo>
                  <a:cubicBezTo>
                    <a:pt x="13" y="193"/>
                    <a:pt x="0" y="220"/>
                    <a:pt x="8" y="244"/>
                  </a:cubicBezTo>
                  <a:cubicBezTo>
                    <a:pt x="294" y="1058"/>
                    <a:pt x="294" y="1058"/>
                    <a:pt x="294" y="1058"/>
                  </a:cubicBezTo>
                  <a:cubicBezTo>
                    <a:pt x="301" y="1077"/>
                    <a:pt x="318" y="1089"/>
                    <a:pt x="338" y="1089"/>
                  </a:cubicBezTo>
                  <a:cubicBezTo>
                    <a:pt x="343" y="1089"/>
                    <a:pt x="348" y="1088"/>
                    <a:pt x="353" y="1087"/>
                  </a:cubicBezTo>
                  <a:cubicBezTo>
                    <a:pt x="918" y="889"/>
                    <a:pt x="918" y="889"/>
                    <a:pt x="918" y="889"/>
                  </a:cubicBezTo>
                  <a:cubicBezTo>
                    <a:pt x="942" y="880"/>
                    <a:pt x="955" y="854"/>
                    <a:pt x="946" y="830"/>
                  </a:cubicBezTo>
                  <a:cubicBezTo>
                    <a:pt x="923" y="763"/>
                    <a:pt x="923" y="763"/>
                    <a:pt x="923" y="763"/>
                  </a:cubicBezTo>
                  <a:cubicBezTo>
                    <a:pt x="916" y="785"/>
                    <a:pt x="916" y="785"/>
                    <a:pt x="916" y="785"/>
                  </a:cubicBezTo>
                  <a:cubicBezTo>
                    <a:pt x="330" y="590"/>
                    <a:pt x="330" y="590"/>
                    <a:pt x="330" y="590"/>
                  </a:cubicBezTo>
                  <a:cubicBezTo>
                    <a:pt x="334" y="579"/>
                    <a:pt x="334" y="579"/>
                    <a:pt x="334" y="579"/>
                  </a:cubicBezTo>
                  <a:cubicBezTo>
                    <a:pt x="301" y="568"/>
                    <a:pt x="301" y="568"/>
                    <a:pt x="301" y="568"/>
                  </a:cubicBezTo>
                  <a:cubicBezTo>
                    <a:pt x="490" y="0"/>
                    <a:pt x="490" y="0"/>
                    <a:pt x="490" y="0"/>
                  </a:cubicBezTo>
                </a:path>
              </a:pathLst>
            </a:custGeom>
            <a:solidFill>
              <a:srgbClr val="E8E8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61" name="ïṡḷiḋé">
              <a:extLst>
                <a:ext uri="{FF2B5EF4-FFF2-40B4-BE49-F238E27FC236}">
                  <a16:creationId xmlns:a16="http://schemas.microsoft.com/office/drawing/2014/main" id="{A3A6D806-6043-4324-AABB-9B3EDF456BDB}"/>
                </a:ext>
              </a:extLst>
            </p:cNvPr>
            <p:cNvSpPr/>
            <p:nvPr userDrawn="1"/>
          </p:nvSpPr>
          <p:spPr bwMode="auto">
            <a:xfrm>
              <a:off x="6743700" y="4710113"/>
              <a:ext cx="1003300" cy="347663"/>
            </a:xfrm>
            <a:custGeom>
              <a:avLst/>
              <a:gdLst>
                <a:gd name="T0" fmla="*/ 4 w 632"/>
                <a:gd name="T1" fmla="*/ 0 h 219"/>
                <a:gd name="T2" fmla="*/ 0 w 632"/>
                <a:gd name="T3" fmla="*/ 11 h 219"/>
                <a:gd name="T4" fmla="*/ 624 w 632"/>
                <a:gd name="T5" fmla="*/ 219 h 219"/>
                <a:gd name="T6" fmla="*/ 632 w 632"/>
                <a:gd name="T7" fmla="*/ 195 h 219"/>
                <a:gd name="T8" fmla="*/ 612 w 632"/>
                <a:gd name="T9" fmla="*/ 139 h 219"/>
                <a:gd name="T10" fmla="*/ 593 w 632"/>
                <a:gd name="T11" fmla="*/ 195 h 219"/>
                <a:gd name="T12" fmla="*/ 4 w 632"/>
                <a:gd name="T13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32" h="219">
                  <a:moveTo>
                    <a:pt x="4" y="0"/>
                  </a:moveTo>
                  <a:lnTo>
                    <a:pt x="0" y="11"/>
                  </a:lnTo>
                  <a:lnTo>
                    <a:pt x="624" y="219"/>
                  </a:lnTo>
                  <a:lnTo>
                    <a:pt x="632" y="195"/>
                  </a:lnTo>
                  <a:lnTo>
                    <a:pt x="612" y="139"/>
                  </a:lnTo>
                  <a:lnTo>
                    <a:pt x="593" y="195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D3D3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62" name="ïŝľïďé">
              <a:extLst>
                <a:ext uri="{FF2B5EF4-FFF2-40B4-BE49-F238E27FC236}">
                  <a16:creationId xmlns:a16="http://schemas.microsoft.com/office/drawing/2014/main" id="{F2E09394-9828-4D82-A27B-893EF9F0DA63}"/>
                </a:ext>
              </a:extLst>
            </p:cNvPr>
            <p:cNvSpPr/>
            <p:nvPr userDrawn="1"/>
          </p:nvSpPr>
          <p:spPr bwMode="auto">
            <a:xfrm>
              <a:off x="6743700" y="4710113"/>
              <a:ext cx="1003300" cy="347663"/>
            </a:xfrm>
            <a:custGeom>
              <a:avLst/>
              <a:gdLst>
                <a:gd name="T0" fmla="*/ 4 w 632"/>
                <a:gd name="T1" fmla="*/ 0 h 219"/>
                <a:gd name="T2" fmla="*/ 0 w 632"/>
                <a:gd name="T3" fmla="*/ 11 h 219"/>
                <a:gd name="T4" fmla="*/ 624 w 632"/>
                <a:gd name="T5" fmla="*/ 219 h 219"/>
                <a:gd name="T6" fmla="*/ 632 w 632"/>
                <a:gd name="T7" fmla="*/ 195 h 219"/>
                <a:gd name="T8" fmla="*/ 612 w 632"/>
                <a:gd name="T9" fmla="*/ 139 h 219"/>
                <a:gd name="T10" fmla="*/ 593 w 632"/>
                <a:gd name="T11" fmla="*/ 195 h 219"/>
                <a:gd name="T12" fmla="*/ 4 w 632"/>
                <a:gd name="T13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32" h="219">
                  <a:moveTo>
                    <a:pt x="4" y="0"/>
                  </a:moveTo>
                  <a:lnTo>
                    <a:pt x="0" y="11"/>
                  </a:lnTo>
                  <a:lnTo>
                    <a:pt x="624" y="219"/>
                  </a:lnTo>
                  <a:lnTo>
                    <a:pt x="632" y="195"/>
                  </a:lnTo>
                  <a:lnTo>
                    <a:pt x="612" y="139"/>
                  </a:lnTo>
                  <a:lnTo>
                    <a:pt x="593" y="195"/>
                  </a:lnTo>
                  <a:lnTo>
                    <a:pt x="4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63" name="îsḻïde">
              <a:extLst>
                <a:ext uri="{FF2B5EF4-FFF2-40B4-BE49-F238E27FC236}">
                  <a16:creationId xmlns:a16="http://schemas.microsoft.com/office/drawing/2014/main" id="{54CA3AF6-B44C-4270-B879-93792F6AD0C0}"/>
                </a:ext>
              </a:extLst>
            </p:cNvPr>
            <p:cNvSpPr/>
            <p:nvPr userDrawn="1"/>
          </p:nvSpPr>
          <p:spPr bwMode="auto">
            <a:xfrm>
              <a:off x="6694488" y="4156075"/>
              <a:ext cx="1020763" cy="863600"/>
            </a:xfrm>
            <a:custGeom>
              <a:avLst/>
              <a:gdLst>
                <a:gd name="T0" fmla="*/ 126 w 643"/>
                <a:gd name="T1" fmla="*/ 248 h 544"/>
                <a:gd name="T2" fmla="*/ 0 w 643"/>
                <a:gd name="T3" fmla="*/ 337 h 544"/>
                <a:gd name="T4" fmla="*/ 35 w 643"/>
                <a:gd name="T5" fmla="*/ 349 h 544"/>
                <a:gd name="T6" fmla="*/ 624 w 643"/>
                <a:gd name="T7" fmla="*/ 544 h 544"/>
                <a:gd name="T8" fmla="*/ 643 w 643"/>
                <a:gd name="T9" fmla="*/ 488 h 544"/>
                <a:gd name="T10" fmla="*/ 612 w 643"/>
                <a:gd name="T11" fmla="*/ 400 h 544"/>
                <a:gd name="T12" fmla="*/ 610 w 643"/>
                <a:gd name="T13" fmla="*/ 408 h 544"/>
                <a:gd name="T14" fmla="*/ 126 w 643"/>
                <a:gd name="T15" fmla="*/ 248 h 544"/>
                <a:gd name="T16" fmla="*/ 176 w 643"/>
                <a:gd name="T17" fmla="*/ 212 h 544"/>
                <a:gd name="T18" fmla="*/ 142 w 643"/>
                <a:gd name="T19" fmla="*/ 236 h 544"/>
                <a:gd name="T20" fmla="*/ 608 w 643"/>
                <a:gd name="T21" fmla="*/ 391 h 544"/>
                <a:gd name="T22" fmla="*/ 595 w 643"/>
                <a:gd name="T23" fmla="*/ 351 h 544"/>
                <a:gd name="T24" fmla="*/ 176 w 643"/>
                <a:gd name="T25" fmla="*/ 212 h 544"/>
                <a:gd name="T26" fmla="*/ 228 w 643"/>
                <a:gd name="T27" fmla="*/ 174 h 544"/>
                <a:gd name="T28" fmla="*/ 192 w 643"/>
                <a:gd name="T29" fmla="*/ 200 h 544"/>
                <a:gd name="T30" fmla="*/ 587 w 643"/>
                <a:gd name="T31" fmla="*/ 332 h 544"/>
                <a:gd name="T32" fmla="*/ 572 w 643"/>
                <a:gd name="T33" fmla="*/ 288 h 544"/>
                <a:gd name="T34" fmla="*/ 228 w 643"/>
                <a:gd name="T35" fmla="*/ 174 h 544"/>
                <a:gd name="T36" fmla="*/ 284 w 643"/>
                <a:gd name="T37" fmla="*/ 134 h 544"/>
                <a:gd name="T38" fmla="*/ 245 w 643"/>
                <a:gd name="T39" fmla="*/ 163 h 544"/>
                <a:gd name="T40" fmla="*/ 566 w 643"/>
                <a:gd name="T41" fmla="*/ 269 h 544"/>
                <a:gd name="T42" fmla="*/ 550 w 643"/>
                <a:gd name="T43" fmla="*/ 223 h 544"/>
                <a:gd name="T44" fmla="*/ 284 w 643"/>
                <a:gd name="T45" fmla="*/ 134 h 544"/>
                <a:gd name="T46" fmla="*/ 334 w 643"/>
                <a:gd name="T47" fmla="*/ 99 h 544"/>
                <a:gd name="T48" fmla="*/ 300 w 643"/>
                <a:gd name="T49" fmla="*/ 122 h 544"/>
                <a:gd name="T50" fmla="*/ 542 w 643"/>
                <a:gd name="T51" fmla="*/ 203 h 544"/>
                <a:gd name="T52" fmla="*/ 529 w 643"/>
                <a:gd name="T53" fmla="*/ 163 h 544"/>
                <a:gd name="T54" fmla="*/ 334 w 643"/>
                <a:gd name="T55" fmla="*/ 99 h 544"/>
                <a:gd name="T56" fmla="*/ 389 w 643"/>
                <a:gd name="T57" fmla="*/ 58 h 544"/>
                <a:gd name="T58" fmla="*/ 350 w 643"/>
                <a:gd name="T59" fmla="*/ 87 h 544"/>
                <a:gd name="T60" fmla="*/ 522 w 643"/>
                <a:gd name="T61" fmla="*/ 143 h 544"/>
                <a:gd name="T62" fmla="*/ 505 w 643"/>
                <a:gd name="T63" fmla="*/ 98 h 544"/>
                <a:gd name="T64" fmla="*/ 389 w 643"/>
                <a:gd name="T65" fmla="*/ 58 h 544"/>
                <a:gd name="T66" fmla="*/ 443 w 643"/>
                <a:gd name="T67" fmla="*/ 20 h 544"/>
                <a:gd name="T68" fmla="*/ 405 w 643"/>
                <a:gd name="T69" fmla="*/ 47 h 544"/>
                <a:gd name="T70" fmla="*/ 499 w 643"/>
                <a:gd name="T71" fmla="*/ 78 h 544"/>
                <a:gd name="T72" fmla="*/ 483 w 643"/>
                <a:gd name="T73" fmla="*/ 33 h 544"/>
                <a:gd name="T74" fmla="*/ 443 w 643"/>
                <a:gd name="T75" fmla="*/ 20 h 544"/>
                <a:gd name="T76" fmla="*/ 471 w 643"/>
                <a:gd name="T77" fmla="*/ 0 h 544"/>
                <a:gd name="T78" fmla="*/ 459 w 643"/>
                <a:gd name="T79" fmla="*/ 8 h 544"/>
                <a:gd name="T80" fmla="*/ 476 w 643"/>
                <a:gd name="T81" fmla="*/ 14 h 544"/>
                <a:gd name="T82" fmla="*/ 471 w 643"/>
                <a:gd name="T83" fmla="*/ 0 h 5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43" h="544">
                  <a:moveTo>
                    <a:pt x="126" y="248"/>
                  </a:moveTo>
                  <a:lnTo>
                    <a:pt x="0" y="337"/>
                  </a:lnTo>
                  <a:lnTo>
                    <a:pt x="35" y="349"/>
                  </a:lnTo>
                  <a:lnTo>
                    <a:pt x="624" y="544"/>
                  </a:lnTo>
                  <a:lnTo>
                    <a:pt x="643" y="488"/>
                  </a:lnTo>
                  <a:lnTo>
                    <a:pt x="612" y="400"/>
                  </a:lnTo>
                  <a:lnTo>
                    <a:pt x="610" y="408"/>
                  </a:lnTo>
                  <a:lnTo>
                    <a:pt x="126" y="248"/>
                  </a:lnTo>
                  <a:close/>
                  <a:moveTo>
                    <a:pt x="176" y="212"/>
                  </a:moveTo>
                  <a:lnTo>
                    <a:pt x="142" y="236"/>
                  </a:lnTo>
                  <a:lnTo>
                    <a:pt x="608" y="391"/>
                  </a:lnTo>
                  <a:lnTo>
                    <a:pt x="595" y="351"/>
                  </a:lnTo>
                  <a:lnTo>
                    <a:pt x="176" y="212"/>
                  </a:lnTo>
                  <a:close/>
                  <a:moveTo>
                    <a:pt x="228" y="174"/>
                  </a:moveTo>
                  <a:lnTo>
                    <a:pt x="192" y="200"/>
                  </a:lnTo>
                  <a:lnTo>
                    <a:pt x="587" y="332"/>
                  </a:lnTo>
                  <a:lnTo>
                    <a:pt x="572" y="288"/>
                  </a:lnTo>
                  <a:lnTo>
                    <a:pt x="228" y="174"/>
                  </a:lnTo>
                  <a:close/>
                  <a:moveTo>
                    <a:pt x="284" y="134"/>
                  </a:moveTo>
                  <a:lnTo>
                    <a:pt x="245" y="163"/>
                  </a:lnTo>
                  <a:lnTo>
                    <a:pt x="566" y="269"/>
                  </a:lnTo>
                  <a:lnTo>
                    <a:pt x="550" y="223"/>
                  </a:lnTo>
                  <a:lnTo>
                    <a:pt x="284" y="134"/>
                  </a:lnTo>
                  <a:close/>
                  <a:moveTo>
                    <a:pt x="334" y="99"/>
                  </a:moveTo>
                  <a:lnTo>
                    <a:pt x="300" y="122"/>
                  </a:lnTo>
                  <a:lnTo>
                    <a:pt x="542" y="203"/>
                  </a:lnTo>
                  <a:lnTo>
                    <a:pt x="529" y="163"/>
                  </a:lnTo>
                  <a:lnTo>
                    <a:pt x="334" y="99"/>
                  </a:lnTo>
                  <a:close/>
                  <a:moveTo>
                    <a:pt x="389" y="58"/>
                  </a:moveTo>
                  <a:lnTo>
                    <a:pt x="350" y="87"/>
                  </a:lnTo>
                  <a:lnTo>
                    <a:pt x="522" y="143"/>
                  </a:lnTo>
                  <a:lnTo>
                    <a:pt x="505" y="98"/>
                  </a:lnTo>
                  <a:lnTo>
                    <a:pt x="389" y="58"/>
                  </a:lnTo>
                  <a:close/>
                  <a:moveTo>
                    <a:pt x="443" y="20"/>
                  </a:moveTo>
                  <a:lnTo>
                    <a:pt x="405" y="47"/>
                  </a:lnTo>
                  <a:lnTo>
                    <a:pt x="499" y="78"/>
                  </a:lnTo>
                  <a:lnTo>
                    <a:pt x="483" y="33"/>
                  </a:lnTo>
                  <a:lnTo>
                    <a:pt x="443" y="20"/>
                  </a:lnTo>
                  <a:close/>
                  <a:moveTo>
                    <a:pt x="471" y="0"/>
                  </a:moveTo>
                  <a:lnTo>
                    <a:pt x="459" y="8"/>
                  </a:lnTo>
                  <a:lnTo>
                    <a:pt x="476" y="14"/>
                  </a:lnTo>
                  <a:lnTo>
                    <a:pt x="471" y="0"/>
                  </a:lnTo>
                  <a:close/>
                </a:path>
              </a:pathLst>
            </a:custGeom>
            <a:solidFill>
              <a:srgbClr val="E8E8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64" name="ïṧľíďê">
              <a:extLst>
                <a:ext uri="{FF2B5EF4-FFF2-40B4-BE49-F238E27FC236}">
                  <a16:creationId xmlns:a16="http://schemas.microsoft.com/office/drawing/2014/main" id="{9E512751-6F0F-4909-B644-3BAE52895E10}"/>
                </a:ext>
              </a:extLst>
            </p:cNvPr>
            <p:cNvSpPr/>
            <p:nvPr userDrawn="1"/>
          </p:nvSpPr>
          <p:spPr bwMode="auto">
            <a:xfrm>
              <a:off x="6694488" y="4156075"/>
              <a:ext cx="1020763" cy="863600"/>
            </a:xfrm>
            <a:custGeom>
              <a:avLst/>
              <a:gdLst>
                <a:gd name="T0" fmla="*/ 126 w 643"/>
                <a:gd name="T1" fmla="*/ 248 h 544"/>
                <a:gd name="T2" fmla="*/ 0 w 643"/>
                <a:gd name="T3" fmla="*/ 337 h 544"/>
                <a:gd name="T4" fmla="*/ 35 w 643"/>
                <a:gd name="T5" fmla="*/ 349 h 544"/>
                <a:gd name="T6" fmla="*/ 624 w 643"/>
                <a:gd name="T7" fmla="*/ 544 h 544"/>
                <a:gd name="T8" fmla="*/ 643 w 643"/>
                <a:gd name="T9" fmla="*/ 488 h 544"/>
                <a:gd name="T10" fmla="*/ 612 w 643"/>
                <a:gd name="T11" fmla="*/ 400 h 544"/>
                <a:gd name="T12" fmla="*/ 610 w 643"/>
                <a:gd name="T13" fmla="*/ 408 h 544"/>
                <a:gd name="T14" fmla="*/ 126 w 643"/>
                <a:gd name="T15" fmla="*/ 248 h 544"/>
                <a:gd name="T16" fmla="*/ 176 w 643"/>
                <a:gd name="T17" fmla="*/ 212 h 544"/>
                <a:gd name="T18" fmla="*/ 142 w 643"/>
                <a:gd name="T19" fmla="*/ 236 h 544"/>
                <a:gd name="T20" fmla="*/ 608 w 643"/>
                <a:gd name="T21" fmla="*/ 391 h 544"/>
                <a:gd name="T22" fmla="*/ 595 w 643"/>
                <a:gd name="T23" fmla="*/ 351 h 544"/>
                <a:gd name="T24" fmla="*/ 176 w 643"/>
                <a:gd name="T25" fmla="*/ 212 h 544"/>
                <a:gd name="T26" fmla="*/ 228 w 643"/>
                <a:gd name="T27" fmla="*/ 174 h 544"/>
                <a:gd name="T28" fmla="*/ 192 w 643"/>
                <a:gd name="T29" fmla="*/ 200 h 544"/>
                <a:gd name="T30" fmla="*/ 587 w 643"/>
                <a:gd name="T31" fmla="*/ 332 h 544"/>
                <a:gd name="T32" fmla="*/ 572 w 643"/>
                <a:gd name="T33" fmla="*/ 288 h 544"/>
                <a:gd name="T34" fmla="*/ 228 w 643"/>
                <a:gd name="T35" fmla="*/ 174 h 544"/>
                <a:gd name="T36" fmla="*/ 284 w 643"/>
                <a:gd name="T37" fmla="*/ 134 h 544"/>
                <a:gd name="T38" fmla="*/ 245 w 643"/>
                <a:gd name="T39" fmla="*/ 163 h 544"/>
                <a:gd name="T40" fmla="*/ 566 w 643"/>
                <a:gd name="T41" fmla="*/ 269 h 544"/>
                <a:gd name="T42" fmla="*/ 550 w 643"/>
                <a:gd name="T43" fmla="*/ 223 h 544"/>
                <a:gd name="T44" fmla="*/ 284 w 643"/>
                <a:gd name="T45" fmla="*/ 134 h 544"/>
                <a:gd name="T46" fmla="*/ 334 w 643"/>
                <a:gd name="T47" fmla="*/ 99 h 544"/>
                <a:gd name="T48" fmla="*/ 300 w 643"/>
                <a:gd name="T49" fmla="*/ 122 h 544"/>
                <a:gd name="T50" fmla="*/ 542 w 643"/>
                <a:gd name="T51" fmla="*/ 203 h 544"/>
                <a:gd name="T52" fmla="*/ 529 w 643"/>
                <a:gd name="T53" fmla="*/ 163 h 544"/>
                <a:gd name="T54" fmla="*/ 334 w 643"/>
                <a:gd name="T55" fmla="*/ 99 h 544"/>
                <a:gd name="T56" fmla="*/ 389 w 643"/>
                <a:gd name="T57" fmla="*/ 58 h 544"/>
                <a:gd name="T58" fmla="*/ 350 w 643"/>
                <a:gd name="T59" fmla="*/ 87 h 544"/>
                <a:gd name="T60" fmla="*/ 522 w 643"/>
                <a:gd name="T61" fmla="*/ 143 h 544"/>
                <a:gd name="T62" fmla="*/ 505 w 643"/>
                <a:gd name="T63" fmla="*/ 98 h 544"/>
                <a:gd name="T64" fmla="*/ 389 w 643"/>
                <a:gd name="T65" fmla="*/ 58 h 544"/>
                <a:gd name="T66" fmla="*/ 443 w 643"/>
                <a:gd name="T67" fmla="*/ 20 h 544"/>
                <a:gd name="T68" fmla="*/ 405 w 643"/>
                <a:gd name="T69" fmla="*/ 47 h 544"/>
                <a:gd name="T70" fmla="*/ 499 w 643"/>
                <a:gd name="T71" fmla="*/ 78 h 544"/>
                <a:gd name="T72" fmla="*/ 483 w 643"/>
                <a:gd name="T73" fmla="*/ 33 h 544"/>
                <a:gd name="T74" fmla="*/ 443 w 643"/>
                <a:gd name="T75" fmla="*/ 20 h 544"/>
                <a:gd name="T76" fmla="*/ 471 w 643"/>
                <a:gd name="T77" fmla="*/ 0 h 544"/>
                <a:gd name="T78" fmla="*/ 459 w 643"/>
                <a:gd name="T79" fmla="*/ 8 h 544"/>
                <a:gd name="T80" fmla="*/ 476 w 643"/>
                <a:gd name="T81" fmla="*/ 14 h 544"/>
                <a:gd name="T82" fmla="*/ 471 w 643"/>
                <a:gd name="T83" fmla="*/ 0 h 5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43" h="544">
                  <a:moveTo>
                    <a:pt x="126" y="248"/>
                  </a:moveTo>
                  <a:lnTo>
                    <a:pt x="0" y="337"/>
                  </a:lnTo>
                  <a:lnTo>
                    <a:pt x="35" y="349"/>
                  </a:lnTo>
                  <a:lnTo>
                    <a:pt x="624" y="544"/>
                  </a:lnTo>
                  <a:lnTo>
                    <a:pt x="643" y="488"/>
                  </a:lnTo>
                  <a:lnTo>
                    <a:pt x="612" y="400"/>
                  </a:lnTo>
                  <a:lnTo>
                    <a:pt x="610" y="408"/>
                  </a:lnTo>
                  <a:lnTo>
                    <a:pt x="126" y="248"/>
                  </a:lnTo>
                  <a:moveTo>
                    <a:pt x="176" y="212"/>
                  </a:moveTo>
                  <a:lnTo>
                    <a:pt x="142" y="236"/>
                  </a:lnTo>
                  <a:lnTo>
                    <a:pt x="608" y="391"/>
                  </a:lnTo>
                  <a:lnTo>
                    <a:pt x="595" y="351"/>
                  </a:lnTo>
                  <a:lnTo>
                    <a:pt x="176" y="212"/>
                  </a:lnTo>
                  <a:moveTo>
                    <a:pt x="228" y="174"/>
                  </a:moveTo>
                  <a:lnTo>
                    <a:pt x="192" y="200"/>
                  </a:lnTo>
                  <a:lnTo>
                    <a:pt x="587" y="332"/>
                  </a:lnTo>
                  <a:lnTo>
                    <a:pt x="572" y="288"/>
                  </a:lnTo>
                  <a:lnTo>
                    <a:pt x="228" y="174"/>
                  </a:lnTo>
                  <a:moveTo>
                    <a:pt x="284" y="134"/>
                  </a:moveTo>
                  <a:lnTo>
                    <a:pt x="245" y="163"/>
                  </a:lnTo>
                  <a:lnTo>
                    <a:pt x="566" y="269"/>
                  </a:lnTo>
                  <a:lnTo>
                    <a:pt x="550" y="223"/>
                  </a:lnTo>
                  <a:lnTo>
                    <a:pt x="284" y="134"/>
                  </a:lnTo>
                  <a:moveTo>
                    <a:pt x="334" y="99"/>
                  </a:moveTo>
                  <a:lnTo>
                    <a:pt x="300" y="122"/>
                  </a:lnTo>
                  <a:lnTo>
                    <a:pt x="542" y="203"/>
                  </a:lnTo>
                  <a:lnTo>
                    <a:pt x="529" y="163"/>
                  </a:lnTo>
                  <a:lnTo>
                    <a:pt x="334" y="99"/>
                  </a:lnTo>
                  <a:moveTo>
                    <a:pt x="389" y="58"/>
                  </a:moveTo>
                  <a:lnTo>
                    <a:pt x="350" y="87"/>
                  </a:lnTo>
                  <a:lnTo>
                    <a:pt x="522" y="143"/>
                  </a:lnTo>
                  <a:lnTo>
                    <a:pt x="505" y="98"/>
                  </a:lnTo>
                  <a:lnTo>
                    <a:pt x="389" y="58"/>
                  </a:lnTo>
                  <a:moveTo>
                    <a:pt x="443" y="20"/>
                  </a:moveTo>
                  <a:lnTo>
                    <a:pt x="405" y="47"/>
                  </a:lnTo>
                  <a:lnTo>
                    <a:pt x="499" y="78"/>
                  </a:lnTo>
                  <a:lnTo>
                    <a:pt x="483" y="33"/>
                  </a:lnTo>
                  <a:lnTo>
                    <a:pt x="443" y="20"/>
                  </a:lnTo>
                  <a:moveTo>
                    <a:pt x="471" y="0"/>
                  </a:moveTo>
                  <a:lnTo>
                    <a:pt x="459" y="8"/>
                  </a:lnTo>
                  <a:lnTo>
                    <a:pt x="476" y="14"/>
                  </a:lnTo>
                  <a:lnTo>
                    <a:pt x="471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65" name="íṧļîḑe">
              <a:extLst>
                <a:ext uri="{FF2B5EF4-FFF2-40B4-BE49-F238E27FC236}">
                  <a16:creationId xmlns:a16="http://schemas.microsoft.com/office/drawing/2014/main" id="{F9A0CD9D-15D3-461D-9ED2-BBC841AFFA57}"/>
                </a:ext>
              </a:extLst>
            </p:cNvPr>
            <p:cNvSpPr/>
            <p:nvPr userDrawn="1"/>
          </p:nvSpPr>
          <p:spPr bwMode="auto">
            <a:xfrm>
              <a:off x="6694488" y="3705225"/>
              <a:ext cx="747713" cy="985838"/>
            </a:xfrm>
            <a:custGeom>
              <a:avLst/>
              <a:gdLst>
                <a:gd name="T0" fmla="*/ 200 w 442"/>
                <a:gd name="T1" fmla="*/ 13 h 584"/>
                <a:gd name="T2" fmla="*/ 189 w 442"/>
                <a:gd name="T3" fmla="*/ 16 h 584"/>
                <a:gd name="T4" fmla="*/ 0 w 442"/>
                <a:gd name="T5" fmla="*/ 584 h 584"/>
                <a:gd name="T6" fmla="*/ 118 w 442"/>
                <a:gd name="T7" fmla="*/ 500 h 584"/>
                <a:gd name="T8" fmla="*/ 112 w 442"/>
                <a:gd name="T9" fmla="*/ 498 h 584"/>
                <a:gd name="T10" fmla="*/ 117 w 442"/>
                <a:gd name="T11" fmla="*/ 484 h 584"/>
                <a:gd name="T12" fmla="*/ 133 w 442"/>
                <a:gd name="T13" fmla="*/ 489 h 584"/>
                <a:gd name="T14" fmla="*/ 165 w 442"/>
                <a:gd name="T15" fmla="*/ 466 h 584"/>
                <a:gd name="T16" fmla="*/ 127 w 442"/>
                <a:gd name="T17" fmla="*/ 453 h 584"/>
                <a:gd name="T18" fmla="*/ 132 w 442"/>
                <a:gd name="T19" fmla="*/ 439 h 584"/>
                <a:gd name="T20" fmla="*/ 180 w 442"/>
                <a:gd name="T21" fmla="*/ 455 h 584"/>
                <a:gd name="T22" fmla="*/ 214 w 442"/>
                <a:gd name="T23" fmla="*/ 431 h 584"/>
                <a:gd name="T24" fmla="*/ 137 w 442"/>
                <a:gd name="T25" fmla="*/ 405 h 584"/>
                <a:gd name="T26" fmla="*/ 142 w 442"/>
                <a:gd name="T27" fmla="*/ 390 h 584"/>
                <a:gd name="T28" fmla="*/ 230 w 442"/>
                <a:gd name="T29" fmla="*/ 420 h 584"/>
                <a:gd name="T30" fmla="*/ 266 w 442"/>
                <a:gd name="T31" fmla="*/ 393 h 584"/>
                <a:gd name="T32" fmla="*/ 153 w 442"/>
                <a:gd name="T33" fmla="*/ 356 h 584"/>
                <a:gd name="T34" fmla="*/ 158 w 442"/>
                <a:gd name="T35" fmla="*/ 341 h 584"/>
                <a:gd name="T36" fmla="*/ 281 w 442"/>
                <a:gd name="T37" fmla="*/ 382 h 584"/>
                <a:gd name="T38" fmla="*/ 313 w 442"/>
                <a:gd name="T39" fmla="*/ 360 h 584"/>
                <a:gd name="T40" fmla="*/ 168 w 442"/>
                <a:gd name="T41" fmla="*/ 311 h 584"/>
                <a:gd name="T42" fmla="*/ 173 w 442"/>
                <a:gd name="T43" fmla="*/ 297 h 584"/>
                <a:gd name="T44" fmla="*/ 328 w 442"/>
                <a:gd name="T45" fmla="*/ 349 h 584"/>
                <a:gd name="T46" fmla="*/ 365 w 442"/>
                <a:gd name="T47" fmla="*/ 322 h 584"/>
                <a:gd name="T48" fmla="*/ 183 w 442"/>
                <a:gd name="T49" fmla="*/ 262 h 584"/>
                <a:gd name="T50" fmla="*/ 188 w 442"/>
                <a:gd name="T51" fmla="*/ 247 h 584"/>
                <a:gd name="T52" fmla="*/ 380 w 442"/>
                <a:gd name="T53" fmla="*/ 311 h 584"/>
                <a:gd name="T54" fmla="*/ 416 w 442"/>
                <a:gd name="T55" fmla="*/ 286 h 584"/>
                <a:gd name="T56" fmla="*/ 201 w 442"/>
                <a:gd name="T57" fmla="*/ 214 h 584"/>
                <a:gd name="T58" fmla="*/ 206 w 442"/>
                <a:gd name="T59" fmla="*/ 200 h 584"/>
                <a:gd name="T60" fmla="*/ 431 w 442"/>
                <a:gd name="T61" fmla="*/ 275 h 584"/>
                <a:gd name="T62" fmla="*/ 442 w 442"/>
                <a:gd name="T63" fmla="*/ 267 h 584"/>
                <a:gd name="T64" fmla="*/ 433 w 442"/>
                <a:gd name="T65" fmla="*/ 242 h 584"/>
                <a:gd name="T66" fmla="*/ 216 w 442"/>
                <a:gd name="T67" fmla="*/ 169 h 584"/>
                <a:gd name="T68" fmla="*/ 221 w 442"/>
                <a:gd name="T69" fmla="*/ 155 h 584"/>
                <a:gd name="T70" fmla="*/ 427 w 442"/>
                <a:gd name="T71" fmla="*/ 223 h 584"/>
                <a:gd name="T72" fmla="*/ 412 w 442"/>
                <a:gd name="T73" fmla="*/ 180 h 584"/>
                <a:gd name="T74" fmla="*/ 231 w 442"/>
                <a:gd name="T75" fmla="*/ 120 h 584"/>
                <a:gd name="T76" fmla="*/ 236 w 442"/>
                <a:gd name="T77" fmla="*/ 105 h 584"/>
                <a:gd name="T78" fmla="*/ 405 w 442"/>
                <a:gd name="T79" fmla="*/ 162 h 584"/>
                <a:gd name="T80" fmla="*/ 391 w 442"/>
                <a:gd name="T81" fmla="*/ 120 h 584"/>
                <a:gd name="T82" fmla="*/ 247 w 442"/>
                <a:gd name="T83" fmla="*/ 73 h 584"/>
                <a:gd name="T84" fmla="*/ 252 w 442"/>
                <a:gd name="T85" fmla="*/ 58 h 584"/>
                <a:gd name="T86" fmla="*/ 384 w 442"/>
                <a:gd name="T87" fmla="*/ 102 h 584"/>
                <a:gd name="T88" fmla="*/ 371 w 442"/>
                <a:gd name="T89" fmla="*/ 65 h 584"/>
                <a:gd name="T90" fmla="*/ 262 w 442"/>
                <a:gd name="T91" fmla="*/ 29 h 584"/>
                <a:gd name="T92" fmla="*/ 266 w 442"/>
                <a:gd name="T93" fmla="*/ 15 h 584"/>
                <a:gd name="T94" fmla="*/ 218 w 442"/>
                <a:gd name="T95" fmla="*/ 32 h 584"/>
                <a:gd name="T96" fmla="*/ 211 w 442"/>
                <a:gd name="T97" fmla="*/ 33 h 584"/>
                <a:gd name="T98" fmla="*/ 207 w 442"/>
                <a:gd name="T99" fmla="*/ 34 h 584"/>
                <a:gd name="T100" fmla="*/ 200 w 442"/>
                <a:gd name="T101" fmla="*/ 13 h 584"/>
                <a:gd name="T102" fmla="*/ 316 w 442"/>
                <a:gd name="T103" fmla="*/ 0 h 584"/>
                <a:gd name="T104" fmla="*/ 301 w 442"/>
                <a:gd name="T105" fmla="*/ 3 h 584"/>
                <a:gd name="T106" fmla="*/ 268 w 442"/>
                <a:gd name="T107" fmla="*/ 14 h 584"/>
                <a:gd name="T108" fmla="*/ 365 w 442"/>
                <a:gd name="T109" fmla="*/ 47 h 584"/>
                <a:gd name="T110" fmla="*/ 360 w 442"/>
                <a:gd name="T111" fmla="*/ 31 h 584"/>
                <a:gd name="T112" fmla="*/ 316 w 442"/>
                <a:gd name="T113" fmla="*/ 0 h 5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442" h="584">
                  <a:moveTo>
                    <a:pt x="200" y="13"/>
                  </a:moveTo>
                  <a:cubicBezTo>
                    <a:pt x="189" y="16"/>
                    <a:pt x="189" y="16"/>
                    <a:pt x="189" y="16"/>
                  </a:cubicBezTo>
                  <a:cubicBezTo>
                    <a:pt x="0" y="584"/>
                    <a:pt x="0" y="584"/>
                    <a:pt x="0" y="584"/>
                  </a:cubicBezTo>
                  <a:cubicBezTo>
                    <a:pt x="118" y="500"/>
                    <a:pt x="118" y="500"/>
                    <a:pt x="118" y="500"/>
                  </a:cubicBezTo>
                  <a:cubicBezTo>
                    <a:pt x="112" y="498"/>
                    <a:pt x="112" y="498"/>
                    <a:pt x="112" y="498"/>
                  </a:cubicBezTo>
                  <a:cubicBezTo>
                    <a:pt x="117" y="484"/>
                    <a:pt x="117" y="484"/>
                    <a:pt x="117" y="484"/>
                  </a:cubicBezTo>
                  <a:cubicBezTo>
                    <a:pt x="133" y="489"/>
                    <a:pt x="133" y="489"/>
                    <a:pt x="133" y="489"/>
                  </a:cubicBezTo>
                  <a:cubicBezTo>
                    <a:pt x="165" y="466"/>
                    <a:pt x="165" y="466"/>
                    <a:pt x="165" y="466"/>
                  </a:cubicBezTo>
                  <a:cubicBezTo>
                    <a:pt x="127" y="453"/>
                    <a:pt x="127" y="453"/>
                    <a:pt x="127" y="453"/>
                  </a:cubicBezTo>
                  <a:cubicBezTo>
                    <a:pt x="132" y="439"/>
                    <a:pt x="132" y="439"/>
                    <a:pt x="132" y="439"/>
                  </a:cubicBezTo>
                  <a:cubicBezTo>
                    <a:pt x="180" y="455"/>
                    <a:pt x="180" y="455"/>
                    <a:pt x="180" y="455"/>
                  </a:cubicBezTo>
                  <a:cubicBezTo>
                    <a:pt x="214" y="431"/>
                    <a:pt x="214" y="431"/>
                    <a:pt x="214" y="431"/>
                  </a:cubicBezTo>
                  <a:cubicBezTo>
                    <a:pt x="137" y="405"/>
                    <a:pt x="137" y="405"/>
                    <a:pt x="137" y="405"/>
                  </a:cubicBezTo>
                  <a:cubicBezTo>
                    <a:pt x="142" y="390"/>
                    <a:pt x="142" y="390"/>
                    <a:pt x="142" y="390"/>
                  </a:cubicBezTo>
                  <a:cubicBezTo>
                    <a:pt x="230" y="420"/>
                    <a:pt x="230" y="420"/>
                    <a:pt x="230" y="420"/>
                  </a:cubicBezTo>
                  <a:cubicBezTo>
                    <a:pt x="266" y="393"/>
                    <a:pt x="266" y="393"/>
                    <a:pt x="266" y="393"/>
                  </a:cubicBezTo>
                  <a:cubicBezTo>
                    <a:pt x="153" y="356"/>
                    <a:pt x="153" y="356"/>
                    <a:pt x="153" y="356"/>
                  </a:cubicBezTo>
                  <a:cubicBezTo>
                    <a:pt x="158" y="341"/>
                    <a:pt x="158" y="341"/>
                    <a:pt x="158" y="341"/>
                  </a:cubicBezTo>
                  <a:cubicBezTo>
                    <a:pt x="281" y="382"/>
                    <a:pt x="281" y="382"/>
                    <a:pt x="281" y="382"/>
                  </a:cubicBezTo>
                  <a:cubicBezTo>
                    <a:pt x="313" y="360"/>
                    <a:pt x="313" y="360"/>
                    <a:pt x="313" y="360"/>
                  </a:cubicBezTo>
                  <a:cubicBezTo>
                    <a:pt x="168" y="311"/>
                    <a:pt x="168" y="311"/>
                    <a:pt x="168" y="311"/>
                  </a:cubicBezTo>
                  <a:cubicBezTo>
                    <a:pt x="173" y="297"/>
                    <a:pt x="173" y="297"/>
                    <a:pt x="173" y="297"/>
                  </a:cubicBezTo>
                  <a:cubicBezTo>
                    <a:pt x="328" y="349"/>
                    <a:pt x="328" y="349"/>
                    <a:pt x="328" y="349"/>
                  </a:cubicBezTo>
                  <a:cubicBezTo>
                    <a:pt x="365" y="322"/>
                    <a:pt x="365" y="322"/>
                    <a:pt x="365" y="322"/>
                  </a:cubicBezTo>
                  <a:cubicBezTo>
                    <a:pt x="183" y="262"/>
                    <a:pt x="183" y="262"/>
                    <a:pt x="183" y="262"/>
                  </a:cubicBezTo>
                  <a:cubicBezTo>
                    <a:pt x="188" y="247"/>
                    <a:pt x="188" y="247"/>
                    <a:pt x="188" y="247"/>
                  </a:cubicBezTo>
                  <a:cubicBezTo>
                    <a:pt x="380" y="311"/>
                    <a:pt x="380" y="311"/>
                    <a:pt x="380" y="311"/>
                  </a:cubicBezTo>
                  <a:cubicBezTo>
                    <a:pt x="416" y="286"/>
                    <a:pt x="416" y="286"/>
                    <a:pt x="416" y="286"/>
                  </a:cubicBezTo>
                  <a:cubicBezTo>
                    <a:pt x="201" y="214"/>
                    <a:pt x="201" y="214"/>
                    <a:pt x="201" y="214"/>
                  </a:cubicBezTo>
                  <a:cubicBezTo>
                    <a:pt x="206" y="200"/>
                    <a:pt x="206" y="200"/>
                    <a:pt x="206" y="200"/>
                  </a:cubicBezTo>
                  <a:cubicBezTo>
                    <a:pt x="431" y="275"/>
                    <a:pt x="431" y="275"/>
                    <a:pt x="431" y="275"/>
                  </a:cubicBezTo>
                  <a:cubicBezTo>
                    <a:pt x="442" y="267"/>
                    <a:pt x="442" y="267"/>
                    <a:pt x="442" y="267"/>
                  </a:cubicBezTo>
                  <a:cubicBezTo>
                    <a:pt x="433" y="242"/>
                    <a:pt x="433" y="242"/>
                    <a:pt x="433" y="242"/>
                  </a:cubicBezTo>
                  <a:cubicBezTo>
                    <a:pt x="216" y="169"/>
                    <a:pt x="216" y="169"/>
                    <a:pt x="216" y="169"/>
                  </a:cubicBezTo>
                  <a:cubicBezTo>
                    <a:pt x="221" y="155"/>
                    <a:pt x="221" y="155"/>
                    <a:pt x="221" y="155"/>
                  </a:cubicBezTo>
                  <a:cubicBezTo>
                    <a:pt x="427" y="223"/>
                    <a:pt x="427" y="223"/>
                    <a:pt x="427" y="223"/>
                  </a:cubicBezTo>
                  <a:cubicBezTo>
                    <a:pt x="412" y="180"/>
                    <a:pt x="412" y="180"/>
                    <a:pt x="412" y="180"/>
                  </a:cubicBezTo>
                  <a:cubicBezTo>
                    <a:pt x="231" y="120"/>
                    <a:pt x="231" y="120"/>
                    <a:pt x="231" y="120"/>
                  </a:cubicBezTo>
                  <a:cubicBezTo>
                    <a:pt x="236" y="105"/>
                    <a:pt x="236" y="105"/>
                    <a:pt x="236" y="105"/>
                  </a:cubicBezTo>
                  <a:cubicBezTo>
                    <a:pt x="405" y="162"/>
                    <a:pt x="405" y="162"/>
                    <a:pt x="405" y="162"/>
                  </a:cubicBezTo>
                  <a:cubicBezTo>
                    <a:pt x="391" y="120"/>
                    <a:pt x="391" y="120"/>
                    <a:pt x="391" y="120"/>
                  </a:cubicBezTo>
                  <a:cubicBezTo>
                    <a:pt x="247" y="73"/>
                    <a:pt x="247" y="73"/>
                    <a:pt x="247" y="73"/>
                  </a:cubicBezTo>
                  <a:cubicBezTo>
                    <a:pt x="252" y="58"/>
                    <a:pt x="252" y="58"/>
                    <a:pt x="252" y="58"/>
                  </a:cubicBezTo>
                  <a:cubicBezTo>
                    <a:pt x="384" y="102"/>
                    <a:pt x="384" y="102"/>
                    <a:pt x="384" y="102"/>
                  </a:cubicBezTo>
                  <a:cubicBezTo>
                    <a:pt x="371" y="65"/>
                    <a:pt x="371" y="65"/>
                    <a:pt x="371" y="65"/>
                  </a:cubicBezTo>
                  <a:cubicBezTo>
                    <a:pt x="262" y="29"/>
                    <a:pt x="262" y="29"/>
                    <a:pt x="262" y="29"/>
                  </a:cubicBezTo>
                  <a:cubicBezTo>
                    <a:pt x="266" y="15"/>
                    <a:pt x="266" y="15"/>
                    <a:pt x="266" y="15"/>
                  </a:cubicBezTo>
                  <a:cubicBezTo>
                    <a:pt x="218" y="32"/>
                    <a:pt x="218" y="32"/>
                    <a:pt x="218" y="32"/>
                  </a:cubicBezTo>
                  <a:cubicBezTo>
                    <a:pt x="216" y="32"/>
                    <a:pt x="213" y="32"/>
                    <a:pt x="211" y="33"/>
                  </a:cubicBezTo>
                  <a:cubicBezTo>
                    <a:pt x="207" y="34"/>
                    <a:pt x="207" y="34"/>
                    <a:pt x="207" y="34"/>
                  </a:cubicBezTo>
                  <a:cubicBezTo>
                    <a:pt x="200" y="13"/>
                    <a:pt x="200" y="13"/>
                    <a:pt x="200" y="13"/>
                  </a:cubicBezTo>
                  <a:moveTo>
                    <a:pt x="316" y="0"/>
                  </a:moveTo>
                  <a:cubicBezTo>
                    <a:pt x="311" y="0"/>
                    <a:pt x="306" y="1"/>
                    <a:pt x="301" y="3"/>
                  </a:cubicBezTo>
                  <a:cubicBezTo>
                    <a:pt x="268" y="14"/>
                    <a:pt x="268" y="14"/>
                    <a:pt x="268" y="14"/>
                  </a:cubicBezTo>
                  <a:cubicBezTo>
                    <a:pt x="365" y="47"/>
                    <a:pt x="365" y="47"/>
                    <a:pt x="365" y="47"/>
                  </a:cubicBezTo>
                  <a:cubicBezTo>
                    <a:pt x="360" y="31"/>
                    <a:pt x="360" y="31"/>
                    <a:pt x="360" y="31"/>
                  </a:cubicBezTo>
                  <a:cubicBezTo>
                    <a:pt x="353" y="12"/>
                    <a:pt x="335" y="0"/>
                    <a:pt x="316" y="0"/>
                  </a:cubicBezTo>
                </a:path>
              </a:pathLst>
            </a:custGeom>
            <a:solidFill>
              <a:srgbClr val="E3E6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66" name="iṣlíḍe">
              <a:extLst>
                <a:ext uri="{FF2B5EF4-FFF2-40B4-BE49-F238E27FC236}">
                  <a16:creationId xmlns:a16="http://schemas.microsoft.com/office/drawing/2014/main" id="{95CCEC38-4AA9-495B-B62F-8DE4C9E52407}"/>
                </a:ext>
              </a:extLst>
            </p:cNvPr>
            <p:cNvSpPr/>
            <p:nvPr userDrawn="1"/>
          </p:nvSpPr>
          <p:spPr bwMode="auto">
            <a:xfrm>
              <a:off x="7137400" y="3729038"/>
              <a:ext cx="184150" cy="85725"/>
            </a:xfrm>
            <a:custGeom>
              <a:avLst/>
              <a:gdLst>
                <a:gd name="T0" fmla="*/ 7 w 116"/>
                <a:gd name="T1" fmla="*/ 0 h 54"/>
                <a:gd name="T2" fmla="*/ 5 w 116"/>
                <a:gd name="T3" fmla="*/ 1 h 54"/>
                <a:gd name="T4" fmla="*/ 0 w 116"/>
                <a:gd name="T5" fmla="*/ 16 h 54"/>
                <a:gd name="T6" fmla="*/ 116 w 116"/>
                <a:gd name="T7" fmla="*/ 54 h 54"/>
                <a:gd name="T8" fmla="*/ 110 w 116"/>
                <a:gd name="T9" fmla="*/ 35 h 54"/>
                <a:gd name="T10" fmla="*/ 7 w 116"/>
                <a:gd name="T11" fmla="*/ 0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6" h="54">
                  <a:moveTo>
                    <a:pt x="7" y="0"/>
                  </a:moveTo>
                  <a:lnTo>
                    <a:pt x="5" y="1"/>
                  </a:lnTo>
                  <a:lnTo>
                    <a:pt x="0" y="16"/>
                  </a:lnTo>
                  <a:lnTo>
                    <a:pt x="116" y="54"/>
                  </a:lnTo>
                  <a:lnTo>
                    <a:pt x="110" y="35"/>
                  </a:lnTo>
                  <a:lnTo>
                    <a:pt x="7" y="0"/>
                  </a:lnTo>
                  <a:close/>
                </a:path>
              </a:pathLst>
            </a:custGeom>
            <a:solidFill>
              <a:srgbClr val="D3D3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67" name="işľîḓè">
              <a:extLst>
                <a:ext uri="{FF2B5EF4-FFF2-40B4-BE49-F238E27FC236}">
                  <a16:creationId xmlns:a16="http://schemas.microsoft.com/office/drawing/2014/main" id="{8CEEF060-8741-4AF8-B1C6-0925CC44F3D9}"/>
                </a:ext>
              </a:extLst>
            </p:cNvPr>
            <p:cNvSpPr/>
            <p:nvPr userDrawn="1"/>
          </p:nvSpPr>
          <p:spPr bwMode="auto">
            <a:xfrm>
              <a:off x="7137400" y="3729038"/>
              <a:ext cx="184150" cy="85725"/>
            </a:xfrm>
            <a:custGeom>
              <a:avLst/>
              <a:gdLst>
                <a:gd name="T0" fmla="*/ 7 w 116"/>
                <a:gd name="T1" fmla="*/ 0 h 54"/>
                <a:gd name="T2" fmla="*/ 5 w 116"/>
                <a:gd name="T3" fmla="*/ 1 h 54"/>
                <a:gd name="T4" fmla="*/ 0 w 116"/>
                <a:gd name="T5" fmla="*/ 16 h 54"/>
                <a:gd name="T6" fmla="*/ 116 w 116"/>
                <a:gd name="T7" fmla="*/ 54 h 54"/>
                <a:gd name="T8" fmla="*/ 110 w 116"/>
                <a:gd name="T9" fmla="*/ 35 h 54"/>
                <a:gd name="T10" fmla="*/ 7 w 116"/>
                <a:gd name="T11" fmla="*/ 0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6" h="54">
                  <a:moveTo>
                    <a:pt x="7" y="0"/>
                  </a:moveTo>
                  <a:lnTo>
                    <a:pt x="5" y="1"/>
                  </a:lnTo>
                  <a:lnTo>
                    <a:pt x="0" y="16"/>
                  </a:lnTo>
                  <a:lnTo>
                    <a:pt x="116" y="54"/>
                  </a:lnTo>
                  <a:lnTo>
                    <a:pt x="110" y="35"/>
                  </a:lnTo>
                  <a:lnTo>
                    <a:pt x="7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68" name="îs1ïďê">
              <a:extLst>
                <a:ext uri="{FF2B5EF4-FFF2-40B4-BE49-F238E27FC236}">
                  <a16:creationId xmlns:a16="http://schemas.microsoft.com/office/drawing/2014/main" id="{818A44A5-257C-44B3-AD18-9383CDC3E591}"/>
                </a:ext>
              </a:extLst>
            </p:cNvPr>
            <p:cNvSpPr/>
            <p:nvPr userDrawn="1"/>
          </p:nvSpPr>
          <p:spPr bwMode="auto">
            <a:xfrm>
              <a:off x="6908800" y="4446588"/>
              <a:ext cx="730250" cy="266700"/>
            </a:xfrm>
            <a:custGeom>
              <a:avLst/>
              <a:gdLst>
                <a:gd name="T0" fmla="*/ 6 w 460"/>
                <a:gd name="T1" fmla="*/ 0 h 168"/>
                <a:gd name="T2" fmla="*/ 0 w 460"/>
                <a:gd name="T3" fmla="*/ 15 h 168"/>
                <a:gd name="T4" fmla="*/ 41 w 460"/>
                <a:gd name="T5" fmla="*/ 29 h 168"/>
                <a:gd name="T6" fmla="*/ 460 w 460"/>
                <a:gd name="T7" fmla="*/ 168 h 168"/>
                <a:gd name="T8" fmla="*/ 452 w 460"/>
                <a:gd name="T9" fmla="*/ 149 h 168"/>
                <a:gd name="T10" fmla="*/ 57 w 460"/>
                <a:gd name="T11" fmla="*/ 17 h 168"/>
                <a:gd name="T12" fmla="*/ 6 w 460"/>
                <a:gd name="T13" fmla="*/ 0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60" h="168">
                  <a:moveTo>
                    <a:pt x="6" y="0"/>
                  </a:moveTo>
                  <a:lnTo>
                    <a:pt x="0" y="15"/>
                  </a:lnTo>
                  <a:lnTo>
                    <a:pt x="41" y="29"/>
                  </a:lnTo>
                  <a:lnTo>
                    <a:pt x="460" y="168"/>
                  </a:lnTo>
                  <a:lnTo>
                    <a:pt x="452" y="149"/>
                  </a:lnTo>
                  <a:lnTo>
                    <a:pt x="57" y="17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D3D3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69" name="î$ļîde">
              <a:extLst>
                <a:ext uri="{FF2B5EF4-FFF2-40B4-BE49-F238E27FC236}">
                  <a16:creationId xmlns:a16="http://schemas.microsoft.com/office/drawing/2014/main" id="{E3CCA0D2-BF6E-4884-B9E7-DAE480BC579E}"/>
                </a:ext>
              </a:extLst>
            </p:cNvPr>
            <p:cNvSpPr/>
            <p:nvPr userDrawn="1"/>
          </p:nvSpPr>
          <p:spPr bwMode="auto">
            <a:xfrm>
              <a:off x="6908800" y="4446588"/>
              <a:ext cx="730250" cy="266700"/>
            </a:xfrm>
            <a:custGeom>
              <a:avLst/>
              <a:gdLst>
                <a:gd name="T0" fmla="*/ 6 w 460"/>
                <a:gd name="T1" fmla="*/ 0 h 168"/>
                <a:gd name="T2" fmla="*/ 0 w 460"/>
                <a:gd name="T3" fmla="*/ 15 h 168"/>
                <a:gd name="T4" fmla="*/ 41 w 460"/>
                <a:gd name="T5" fmla="*/ 29 h 168"/>
                <a:gd name="T6" fmla="*/ 460 w 460"/>
                <a:gd name="T7" fmla="*/ 168 h 168"/>
                <a:gd name="T8" fmla="*/ 452 w 460"/>
                <a:gd name="T9" fmla="*/ 149 h 168"/>
                <a:gd name="T10" fmla="*/ 57 w 460"/>
                <a:gd name="T11" fmla="*/ 17 h 168"/>
                <a:gd name="T12" fmla="*/ 6 w 460"/>
                <a:gd name="T13" fmla="*/ 0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60" h="168">
                  <a:moveTo>
                    <a:pt x="6" y="0"/>
                  </a:moveTo>
                  <a:lnTo>
                    <a:pt x="0" y="15"/>
                  </a:lnTo>
                  <a:lnTo>
                    <a:pt x="41" y="29"/>
                  </a:lnTo>
                  <a:lnTo>
                    <a:pt x="460" y="168"/>
                  </a:lnTo>
                  <a:lnTo>
                    <a:pt x="452" y="149"/>
                  </a:lnTo>
                  <a:lnTo>
                    <a:pt x="57" y="17"/>
                  </a:lnTo>
                  <a:lnTo>
                    <a:pt x="6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70" name="îṩľïḓè">
              <a:extLst>
                <a:ext uri="{FF2B5EF4-FFF2-40B4-BE49-F238E27FC236}">
                  <a16:creationId xmlns:a16="http://schemas.microsoft.com/office/drawing/2014/main" id="{B6DD923F-AEC1-48B0-9B0A-E3DD6DF8A772}"/>
                </a:ext>
              </a:extLst>
            </p:cNvPr>
            <p:cNvSpPr/>
            <p:nvPr userDrawn="1"/>
          </p:nvSpPr>
          <p:spPr bwMode="auto">
            <a:xfrm>
              <a:off x="6926263" y="4364038"/>
              <a:ext cx="676275" cy="249238"/>
            </a:xfrm>
            <a:custGeom>
              <a:avLst/>
              <a:gdLst>
                <a:gd name="T0" fmla="*/ 5 w 426"/>
                <a:gd name="T1" fmla="*/ 0 h 157"/>
                <a:gd name="T2" fmla="*/ 0 w 426"/>
                <a:gd name="T3" fmla="*/ 16 h 157"/>
                <a:gd name="T4" fmla="*/ 82 w 426"/>
                <a:gd name="T5" fmla="*/ 43 h 157"/>
                <a:gd name="T6" fmla="*/ 426 w 426"/>
                <a:gd name="T7" fmla="*/ 157 h 157"/>
                <a:gd name="T8" fmla="*/ 420 w 426"/>
                <a:gd name="T9" fmla="*/ 138 h 157"/>
                <a:gd name="T10" fmla="*/ 99 w 426"/>
                <a:gd name="T11" fmla="*/ 32 h 157"/>
                <a:gd name="T12" fmla="*/ 5 w 426"/>
                <a:gd name="T13" fmla="*/ 0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26" h="157">
                  <a:moveTo>
                    <a:pt x="5" y="0"/>
                  </a:moveTo>
                  <a:lnTo>
                    <a:pt x="0" y="16"/>
                  </a:lnTo>
                  <a:lnTo>
                    <a:pt x="82" y="43"/>
                  </a:lnTo>
                  <a:lnTo>
                    <a:pt x="426" y="157"/>
                  </a:lnTo>
                  <a:lnTo>
                    <a:pt x="420" y="138"/>
                  </a:lnTo>
                  <a:lnTo>
                    <a:pt x="99" y="32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D3D3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71" name="iṡ1íďe">
              <a:extLst>
                <a:ext uri="{FF2B5EF4-FFF2-40B4-BE49-F238E27FC236}">
                  <a16:creationId xmlns:a16="http://schemas.microsoft.com/office/drawing/2014/main" id="{33B9E00F-095E-4760-B5C0-22B336048CC7}"/>
                </a:ext>
              </a:extLst>
            </p:cNvPr>
            <p:cNvSpPr/>
            <p:nvPr userDrawn="1"/>
          </p:nvSpPr>
          <p:spPr bwMode="auto">
            <a:xfrm>
              <a:off x="6926263" y="4364038"/>
              <a:ext cx="676275" cy="249238"/>
            </a:xfrm>
            <a:custGeom>
              <a:avLst/>
              <a:gdLst>
                <a:gd name="T0" fmla="*/ 5 w 426"/>
                <a:gd name="T1" fmla="*/ 0 h 157"/>
                <a:gd name="T2" fmla="*/ 0 w 426"/>
                <a:gd name="T3" fmla="*/ 16 h 157"/>
                <a:gd name="T4" fmla="*/ 82 w 426"/>
                <a:gd name="T5" fmla="*/ 43 h 157"/>
                <a:gd name="T6" fmla="*/ 426 w 426"/>
                <a:gd name="T7" fmla="*/ 157 h 157"/>
                <a:gd name="T8" fmla="*/ 420 w 426"/>
                <a:gd name="T9" fmla="*/ 138 h 157"/>
                <a:gd name="T10" fmla="*/ 99 w 426"/>
                <a:gd name="T11" fmla="*/ 32 h 157"/>
                <a:gd name="T12" fmla="*/ 5 w 426"/>
                <a:gd name="T13" fmla="*/ 0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26" h="157">
                  <a:moveTo>
                    <a:pt x="5" y="0"/>
                  </a:moveTo>
                  <a:lnTo>
                    <a:pt x="0" y="16"/>
                  </a:lnTo>
                  <a:lnTo>
                    <a:pt x="82" y="43"/>
                  </a:lnTo>
                  <a:lnTo>
                    <a:pt x="426" y="157"/>
                  </a:lnTo>
                  <a:lnTo>
                    <a:pt x="420" y="138"/>
                  </a:lnTo>
                  <a:lnTo>
                    <a:pt x="99" y="32"/>
                  </a:lnTo>
                  <a:lnTo>
                    <a:pt x="5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72" name="ísḷïďe">
              <a:extLst>
                <a:ext uri="{FF2B5EF4-FFF2-40B4-BE49-F238E27FC236}">
                  <a16:creationId xmlns:a16="http://schemas.microsoft.com/office/drawing/2014/main" id="{265B0F1D-8F1E-4B0C-B964-0D8ACE8BE138}"/>
                </a:ext>
              </a:extLst>
            </p:cNvPr>
            <p:cNvSpPr/>
            <p:nvPr userDrawn="1"/>
          </p:nvSpPr>
          <p:spPr bwMode="auto">
            <a:xfrm>
              <a:off x="7085013" y="3883025"/>
              <a:ext cx="306388" cy="125413"/>
            </a:xfrm>
            <a:custGeom>
              <a:avLst/>
              <a:gdLst>
                <a:gd name="T0" fmla="*/ 6 w 193"/>
                <a:gd name="T1" fmla="*/ 0 h 79"/>
                <a:gd name="T2" fmla="*/ 0 w 193"/>
                <a:gd name="T3" fmla="*/ 16 h 79"/>
                <a:gd name="T4" fmla="*/ 193 w 193"/>
                <a:gd name="T5" fmla="*/ 79 h 79"/>
                <a:gd name="T6" fmla="*/ 186 w 193"/>
                <a:gd name="T7" fmla="*/ 60 h 79"/>
                <a:gd name="T8" fmla="*/ 6 w 193"/>
                <a:gd name="T9" fmla="*/ 0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3" h="79">
                  <a:moveTo>
                    <a:pt x="6" y="0"/>
                  </a:moveTo>
                  <a:lnTo>
                    <a:pt x="0" y="16"/>
                  </a:lnTo>
                  <a:lnTo>
                    <a:pt x="193" y="79"/>
                  </a:lnTo>
                  <a:lnTo>
                    <a:pt x="186" y="60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D3D3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73" name="ïṡ1ïḑê">
              <a:extLst>
                <a:ext uri="{FF2B5EF4-FFF2-40B4-BE49-F238E27FC236}">
                  <a16:creationId xmlns:a16="http://schemas.microsoft.com/office/drawing/2014/main" id="{0554B8D7-D406-4A43-85F2-E8929CB11807}"/>
                </a:ext>
              </a:extLst>
            </p:cNvPr>
            <p:cNvSpPr/>
            <p:nvPr userDrawn="1"/>
          </p:nvSpPr>
          <p:spPr bwMode="auto">
            <a:xfrm>
              <a:off x="7085013" y="3883025"/>
              <a:ext cx="306388" cy="125413"/>
            </a:xfrm>
            <a:custGeom>
              <a:avLst/>
              <a:gdLst>
                <a:gd name="T0" fmla="*/ 6 w 193"/>
                <a:gd name="T1" fmla="*/ 0 h 79"/>
                <a:gd name="T2" fmla="*/ 0 w 193"/>
                <a:gd name="T3" fmla="*/ 16 h 79"/>
                <a:gd name="T4" fmla="*/ 193 w 193"/>
                <a:gd name="T5" fmla="*/ 79 h 79"/>
                <a:gd name="T6" fmla="*/ 186 w 193"/>
                <a:gd name="T7" fmla="*/ 60 h 79"/>
                <a:gd name="T8" fmla="*/ 6 w 193"/>
                <a:gd name="T9" fmla="*/ 0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3" h="79">
                  <a:moveTo>
                    <a:pt x="6" y="0"/>
                  </a:moveTo>
                  <a:lnTo>
                    <a:pt x="0" y="16"/>
                  </a:lnTo>
                  <a:lnTo>
                    <a:pt x="193" y="79"/>
                  </a:lnTo>
                  <a:lnTo>
                    <a:pt x="186" y="60"/>
                  </a:lnTo>
                  <a:lnTo>
                    <a:pt x="6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74" name="ïśḻîďè">
              <a:extLst>
                <a:ext uri="{FF2B5EF4-FFF2-40B4-BE49-F238E27FC236}">
                  <a16:creationId xmlns:a16="http://schemas.microsoft.com/office/drawing/2014/main" id="{B47B8204-87A3-4AF0-95F1-8CA7EBC003D1}"/>
                </a:ext>
              </a:extLst>
            </p:cNvPr>
            <p:cNvSpPr/>
            <p:nvPr userDrawn="1"/>
          </p:nvSpPr>
          <p:spPr bwMode="auto">
            <a:xfrm>
              <a:off x="6883400" y="4522788"/>
              <a:ext cx="782638" cy="280988"/>
            </a:xfrm>
            <a:custGeom>
              <a:avLst/>
              <a:gdLst>
                <a:gd name="T0" fmla="*/ 6 w 493"/>
                <a:gd name="T1" fmla="*/ 0 h 177"/>
                <a:gd name="T2" fmla="*/ 0 w 493"/>
                <a:gd name="T3" fmla="*/ 15 h 177"/>
                <a:gd name="T4" fmla="*/ 7 w 493"/>
                <a:gd name="T5" fmla="*/ 17 h 177"/>
                <a:gd name="T6" fmla="*/ 491 w 493"/>
                <a:gd name="T7" fmla="*/ 177 h 177"/>
                <a:gd name="T8" fmla="*/ 493 w 493"/>
                <a:gd name="T9" fmla="*/ 169 h 177"/>
                <a:gd name="T10" fmla="*/ 489 w 493"/>
                <a:gd name="T11" fmla="*/ 160 h 177"/>
                <a:gd name="T12" fmla="*/ 23 w 493"/>
                <a:gd name="T13" fmla="*/ 5 h 177"/>
                <a:gd name="T14" fmla="*/ 6 w 493"/>
                <a:gd name="T15" fmla="*/ 0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93" h="177">
                  <a:moveTo>
                    <a:pt x="6" y="0"/>
                  </a:moveTo>
                  <a:lnTo>
                    <a:pt x="0" y="15"/>
                  </a:lnTo>
                  <a:lnTo>
                    <a:pt x="7" y="17"/>
                  </a:lnTo>
                  <a:lnTo>
                    <a:pt x="491" y="177"/>
                  </a:lnTo>
                  <a:lnTo>
                    <a:pt x="493" y="169"/>
                  </a:lnTo>
                  <a:lnTo>
                    <a:pt x="489" y="160"/>
                  </a:lnTo>
                  <a:lnTo>
                    <a:pt x="23" y="5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D3D3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75" name="îṡļiḓê">
              <a:extLst>
                <a:ext uri="{FF2B5EF4-FFF2-40B4-BE49-F238E27FC236}">
                  <a16:creationId xmlns:a16="http://schemas.microsoft.com/office/drawing/2014/main" id="{620B3B68-7366-4929-8AEE-4E026AE98EFA}"/>
                </a:ext>
              </a:extLst>
            </p:cNvPr>
            <p:cNvSpPr/>
            <p:nvPr userDrawn="1"/>
          </p:nvSpPr>
          <p:spPr bwMode="auto">
            <a:xfrm>
              <a:off x="6883400" y="4522788"/>
              <a:ext cx="782638" cy="280988"/>
            </a:xfrm>
            <a:custGeom>
              <a:avLst/>
              <a:gdLst>
                <a:gd name="T0" fmla="*/ 6 w 493"/>
                <a:gd name="T1" fmla="*/ 0 h 177"/>
                <a:gd name="T2" fmla="*/ 0 w 493"/>
                <a:gd name="T3" fmla="*/ 15 h 177"/>
                <a:gd name="T4" fmla="*/ 7 w 493"/>
                <a:gd name="T5" fmla="*/ 17 h 177"/>
                <a:gd name="T6" fmla="*/ 491 w 493"/>
                <a:gd name="T7" fmla="*/ 177 h 177"/>
                <a:gd name="T8" fmla="*/ 493 w 493"/>
                <a:gd name="T9" fmla="*/ 169 h 177"/>
                <a:gd name="T10" fmla="*/ 489 w 493"/>
                <a:gd name="T11" fmla="*/ 160 h 177"/>
                <a:gd name="T12" fmla="*/ 23 w 493"/>
                <a:gd name="T13" fmla="*/ 5 h 177"/>
                <a:gd name="T14" fmla="*/ 6 w 493"/>
                <a:gd name="T15" fmla="*/ 0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93" h="177">
                  <a:moveTo>
                    <a:pt x="6" y="0"/>
                  </a:moveTo>
                  <a:lnTo>
                    <a:pt x="0" y="15"/>
                  </a:lnTo>
                  <a:lnTo>
                    <a:pt x="7" y="17"/>
                  </a:lnTo>
                  <a:lnTo>
                    <a:pt x="491" y="177"/>
                  </a:lnTo>
                  <a:lnTo>
                    <a:pt x="493" y="169"/>
                  </a:lnTo>
                  <a:lnTo>
                    <a:pt x="489" y="160"/>
                  </a:lnTo>
                  <a:lnTo>
                    <a:pt x="23" y="5"/>
                  </a:lnTo>
                  <a:lnTo>
                    <a:pt x="6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76" name="îślïḑè">
              <a:extLst>
                <a:ext uri="{FF2B5EF4-FFF2-40B4-BE49-F238E27FC236}">
                  <a16:creationId xmlns:a16="http://schemas.microsoft.com/office/drawing/2014/main" id="{E986DCD3-EAB2-4199-B02A-E9251A96158F}"/>
                </a:ext>
              </a:extLst>
            </p:cNvPr>
            <p:cNvSpPr/>
            <p:nvPr userDrawn="1"/>
          </p:nvSpPr>
          <p:spPr bwMode="auto">
            <a:xfrm>
              <a:off x="7059613" y="3967163"/>
              <a:ext cx="366713" cy="146050"/>
            </a:xfrm>
            <a:custGeom>
              <a:avLst/>
              <a:gdLst>
                <a:gd name="T0" fmla="*/ 6 w 231"/>
                <a:gd name="T1" fmla="*/ 0 h 92"/>
                <a:gd name="T2" fmla="*/ 0 w 231"/>
                <a:gd name="T3" fmla="*/ 15 h 92"/>
                <a:gd name="T4" fmla="*/ 231 w 231"/>
                <a:gd name="T5" fmla="*/ 92 h 92"/>
                <a:gd name="T6" fmla="*/ 225 w 231"/>
                <a:gd name="T7" fmla="*/ 72 h 92"/>
                <a:gd name="T8" fmla="*/ 6 w 231"/>
                <a:gd name="T9" fmla="*/ 0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1" h="92">
                  <a:moveTo>
                    <a:pt x="6" y="0"/>
                  </a:moveTo>
                  <a:lnTo>
                    <a:pt x="0" y="15"/>
                  </a:lnTo>
                  <a:lnTo>
                    <a:pt x="231" y="92"/>
                  </a:lnTo>
                  <a:lnTo>
                    <a:pt x="225" y="72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D3D3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77" name="íṩlïḑê">
              <a:extLst>
                <a:ext uri="{FF2B5EF4-FFF2-40B4-BE49-F238E27FC236}">
                  <a16:creationId xmlns:a16="http://schemas.microsoft.com/office/drawing/2014/main" id="{33DBB6BC-014A-4427-A39C-363D7D0EBA9A}"/>
                </a:ext>
              </a:extLst>
            </p:cNvPr>
            <p:cNvSpPr/>
            <p:nvPr userDrawn="1"/>
          </p:nvSpPr>
          <p:spPr bwMode="auto">
            <a:xfrm>
              <a:off x="7059613" y="3967163"/>
              <a:ext cx="366713" cy="146050"/>
            </a:xfrm>
            <a:custGeom>
              <a:avLst/>
              <a:gdLst>
                <a:gd name="T0" fmla="*/ 6 w 231"/>
                <a:gd name="T1" fmla="*/ 0 h 92"/>
                <a:gd name="T2" fmla="*/ 0 w 231"/>
                <a:gd name="T3" fmla="*/ 15 h 92"/>
                <a:gd name="T4" fmla="*/ 231 w 231"/>
                <a:gd name="T5" fmla="*/ 92 h 92"/>
                <a:gd name="T6" fmla="*/ 225 w 231"/>
                <a:gd name="T7" fmla="*/ 72 h 92"/>
                <a:gd name="T8" fmla="*/ 6 w 231"/>
                <a:gd name="T9" fmla="*/ 0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1" h="92">
                  <a:moveTo>
                    <a:pt x="6" y="0"/>
                  </a:moveTo>
                  <a:lnTo>
                    <a:pt x="0" y="15"/>
                  </a:lnTo>
                  <a:lnTo>
                    <a:pt x="231" y="92"/>
                  </a:lnTo>
                  <a:lnTo>
                    <a:pt x="225" y="72"/>
                  </a:lnTo>
                  <a:lnTo>
                    <a:pt x="6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78" name="išlíďé">
              <a:extLst>
                <a:ext uri="{FF2B5EF4-FFF2-40B4-BE49-F238E27FC236}">
                  <a16:creationId xmlns:a16="http://schemas.microsoft.com/office/drawing/2014/main" id="{6EBB8149-1321-49B6-AA0A-6C35E861A087}"/>
                </a:ext>
              </a:extLst>
            </p:cNvPr>
            <p:cNvSpPr/>
            <p:nvPr userDrawn="1"/>
          </p:nvSpPr>
          <p:spPr bwMode="auto">
            <a:xfrm>
              <a:off x="7034213" y="4043363"/>
              <a:ext cx="427038" cy="165100"/>
            </a:xfrm>
            <a:custGeom>
              <a:avLst/>
              <a:gdLst>
                <a:gd name="T0" fmla="*/ 6 w 269"/>
                <a:gd name="T1" fmla="*/ 0 h 104"/>
                <a:gd name="T2" fmla="*/ 0 w 269"/>
                <a:gd name="T3" fmla="*/ 15 h 104"/>
                <a:gd name="T4" fmla="*/ 229 w 269"/>
                <a:gd name="T5" fmla="*/ 91 h 104"/>
                <a:gd name="T6" fmla="*/ 269 w 269"/>
                <a:gd name="T7" fmla="*/ 104 h 104"/>
                <a:gd name="T8" fmla="*/ 262 w 269"/>
                <a:gd name="T9" fmla="*/ 85 h 104"/>
                <a:gd name="T10" fmla="*/ 245 w 269"/>
                <a:gd name="T11" fmla="*/ 79 h 104"/>
                <a:gd name="T12" fmla="*/ 6 w 269"/>
                <a:gd name="T13" fmla="*/ 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9" h="104">
                  <a:moveTo>
                    <a:pt x="6" y="0"/>
                  </a:moveTo>
                  <a:lnTo>
                    <a:pt x="0" y="15"/>
                  </a:lnTo>
                  <a:lnTo>
                    <a:pt x="229" y="91"/>
                  </a:lnTo>
                  <a:lnTo>
                    <a:pt x="269" y="104"/>
                  </a:lnTo>
                  <a:lnTo>
                    <a:pt x="262" y="85"/>
                  </a:lnTo>
                  <a:lnTo>
                    <a:pt x="245" y="79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D3D3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79" name="iṧḻîďè">
              <a:extLst>
                <a:ext uri="{FF2B5EF4-FFF2-40B4-BE49-F238E27FC236}">
                  <a16:creationId xmlns:a16="http://schemas.microsoft.com/office/drawing/2014/main" id="{48655E63-5FD0-4EF5-B224-9779E9B6E011}"/>
                </a:ext>
              </a:extLst>
            </p:cNvPr>
            <p:cNvSpPr/>
            <p:nvPr userDrawn="1"/>
          </p:nvSpPr>
          <p:spPr bwMode="auto">
            <a:xfrm>
              <a:off x="7034213" y="4043363"/>
              <a:ext cx="427038" cy="165100"/>
            </a:xfrm>
            <a:custGeom>
              <a:avLst/>
              <a:gdLst>
                <a:gd name="T0" fmla="*/ 6 w 269"/>
                <a:gd name="T1" fmla="*/ 0 h 104"/>
                <a:gd name="T2" fmla="*/ 0 w 269"/>
                <a:gd name="T3" fmla="*/ 15 h 104"/>
                <a:gd name="T4" fmla="*/ 229 w 269"/>
                <a:gd name="T5" fmla="*/ 91 h 104"/>
                <a:gd name="T6" fmla="*/ 269 w 269"/>
                <a:gd name="T7" fmla="*/ 104 h 104"/>
                <a:gd name="T8" fmla="*/ 262 w 269"/>
                <a:gd name="T9" fmla="*/ 85 h 104"/>
                <a:gd name="T10" fmla="*/ 245 w 269"/>
                <a:gd name="T11" fmla="*/ 79 h 104"/>
                <a:gd name="T12" fmla="*/ 6 w 269"/>
                <a:gd name="T13" fmla="*/ 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9" h="104">
                  <a:moveTo>
                    <a:pt x="6" y="0"/>
                  </a:moveTo>
                  <a:lnTo>
                    <a:pt x="0" y="15"/>
                  </a:lnTo>
                  <a:lnTo>
                    <a:pt x="229" y="91"/>
                  </a:lnTo>
                  <a:lnTo>
                    <a:pt x="269" y="104"/>
                  </a:lnTo>
                  <a:lnTo>
                    <a:pt x="262" y="85"/>
                  </a:lnTo>
                  <a:lnTo>
                    <a:pt x="245" y="79"/>
                  </a:lnTo>
                  <a:lnTo>
                    <a:pt x="6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80" name="îśľïḓé">
              <a:extLst>
                <a:ext uri="{FF2B5EF4-FFF2-40B4-BE49-F238E27FC236}">
                  <a16:creationId xmlns:a16="http://schemas.microsoft.com/office/drawing/2014/main" id="{B6615C05-9BF4-498B-9675-2C6D48031876}"/>
                </a:ext>
              </a:extLst>
            </p:cNvPr>
            <p:cNvSpPr/>
            <p:nvPr userDrawn="1"/>
          </p:nvSpPr>
          <p:spPr bwMode="auto">
            <a:xfrm>
              <a:off x="7004050" y="4122738"/>
              <a:ext cx="492125" cy="188913"/>
            </a:xfrm>
            <a:custGeom>
              <a:avLst/>
              <a:gdLst>
                <a:gd name="T0" fmla="*/ 5 w 310"/>
                <a:gd name="T1" fmla="*/ 0 h 119"/>
                <a:gd name="T2" fmla="*/ 0 w 310"/>
                <a:gd name="T3" fmla="*/ 16 h 119"/>
                <a:gd name="T4" fmla="*/ 194 w 310"/>
                <a:gd name="T5" fmla="*/ 79 h 119"/>
                <a:gd name="T6" fmla="*/ 310 w 310"/>
                <a:gd name="T7" fmla="*/ 119 h 119"/>
                <a:gd name="T8" fmla="*/ 304 w 310"/>
                <a:gd name="T9" fmla="*/ 99 h 119"/>
                <a:gd name="T10" fmla="*/ 210 w 310"/>
                <a:gd name="T11" fmla="*/ 68 h 119"/>
                <a:gd name="T12" fmla="*/ 5 w 310"/>
                <a:gd name="T13" fmla="*/ 0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0" h="119">
                  <a:moveTo>
                    <a:pt x="5" y="0"/>
                  </a:moveTo>
                  <a:lnTo>
                    <a:pt x="0" y="16"/>
                  </a:lnTo>
                  <a:lnTo>
                    <a:pt x="194" y="79"/>
                  </a:lnTo>
                  <a:lnTo>
                    <a:pt x="310" y="119"/>
                  </a:lnTo>
                  <a:lnTo>
                    <a:pt x="304" y="99"/>
                  </a:lnTo>
                  <a:lnTo>
                    <a:pt x="210" y="68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D3D3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81" name="îsľïdé">
              <a:extLst>
                <a:ext uri="{FF2B5EF4-FFF2-40B4-BE49-F238E27FC236}">
                  <a16:creationId xmlns:a16="http://schemas.microsoft.com/office/drawing/2014/main" id="{25665FEF-105A-44EB-9DF4-7DED64A4D68C}"/>
                </a:ext>
              </a:extLst>
            </p:cNvPr>
            <p:cNvSpPr/>
            <p:nvPr userDrawn="1"/>
          </p:nvSpPr>
          <p:spPr bwMode="auto">
            <a:xfrm>
              <a:off x="7004050" y="4122738"/>
              <a:ext cx="492125" cy="188913"/>
            </a:xfrm>
            <a:custGeom>
              <a:avLst/>
              <a:gdLst>
                <a:gd name="T0" fmla="*/ 5 w 310"/>
                <a:gd name="T1" fmla="*/ 0 h 119"/>
                <a:gd name="T2" fmla="*/ 0 w 310"/>
                <a:gd name="T3" fmla="*/ 16 h 119"/>
                <a:gd name="T4" fmla="*/ 194 w 310"/>
                <a:gd name="T5" fmla="*/ 79 h 119"/>
                <a:gd name="T6" fmla="*/ 310 w 310"/>
                <a:gd name="T7" fmla="*/ 119 h 119"/>
                <a:gd name="T8" fmla="*/ 304 w 310"/>
                <a:gd name="T9" fmla="*/ 99 h 119"/>
                <a:gd name="T10" fmla="*/ 210 w 310"/>
                <a:gd name="T11" fmla="*/ 68 h 119"/>
                <a:gd name="T12" fmla="*/ 5 w 310"/>
                <a:gd name="T13" fmla="*/ 0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0" h="119">
                  <a:moveTo>
                    <a:pt x="5" y="0"/>
                  </a:moveTo>
                  <a:lnTo>
                    <a:pt x="0" y="16"/>
                  </a:lnTo>
                  <a:lnTo>
                    <a:pt x="194" y="79"/>
                  </a:lnTo>
                  <a:lnTo>
                    <a:pt x="310" y="119"/>
                  </a:lnTo>
                  <a:lnTo>
                    <a:pt x="304" y="99"/>
                  </a:lnTo>
                  <a:lnTo>
                    <a:pt x="210" y="68"/>
                  </a:lnTo>
                  <a:lnTo>
                    <a:pt x="5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82" name="ïṧḷîḑe">
              <a:extLst>
                <a:ext uri="{FF2B5EF4-FFF2-40B4-BE49-F238E27FC236}">
                  <a16:creationId xmlns:a16="http://schemas.microsoft.com/office/drawing/2014/main" id="{57743511-6267-4AA3-B989-6B2A07985242}"/>
                </a:ext>
              </a:extLst>
            </p:cNvPr>
            <p:cNvSpPr/>
            <p:nvPr userDrawn="1"/>
          </p:nvSpPr>
          <p:spPr bwMode="auto">
            <a:xfrm>
              <a:off x="6978650" y="4206875"/>
              <a:ext cx="555625" cy="207963"/>
            </a:xfrm>
            <a:custGeom>
              <a:avLst/>
              <a:gdLst>
                <a:gd name="T0" fmla="*/ 5 w 350"/>
                <a:gd name="T1" fmla="*/ 0 h 131"/>
                <a:gd name="T2" fmla="*/ 0 w 350"/>
                <a:gd name="T3" fmla="*/ 15 h 131"/>
                <a:gd name="T4" fmla="*/ 155 w 350"/>
                <a:gd name="T5" fmla="*/ 67 h 131"/>
                <a:gd name="T6" fmla="*/ 350 w 350"/>
                <a:gd name="T7" fmla="*/ 131 h 131"/>
                <a:gd name="T8" fmla="*/ 343 w 350"/>
                <a:gd name="T9" fmla="*/ 111 h 131"/>
                <a:gd name="T10" fmla="*/ 171 w 350"/>
                <a:gd name="T11" fmla="*/ 55 h 131"/>
                <a:gd name="T12" fmla="*/ 5 w 350"/>
                <a:gd name="T13" fmla="*/ 0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0" h="131">
                  <a:moveTo>
                    <a:pt x="5" y="0"/>
                  </a:moveTo>
                  <a:lnTo>
                    <a:pt x="0" y="15"/>
                  </a:lnTo>
                  <a:lnTo>
                    <a:pt x="155" y="67"/>
                  </a:lnTo>
                  <a:lnTo>
                    <a:pt x="350" y="131"/>
                  </a:lnTo>
                  <a:lnTo>
                    <a:pt x="343" y="111"/>
                  </a:lnTo>
                  <a:lnTo>
                    <a:pt x="171" y="55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D3D3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83" name="îSḷiḑe">
              <a:extLst>
                <a:ext uri="{FF2B5EF4-FFF2-40B4-BE49-F238E27FC236}">
                  <a16:creationId xmlns:a16="http://schemas.microsoft.com/office/drawing/2014/main" id="{150370F4-7E9A-4AED-BC18-2324FF4307D0}"/>
                </a:ext>
              </a:extLst>
            </p:cNvPr>
            <p:cNvSpPr/>
            <p:nvPr userDrawn="1"/>
          </p:nvSpPr>
          <p:spPr bwMode="auto">
            <a:xfrm>
              <a:off x="6978650" y="4206875"/>
              <a:ext cx="555625" cy="207963"/>
            </a:xfrm>
            <a:custGeom>
              <a:avLst/>
              <a:gdLst>
                <a:gd name="T0" fmla="*/ 5 w 350"/>
                <a:gd name="T1" fmla="*/ 0 h 131"/>
                <a:gd name="T2" fmla="*/ 0 w 350"/>
                <a:gd name="T3" fmla="*/ 15 h 131"/>
                <a:gd name="T4" fmla="*/ 155 w 350"/>
                <a:gd name="T5" fmla="*/ 67 h 131"/>
                <a:gd name="T6" fmla="*/ 350 w 350"/>
                <a:gd name="T7" fmla="*/ 131 h 131"/>
                <a:gd name="T8" fmla="*/ 343 w 350"/>
                <a:gd name="T9" fmla="*/ 111 h 131"/>
                <a:gd name="T10" fmla="*/ 171 w 350"/>
                <a:gd name="T11" fmla="*/ 55 h 131"/>
                <a:gd name="T12" fmla="*/ 5 w 350"/>
                <a:gd name="T13" fmla="*/ 0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0" h="131">
                  <a:moveTo>
                    <a:pt x="5" y="0"/>
                  </a:moveTo>
                  <a:lnTo>
                    <a:pt x="0" y="15"/>
                  </a:lnTo>
                  <a:lnTo>
                    <a:pt x="155" y="67"/>
                  </a:lnTo>
                  <a:lnTo>
                    <a:pt x="350" y="131"/>
                  </a:lnTo>
                  <a:lnTo>
                    <a:pt x="343" y="111"/>
                  </a:lnTo>
                  <a:lnTo>
                    <a:pt x="171" y="55"/>
                  </a:lnTo>
                  <a:lnTo>
                    <a:pt x="5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84" name="isľïdê">
              <a:extLst>
                <a:ext uri="{FF2B5EF4-FFF2-40B4-BE49-F238E27FC236}">
                  <a16:creationId xmlns:a16="http://schemas.microsoft.com/office/drawing/2014/main" id="{CB85A296-FEC7-4FD2-9C24-49A5408CA4AC}"/>
                </a:ext>
              </a:extLst>
            </p:cNvPr>
            <p:cNvSpPr/>
            <p:nvPr userDrawn="1"/>
          </p:nvSpPr>
          <p:spPr bwMode="auto">
            <a:xfrm>
              <a:off x="6953250" y="4281488"/>
              <a:ext cx="614363" cy="228600"/>
            </a:xfrm>
            <a:custGeom>
              <a:avLst/>
              <a:gdLst>
                <a:gd name="T0" fmla="*/ 5 w 387"/>
                <a:gd name="T1" fmla="*/ 0 h 144"/>
                <a:gd name="T2" fmla="*/ 0 w 387"/>
                <a:gd name="T3" fmla="*/ 16 h 144"/>
                <a:gd name="T4" fmla="*/ 121 w 387"/>
                <a:gd name="T5" fmla="*/ 55 h 144"/>
                <a:gd name="T6" fmla="*/ 387 w 387"/>
                <a:gd name="T7" fmla="*/ 144 h 144"/>
                <a:gd name="T8" fmla="*/ 379 w 387"/>
                <a:gd name="T9" fmla="*/ 124 h 144"/>
                <a:gd name="T10" fmla="*/ 137 w 387"/>
                <a:gd name="T11" fmla="*/ 43 h 144"/>
                <a:gd name="T12" fmla="*/ 5 w 387"/>
                <a:gd name="T13" fmla="*/ 0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87" h="144">
                  <a:moveTo>
                    <a:pt x="5" y="0"/>
                  </a:moveTo>
                  <a:lnTo>
                    <a:pt x="0" y="16"/>
                  </a:lnTo>
                  <a:lnTo>
                    <a:pt x="121" y="55"/>
                  </a:lnTo>
                  <a:lnTo>
                    <a:pt x="387" y="144"/>
                  </a:lnTo>
                  <a:lnTo>
                    <a:pt x="379" y="124"/>
                  </a:lnTo>
                  <a:lnTo>
                    <a:pt x="137" y="43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D3D3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85" name="ï$ľîḍè">
              <a:extLst>
                <a:ext uri="{FF2B5EF4-FFF2-40B4-BE49-F238E27FC236}">
                  <a16:creationId xmlns:a16="http://schemas.microsoft.com/office/drawing/2014/main" id="{77161F22-7EE2-45E0-B9AB-B98FA3906973}"/>
                </a:ext>
              </a:extLst>
            </p:cNvPr>
            <p:cNvSpPr/>
            <p:nvPr userDrawn="1"/>
          </p:nvSpPr>
          <p:spPr bwMode="auto">
            <a:xfrm>
              <a:off x="6953250" y="4281488"/>
              <a:ext cx="614363" cy="228600"/>
            </a:xfrm>
            <a:custGeom>
              <a:avLst/>
              <a:gdLst>
                <a:gd name="T0" fmla="*/ 5 w 387"/>
                <a:gd name="T1" fmla="*/ 0 h 144"/>
                <a:gd name="T2" fmla="*/ 0 w 387"/>
                <a:gd name="T3" fmla="*/ 16 h 144"/>
                <a:gd name="T4" fmla="*/ 121 w 387"/>
                <a:gd name="T5" fmla="*/ 55 h 144"/>
                <a:gd name="T6" fmla="*/ 387 w 387"/>
                <a:gd name="T7" fmla="*/ 144 h 144"/>
                <a:gd name="T8" fmla="*/ 379 w 387"/>
                <a:gd name="T9" fmla="*/ 124 h 144"/>
                <a:gd name="T10" fmla="*/ 137 w 387"/>
                <a:gd name="T11" fmla="*/ 43 h 144"/>
                <a:gd name="T12" fmla="*/ 5 w 387"/>
                <a:gd name="T13" fmla="*/ 0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87" h="144">
                  <a:moveTo>
                    <a:pt x="5" y="0"/>
                  </a:moveTo>
                  <a:lnTo>
                    <a:pt x="0" y="16"/>
                  </a:lnTo>
                  <a:lnTo>
                    <a:pt x="121" y="55"/>
                  </a:lnTo>
                  <a:lnTo>
                    <a:pt x="387" y="144"/>
                  </a:lnTo>
                  <a:lnTo>
                    <a:pt x="379" y="124"/>
                  </a:lnTo>
                  <a:lnTo>
                    <a:pt x="137" y="43"/>
                  </a:lnTo>
                  <a:lnTo>
                    <a:pt x="5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86" name="iṣḷîḋè">
              <a:extLst>
                <a:ext uri="{FF2B5EF4-FFF2-40B4-BE49-F238E27FC236}">
                  <a16:creationId xmlns:a16="http://schemas.microsoft.com/office/drawing/2014/main" id="{288522AD-719A-4825-9ADD-7BDC4A332BF2}"/>
                </a:ext>
              </a:extLst>
            </p:cNvPr>
            <p:cNvSpPr/>
            <p:nvPr userDrawn="1"/>
          </p:nvSpPr>
          <p:spPr bwMode="auto">
            <a:xfrm>
              <a:off x="7112000" y="3803650"/>
              <a:ext cx="244475" cy="104775"/>
            </a:xfrm>
            <a:custGeom>
              <a:avLst/>
              <a:gdLst>
                <a:gd name="T0" fmla="*/ 6 w 154"/>
                <a:gd name="T1" fmla="*/ 0 h 66"/>
                <a:gd name="T2" fmla="*/ 0 w 154"/>
                <a:gd name="T3" fmla="*/ 16 h 66"/>
                <a:gd name="T4" fmla="*/ 154 w 154"/>
                <a:gd name="T5" fmla="*/ 66 h 66"/>
                <a:gd name="T6" fmla="*/ 146 w 154"/>
                <a:gd name="T7" fmla="*/ 46 h 66"/>
                <a:gd name="T8" fmla="*/ 6 w 154"/>
                <a:gd name="T9" fmla="*/ 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4" h="66">
                  <a:moveTo>
                    <a:pt x="6" y="0"/>
                  </a:moveTo>
                  <a:lnTo>
                    <a:pt x="0" y="16"/>
                  </a:lnTo>
                  <a:lnTo>
                    <a:pt x="154" y="66"/>
                  </a:lnTo>
                  <a:lnTo>
                    <a:pt x="146" y="46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D3D3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87" name="íṡḷîḑe">
              <a:extLst>
                <a:ext uri="{FF2B5EF4-FFF2-40B4-BE49-F238E27FC236}">
                  <a16:creationId xmlns:a16="http://schemas.microsoft.com/office/drawing/2014/main" id="{F049128B-CF4F-41D7-B8CF-24357E38683A}"/>
                </a:ext>
              </a:extLst>
            </p:cNvPr>
            <p:cNvSpPr/>
            <p:nvPr userDrawn="1"/>
          </p:nvSpPr>
          <p:spPr bwMode="auto">
            <a:xfrm>
              <a:off x="7112000" y="3803650"/>
              <a:ext cx="244475" cy="104775"/>
            </a:xfrm>
            <a:custGeom>
              <a:avLst/>
              <a:gdLst>
                <a:gd name="T0" fmla="*/ 6 w 154"/>
                <a:gd name="T1" fmla="*/ 0 h 66"/>
                <a:gd name="T2" fmla="*/ 0 w 154"/>
                <a:gd name="T3" fmla="*/ 16 h 66"/>
                <a:gd name="T4" fmla="*/ 154 w 154"/>
                <a:gd name="T5" fmla="*/ 66 h 66"/>
                <a:gd name="T6" fmla="*/ 146 w 154"/>
                <a:gd name="T7" fmla="*/ 46 h 66"/>
                <a:gd name="T8" fmla="*/ 6 w 154"/>
                <a:gd name="T9" fmla="*/ 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4" h="66">
                  <a:moveTo>
                    <a:pt x="6" y="0"/>
                  </a:moveTo>
                  <a:lnTo>
                    <a:pt x="0" y="16"/>
                  </a:lnTo>
                  <a:lnTo>
                    <a:pt x="154" y="66"/>
                  </a:lnTo>
                  <a:lnTo>
                    <a:pt x="146" y="46"/>
                  </a:lnTo>
                  <a:lnTo>
                    <a:pt x="6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88" name="ïṡlïďê">
              <a:extLst>
                <a:ext uri="{FF2B5EF4-FFF2-40B4-BE49-F238E27FC236}">
                  <a16:creationId xmlns:a16="http://schemas.microsoft.com/office/drawing/2014/main" id="{9BC6D859-E4F9-4792-A30F-1BD8C9667192}"/>
                </a:ext>
              </a:extLst>
            </p:cNvPr>
            <p:cNvSpPr/>
            <p:nvPr userDrawn="1"/>
          </p:nvSpPr>
          <p:spPr bwMode="auto">
            <a:xfrm>
              <a:off x="6137275" y="3659188"/>
              <a:ext cx="1612900" cy="1885950"/>
            </a:xfrm>
            <a:custGeom>
              <a:avLst/>
              <a:gdLst>
                <a:gd name="T0" fmla="*/ 601 w 954"/>
                <a:gd name="T1" fmla="*/ 9 h 1117"/>
                <a:gd name="T2" fmla="*/ 37 w 954"/>
                <a:gd name="T3" fmla="*/ 207 h 1117"/>
                <a:gd name="T4" fmla="*/ 8 w 954"/>
                <a:gd name="T5" fmla="*/ 266 h 1117"/>
                <a:gd name="T6" fmla="*/ 294 w 954"/>
                <a:gd name="T7" fmla="*/ 1080 h 1117"/>
                <a:gd name="T8" fmla="*/ 353 w 954"/>
                <a:gd name="T9" fmla="*/ 1108 h 1117"/>
                <a:gd name="T10" fmla="*/ 918 w 954"/>
                <a:gd name="T11" fmla="*/ 910 h 1117"/>
                <a:gd name="T12" fmla="*/ 946 w 954"/>
                <a:gd name="T13" fmla="*/ 851 h 1117"/>
                <a:gd name="T14" fmla="*/ 661 w 954"/>
                <a:gd name="T15" fmla="*/ 37 h 1117"/>
                <a:gd name="T16" fmla="*/ 601 w 954"/>
                <a:gd name="T17" fmla="*/ 9 h 1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54" h="1117">
                  <a:moveTo>
                    <a:pt x="601" y="9"/>
                  </a:moveTo>
                  <a:cubicBezTo>
                    <a:pt x="37" y="207"/>
                    <a:pt x="37" y="207"/>
                    <a:pt x="37" y="207"/>
                  </a:cubicBezTo>
                  <a:cubicBezTo>
                    <a:pt x="13" y="215"/>
                    <a:pt x="0" y="241"/>
                    <a:pt x="8" y="266"/>
                  </a:cubicBezTo>
                  <a:cubicBezTo>
                    <a:pt x="294" y="1080"/>
                    <a:pt x="294" y="1080"/>
                    <a:pt x="294" y="1080"/>
                  </a:cubicBezTo>
                  <a:cubicBezTo>
                    <a:pt x="302" y="1104"/>
                    <a:pt x="329" y="1117"/>
                    <a:pt x="353" y="1108"/>
                  </a:cubicBezTo>
                  <a:cubicBezTo>
                    <a:pt x="918" y="910"/>
                    <a:pt x="918" y="910"/>
                    <a:pt x="918" y="910"/>
                  </a:cubicBezTo>
                  <a:cubicBezTo>
                    <a:pt x="942" y="902"/>
                    <a:pt x="954" y="875"/>
                    <a:pt x="946" y="851"/>
                  </a:cubicBezTo>
                  <a:cubicBezTo>
                    <a:pt x="661" y="37"/>
                    <a:pt x="661" y="37"/>
                    <a:pt x="661" y="37"/>
                  </a:cubicBezTo>
                  <a:cubicBezTo>
                    <a:pt x="652" y="13"/>
                    <a:pt x="626" y="0"/>
                    <a:pt x="601" y="9"/>
                  </a:cubicBezTo>
                  <a:close/>
                </a:path>
              </a:pathLst>
            </a:custGeom>
            <a:solidFill>
              <a:srgbClr val="FF787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89" name="îṩḷíḓé">
              <a:extLst>
                <a:ext uri="{FF2B5EF4-FFF2-40B4-BE49-F238E27FC236}">
                  <a16:creationId xmlns:a16="http://schemas.microsoft.com/office/drawing/2014/main" id="{114FA0C5-221E-4AB4-8894-5871D2431C22}"/>
                </a:ext>
              </a:extLst>
            </p:cNvPr>
            <p:cNvSpPr/>
            <p:nvPr userDrawn="1"/>
          </p:nvSpPr>
          <p:spPr bwMode="auto">
            <a:xfrm>
              <a:off x="6213475" y="3751263"/>
              <a:ext cx="1460500" cy="1703388"/>
            </a:xfrm>
            <a:custGeom>
              <a:avLst/>
              <a:gdLst>
                <a:gd name="T0" fmla="*/ 920 w 920"/>
                <a:gd name="T1" fmla="*/ 856 h 1073"/>
                <a:gd name="T2" fmla="*/ 300 w 920"/>
                <a:gd name="T3" fmla="*/ 1073 h 1073"/>
                <a:gd name="T4" fmla="*/ 0 w 920"/>
                <a:gd name="T5" fmla="*/ 217 h 1073"/>
                <a:gd name="T6" fmla="*/ 620 w 920"/>
                <a:gd name="T7" fmla="*/ 0 h 1073"/>
                <a:gd name="T8" fmla="*/ 920 w 920"/>
                <a:gd name="T9" fmla="*/ 856 h 10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20" h="1073">
                  <a:moveTo>
                    <a:pt x="920" y="856"/>
                  </a:moveTo>
                  <a:lnTo>
                    <a:pt x="300" y="1073"/>
                  </a:lnTo>
                  <a:lnTo>
                    <a:pt x="0" y="217"/>
                  </a:lnTo>
                  <a:lnTo>
                    <a:pt x="620" y="0"/>
                  </a:lnTo>
                  <a:lnTo>
                    <a:pt x="920" y="85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90" name="iṧ1îďê">
              <a:extLst>
                <a:ext uri="{FF2B5EF4-FFF2-40B4-BE49-F238E27FC236}">
                  <a16:creationId xmlns:a16="http://schemas.microsoft.com/office/drawing/2014/main" id="{F0D9CE44-1D8E-4222-92F4-FDD1D3FB74AF}"/>
                </a:ext>
              </a:extLst>
            </p:cNvPr>
            <p:cNvSpPr/>
            <p:nvPr userDrawn="1"/>
          </p:nvSpPr>
          <p:spPr bwMode="auto">
            <a:xfrm>
              <a:off x="6213475" y="3751263"/>
              <a:ext cx="984250" cy="1703388"/>
            </a:xfrm>
            <a:custGeom>
              <a:avLst/>
              <a:gdLst>
                <a:gd name="T0" fmla="*/ 0 w 620"/>
                <a:gd name="T1" fmla="*/ 217 h 1073"/>
                <a:gd name="T2" fmla="*/ 300 w 620"/>
                <a:gd name="T3" fmla="*/ 1073 h 1073"/>
                <a:gd name="T4" fmla="*/ 620 w 620"/>
                <a:gd name="T5" fmla="*/ 0 h 1073"/>
                <a:gd name="T6" fmla="*/ 0 w 620"/>
                <a:gd name="T7" fmla="*/ 217 h 10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20" h="1073">
                  <a:moveTo>
                    <a:pt x="0" y="217"/>
                  </a:moveTo>
                  <a:lnTo>
                    <a:pt x="300" y="1073"/>
                  </a:lnTo>
                  <a:lnTo>
                    <a:pt x="620" y="0"/>
                  </a:lnTo>
                  <a:lnTo>
                    <a:pt x="0" y="217"/>
                  </a:lnTo>
                  <a:close/>
                </a:path>
              </a:pathLst>
            </a:custGeom>
            <a:solidFill>
              <a:srgbClr val="FAFD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91" name="í$ľíḑê">
              <a:extLst>
                <a:ext uri="{FF2B5EF4-FFF2-40B4-BE49-F238E27FC236}">
                  <a16:creationId xmlns:a16="http://schemas.microsoft.com/office/drawing/2014/main" id="{1008DB18-3DFC-40B6-A51B-A06004FF158A}"/>
                </a:ext>
              </a:extLst>
            </p:cNvPr>
            <p:cNvSpPr/>
            <p:nvPr userDrawn="1"/>
          </p:nvSpPr>
          <p:spPr bwMode="auto">
            <a:xfrm>
              <a:off x="6308725" y="3716338"/>
              <a:ext cx="793750" cy="436563"/>
            </a:xfrm>
            <a:custGeom>
              <a:avLst/>
              <a:gdLst>
                <a:gd name="T0" fmla="*/ 449 w 469"/>
                <a:gd name="T1" fmla="*/ 117 h 258"/>
                <a:gd name="T2" fmla="*/ 59 w 469"/>
                <a:gd name="T3" fmla="*/ 254 h 258"/>
                <a:gd name="T4" fmla="*/ 27 w 469"/>
                <a:gd name="T5" fmla="*/ 238 h 258"/>
                <a:gd name="T6" fmla="*/ 4 w 469"/>
                <a:gd name="T7" fmla="*/ 173 h 258"/>
                <a:gd name="T8" fmla="*/ 20 w 469"/>
                <a:gd name="T9" fmla="*/ 142 h 258"/>
                <a:gd name="T10" fmla="*/ 410 w 469"/>
                <a:gd name="T11" fmla="*/ 5 h 258"/>
                <a:gd name="T12" fmla="*/ 442 w 469"/>
                <a:gd name="T13" fmla="*/ 20 h 258"/>
                <a:gd name="T14" fmla="*/ 464 w 469"/>
                <a:gd name="T15" fmla="*/ 85 h 258"/>
                <a:gd name="T16" fmla="*/ 449 w 469"/>
                <a:gd name="T17" fmla="*/ 117 h 258"/>
                <a:gd name="T18" fmla="*/ 24 w 469"/>
                <a:gd name="T19" fmla="*/ 154 h 258"/>
                <a:gd name="T20" fmla="*/ 16 w 469"/>
                <a:gd name="T21" fmla="*/ 169 h 258"/>
                <a:gd name="T22" fmla="*/ 39 w 469"/>
                <a:gd name="T23" fmla="*/ 234 h 258"/>
                <a:gd name="T24" fmla="*/ 55 w 469"/>
                <a:gd name="T25" fmla="*/ 242 h 258"/>
                <a:gd name="T26" fmla="*/ 445 w 469"/>
                <a:gd name="T27" fmla="*/ 105 h 258"/>
                <a:gd name="T28" fmla="*/ 452 w 469"/>
                <a:gd name="T29" fmla="*/ 89 h 258"/>
                <a:gd name="T30" fmla="*/ 430 w 469"/>
                <a:gd name="T31" fmla="*/ 24 h 258"/>
                <a:gd name="T32" fmla="*/ 414 w 469"/>
                <a:gd name="T33" fmla="*/ 17 h 258"/>
                <a:gd name="T34" fmla="*/ 24 w 469"/>
                <a:gd name="T35" fmla="*/ 154 h 2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69" h="258">
                  <a:moveTo>
                    <a:pt x="449" y="117"/>
                  </a:moveTo>
                  <a:cubicBezTo>
                    <a:pt x="59" y="254"/>
                    <a:pt x="59" y="254"/>
                    <a:pt x="59" y="254"/>
                  </a:cubicBezTo>
                  <a:cubicBezTo>
                    <a:pt x="46" y="258"/>
                    <a:pt x="32" y="251"/>
                    <a:pt x="27" y="238"/>
                  </a:cubicBezTo>
                  <a:cubicBezTo>
                    <a:pt x="4" y="173"/>
                    <a:pt x="4" y="173"/>
                    <a:pt x="4" y="173"/>
                  </a:cubicBezTo>
                  <a:cubicBezTo>
                    <a:pt x="0" y="160"/>
                    <a:pt x="7" y="146"/>
                    <a:pt x="20" y="142"/>
                  </a:cubicBezTo>
                  <a:cubicBezTo>
                    <a:pt x="410" y="5"/>
                    <a:pt x="410" y="5"/>
                    <a:pt x="410" y="5"/>
                  </a:cubicBezTo>
                  <a:cubicBezTo>
                    <a:pt x="423" y="0"/>
                    <a:pt x="437" y="7"/>
                    <a:pt x="442" y="20"/>
                  </a:cubicBezTo>
                  <a:cubicBezTo>
                    <a:pt x="464" y="85"/>
                    <a:pt x="464" y="85"/>
                    <a:pt x="464" y="85"/>
                  </a:cubicBezTo>
                  <a:cubicBezTo>
                    <a:pt x="469" y="98"/>
                    <a:pt x="462" y="112"/>
                    <a:pt x="449" y="117"/>
                  </a:cubicBezTo>
                  <a:close/>
                  <a:moveTo>
                    <a:pt x="24" y="154"/>
                  </a:moveTo>
                  <a:cubicBezTo>
                    <a:pt x="17" y="156"/>
                    <a:pt x="14" y="163"/>
                    <a:pt x="16" y="169"/>
                  </a:cubicBezTo>
                  <a:cubicBezTo>
                    <a:pt x="39" y="234"/>
                    <a:pt x="39" y="234"/>
                    <a:pt x="39" y="234"/>
                  </a:cubicBezTo>
                  <a:cubicBezTo>
                    <a:pt x="41" y="240"/>
                    <a:pt x="48" y="244"/>
                    <a:pt x="55" y="242"/>
                  </a:cubicBezTo>
                  <a:cubicBezTo>
                    <a:pt x="445" y="105"/>
                    <a:pt x="445" y="105"/>
                    <a:pt x="445" y="105"/>
                  </a:cubicBezTo>
                  <a:cubicBezTo>
                    <a:pt x="451" y="102"/>
                    <a:pt x="455" y="96"/>
                    <a:pt x="452" y="89"/>
                  </a:cubicBezTo>
                  <a:cubicBezTo>
                    <a:pt x="430" y="24"/>
                    <a:pt x="430" y="24"/>
                    <a:pt x="430" y="24"/>
                  </a:cubicBezTo>
                  <a:cubicBezTo>
                    <a:pt x="427" y="18"/>
                    <a:pt x="420" y="14"/>
                    <a:pt x="414" y="17"/>
                  </a:cubicBezTo>
                  <a:lnTo>
                    <a:pt x="24" y="154"/>
                  </a:lnTo>
                  <a:close/>
                </a:path>
              </a:pathLst>
            </a:custGeom>
            <a:solidFill>
              <a:srgbClr val="C2C2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92" name="íšḷíďe">
              <a:extLst>
                <a:ext uri="{FF2B5EF4-FFF2-40B4-BE49-F238E27FC236}">
                  <a16:creationId xmlns:a16="http://schemas.microsoft.com/office/drawing/2014/main" id="{69866778-5CF7-4933-919D-2E47BB58573E}"/>
                </a:ext>
              </a:extLst>
            </p:cNvPr>
            <p:cNvSpPr/>
            <p:nvPr userDrawn="1"/>
          </p:nvSpPr>
          <p:spPr bwMode="auto">
            <a:xfrm>
              <a:off x="6343650" y="3689350"/>
              <a:ext cx="668338" cy="309563"/>
            </a:xfrm>
            <a:custGeom>
              <a:avLst/>
              <a:gdLst>
                <a:gd name="T0" fmla="*/ 421 w 421"/>
                <a:gd name="T1" fmla="*/ 54 h 195"/>
                <a:gd name="T2" fmla="*/ 18 w 421"/>
                <a:gd name="T3" fmla="*/ 195 h 195"/>
                <a:gd name="T4" fmla="*/ 0 w 421"/>
                <a:gd name="T5" fmla="*/ 142 h 195"/>
                <a:gd name="T6" fmla="*/ 403 w 421"/>
                <a:gd name="T7" fmla="*/ 0 h 195"/>
                <a:gd name="T8" fmla="*/ 421 w 421"/>
                <a:gd name="T9" fmla="*/ 54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1" h="195">
                  <a:moveTo>
                    <a:pt x="421" y="54"/>
                  </a:moveTo>
                  <a:lnTo>
                    <a:pt x="18" y="195"/>
                  </a:lnTo>
                  <a:lnTo>
                    <a:pt x="0" y="142"/>
                  </a:lnTo>
                  <a:lnTo>
                    <a:pt x="403" y="0"/>
                  </a:lnTo>
                  <a:lnTo>
                    <a:pt x="421" y="54"/>
                  </a:lnTo>
                  <a:close/>
                </a:path>
              </a:pathLst>
            </a:custGeom>
            <a:solidFill>
              <a:srgbClr val="4675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93" name="íṡļíďé">
              <a:extLst>
                <a:ext uri="{FF2B5EF4-FFF2-40B4-BE49-F238E27FC236}">
                  <a16:creationId xmlns:a16="http://schemas.microsoft.com/office/drawing/2014/main" id="{4C1F3783-50FD-44B9-84FF-A16C12795941}"/>
                </a:ext>
              </a:extLst>
            </p:cNvPr>
            <p:cNvSpPr/>
            <p:nvPr userDrawn="1"/>
          </p:nvSpPr>
          <p:spPr bwMode="auto">
            <a:xfrm>
              <a:off x="6356350" y="3732213"/>
              <a:ext cx="655638" cy="266700"/>
            </a:xfrm>
            <a:custGeom>
              <a:avLst/>
              <a:gdLst>
                <a:gd name="T0" fmla="*/ 10 w 413"/>
                <a:gd name="T1" fmla="*/ 168 h 168"/>
                <a:gd name="T2" fmla="*/ 413 w 413"/>
                <a:gd name="T3" fmla="*/ 27 h 168"/>
                <a:gd name="T4" fmla="*/ 404 w 413"/>
                <a:gd name="T5" fmla="*/ 0 h 168"/>
                <a:gd name="T6" fmla="*/ 0 w 413"/>
                <a:gd name="T7" fmla="*/ 141 h 168"/>
                <a:gd name="T8" fmla="*/ 10 w 413"/>
                <a:gd name="T9" fmla="*/ 168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13" h="168">
                  <a:moveTo>
                    <a:pt x="10" y="168"/>
                  </a:moveTo>
                  <a:lnTo>
                    <a:pt x="413" y="27"/>
                  </a:lnTo>
                  <a:lnTo>
                    <a:pt x="404" y="0"/>
                  </a:lnTo>
                  <a:lnTo>
                    <a:pt x="0" y="141"/>
                  </a:lnTo>
                  <a:lnTo>
                    <a:pt x="10" y="168"/>
                  </a:lnTo>
                  <a:close/>
                </a:path>
              </a:pathLst>
            </a:custGeom>
            <a:solidFill>
              <a:srgbClr val="3D69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94" name="îslíde">
              <a:extLst>
                <a:ext uri="{FF2B5EF4-FFF2-40B4-BE49-F238E27FC236}">
                  <a16:creationId xmlns:a16="http://schemas.microsoft.com/office/drawing/2014/main" id="{8FEBDE7E-F360-4242-87EE-6F2E3EA3A33A}"/>
                </a:ext>
              </a:extLst>
            </p:cNvPr>
            <p:cNvSpPr/>
            <p:nvPr userDrawn="1"/>
          </p:nvSpPr>
          <p:spPr bwMode="auto">
            <a:xfrm>
              <a:off x="6630988" y="4648200"/>
              <a:ext cx="482600" cy="379413"/>
            </a:xfrm>
            <a:custGeom>
              <a:avLst/>
              <a:gdLst>
                <a:gd name="T0" fmla="*/ 135 w 286"/>
                <a:gd name="T1" fmla="*/ 224 h 224"/>
                <a:gd name="T2" fmla="*/ 62 w 286"/>
                <a:gd name="T3" fmla="*/ 89 h 224"/>
                <a:gd name="T4" fmla="*/ 64 w 286"/>
                <a:gd name="T5" fmla="*/ 158 h 224"/>
                <a:gd name="T6" fmla="*/ 9 w 286"/>
                <a:gd name="T7" fmla="*/ 177 h 224"/>
                <a:gd name="T8" fmla="*/ 1 w 286"/>
                <a:gd name="T9" fmla="*/ 173 h 224"/>
                <a:gd name="T10" fmla="*/ 5 w 286"/>
                <a:gd name="T11" fmla="*/ 165 h 224"/>
                <a:gd name="T12" fmla="*/ 51 w 286"/>
                <a:gd name="T13" fmla="*/ 149 h 224"/>
                <a:gd name="T14" fmla="*/ 47 w 286"/>
                <a:gd name="T15" fmla="*/ 35 h 224"/>
                <a:gd name="T16" fmla="*/ 121 w 286"/>
                <a:gd name="T17" fmla="*/ 170 h 224"/>
                <a:gd name="T18" fmla="*/ 117 w 286"/>
                <a:gd name="T19" fmla="*/ 61 h 224"/>
                <a:gd name="T20" fmla="*/ 149 w 286"/>
                <a:gd name="T21" fmla="*/ 102 h 224"/>
                <a:gd name="T22" fmla="*/ 155 w 286"/>
                <a:gd name="T23" fmla="*/ 0 h 224"/>
                <a:gd name="T24" fmla="*/ 240 w 286"/>
                <a:gd name="T25" fmla="*/ 129 h 224"/>
                <a:gd name="T26" fmla="*/ 238 w 286"/>
                <a:gd name="T27" fmla="*/ 79 h 224"/>
                <a:gd name="T28" fmla="*/ 277 w 286"/>
                <a:gd name="T29" fmla="*/ 66 h 224"/>
                <a:gd name="T30" fmla="*/ 285 w 286"/>
                <a:gd name="T31" fmla="*/ 70 h 224"/>
                <a:gd name="T32" fmla="*/ 281 w 286"/>
                <a:gd name="T33" fmla="*/ 78 h 224"/>
                <a:gd name="T34" fmla="*/ 251 w 286"/>
                <a:gd name="T35" fmla="*/ 88 h 224"/>
                <a:gd name="T36" fmla="*/ 255 w 286"/>
                <a:gd name="T37" fmla="*/ 174 h 224"/>
                <a:gd name="T38" fmla="*/ 166 w 286"/>
                <a:gd name="T39" fmla="*/ 39 h 224"/>
                <a:gd name="T40" fmla="*/ 160 w 286"/>
                <a:gd name="T41" fmla="*/ 136 h 224"/>
                <a:gd name="T42" fmla="*/ 131 w 286"/>
                <a:gd name="T43" fmla="*/ 99 h 224"/>
                <a:gd name="T44" fmla="*/ 135 w 286"/>
                <a:gd name="T45" fmla="*/ 224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86" h="224">
                  <a:moveTo>
                    <a:pt x="135" y="224"/>
                  </a:moveTo>
                  <a:cubicBezTo>
                    <a:pt x="62" y="89"/>
                    <a:pt x="62" y="89"/>
                    <a:pt x="62" y="89"/>
                  </a:cubicBezTo>
                  <a:cubicBezTo>
                    <a:pt x="64" y="158"/>
                    <a:pt x="64" y="158"/>
                    <a:pt x="64" y="158"/>
                  </a:cubicBezTo>
                  <a:cubicBezTo>
                    <a:pt x="9" y="177"/>
                    <a:pt x="9" y="177"/>
                    <a:pt x="9" y="177"/>
                  </a:cubicBezTo>
                  <a:cubicBezTo>
                    <a:pt x="6" y="178"/>
                    <a:pt x="2" y="176"/>
                    <a:pt x="1" y="173"/>
                  </a:cubicBezTo>
                  <a:cubicBezTo>
                    <a:pt x="0" y="170"/>
                    <a:pt x="2" y="166"/>
                    <a:pt x="5" y="165"/>
                  </a:cubicBezTo>
                  <a:cubicBezTo>
                    <a:pt x="51" y="149"/>
                    <a:pt x="51" y="149"/>
                    <a:pt x="51" y="149"/>
                  </a:cubicBezTo>
                  <a:cubicBezTo>
                    <a:pt x="47" y="35"/>
                    <a:pt x="47" y="35"/>
                    <a:pt x="47" y="35"/>
                  </a:cubicBezTo>
                  <a:cubicBezTo>
                    <a:pt x="121" y="170"/>
                    <a:pt x="121" y="170"/>
                    <a:pt x="121" y="170"/>
                  </a:cubicBezTo>
                  <a:cubicBezTo>
                    <a:pt x="117" y="61"/>
                    <a:pt x="117" y="61"/>
                    <a:pt x="117" y="61"/>
                  </a:cubicBezTo>
                  <a:cubicBezTo>
                    <a:pt x="149" y="102"/>
                    <a:pt x="149" y="102"/>
                    <a:pt x="149" y="102"/>
                  </a:cubicBezTo>
                  <a:cubicBezTo>
                    <a:pt x="155" y="0"/>
                    <a:pt x="155" y="0"/>
                    <a:pt x="155" y="0"/>
                  </a:cubicBezTo>
                  <a:cubicBezTo>
                    <a:pt x="240" y="129"/>
                    <a:pt x="240" y="129"/>
                    <a:pt x="240" y="129"/>
                  </a:cubicBezTo>
                  <a:cubicBezTo>
                    <a:pt x="238" y="79"/>
                    <a:pt x="238" y="79"/>
                    <a:pt x="238" y="79"/>
                  </a:cubicBezTo>
                  <a:cubicBezTo>
                    <a:pt x="277" y="66"/>
                    <a:pt x="277" y="66"/>
                    <a:pt x="277" y="66"/>
                  </a:cubicBezTo>
                  <a:cubicBezTo>
                    <a:pt x="281" y="64"/>
                    <a:pt x="284" y="66"/>
                    <a:pt x="285" y="70"/>
                  </a:cubicBezTo>
                  <a:cubicBezTo>
                    <a:pt x="286" y="73"/>
                    <a:pt x="285" y="76"/>
                    <a:pt x="281" y="78"/>
                  </a:cubicBezTo>
                  <a:cubicBezTo>
                    <a:pt x="251" y="88"/>
                    <a:pt x="251" y="88"/>
                    <a:pt x="251" y="88"/>
                  </a:cubicBezTo>
                  <a:cubicBezTo>
                    <a:pt x="255" y="174"/>
                    <a:pt x="255" y="174"/>
                    <a:pt x="255" y="174"/>
                  </a:cubicBezTo>
                  <a:cubicBezTo>
                    <a:pt x="166" y="39"/>
                    <a:pt x="166" y="39"/>
                    <a:pt x="166" y="39"/>
                  </a:cubicBezTo>
                  <a:cubicBezTo>
                    <a:pt x="160" y="136"/>
                    <a:pt x="160" y="136"/>
                    <a:pt x="160" y="136"/>
                  </a:cubicBezTo>
                  <a:cubicBezTo>
                    <a:pt x="131" y="99"/>
                    <a:pt x="131" y="99"/>
                    <a:pt x="131" y="99"/>
                  </a:cubicBezTo>
                  <a:lnTo>
                    <a:pt x="135" y="224"/>
                  </a:lnTo>
                  <a:close/>
                </a:path>
              </a:pathLst>
            </a:custGeom>
            <a:solidFill>
              <a:srgbClr val="FF787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95" name="íŝḻiḑè">
              <a:extLst>
                <a:ext uri="{FF2B5EF4-FFF2-40B4-BE49-F238E27FC236}">
                  <a16:creationId xmlns:a16="http://schemas.microsoft.com/office/drawing/2014/main" id="{B174C24E-B7A1-4C3A-B79A-661593935DE2}"/>
                </a:ext>
              </a:extLst>
            </p:cNvPr>
            <p:cNvSpPr/>
            <p:nvPr userDrawn="1"/>
          </p:nvSpPr>
          <p:spPr bwMode="auto">
            <a:xfrm>
              <a:off x="6391275" y="4241800"/>
              <a:ext cx="317500" cy="354013"/>
            </a:xfrm>
            <a:custGeom>
              <a:avLst/>
              <a:gdLst>
                <a:gd name="T0" fmla="*/ 166 w 187"/>
                <a:gd name="T1" fmla="*/ 175 h 210"/>
                <a:gd name="T2" fmla="*/ 81 w 187"/>
                <a:gd name="T3" fmla="*/ 205 h 210"/>
                <a:gd name="T4" fmla="*/ 47 w 187"/>
                <a:gd name="T5" fmla="*/ 189 h 210"/>
                <a:gd name="T6" fmla="*/ 5 w 187"/>
                <a:gd name="T7" fmla="*/ 69 h 210"/>
                <a:gd name="T8" fmla="*/ 21 w 187"/>
                <a:gd name="T9" fmla="*/ 35 h 210"/>
                <a:gd name="T10" fmla="*/ 107 w 187"/>
                <a:gd name="T11" fmla="*/ 5 h 210"/>
                <a:gd name="T12" fmla="*/ 141 w 187"/>
                <a:gd name="T13" fmla="*/ 21 h 210"/>
                <a:gd name="T14" fmla="*/ 183 w 187"/>
                <a:gd name="T15" fmla="*/ 141 h 210"/>
                <a:gd name="T16" fmla="*/ 166 w 187"/>
                <a:gd name="T17" fmla="*/ 175 h 210"/>
                <a:gd name="T18" fmla="*/ 23 w 187"/>
                <a:gd name="T19" fmla="*/ 42 h 210"/>
                <a:gd name="T20" fmla="*/ 12 w 187"/>
                <a:gd name="T21" fmla="*/ 66 h 210"/>
                <a:gd name="T22" fmla="*/ 54 w 187"/>
                <a:gd name="T23" fmla="*/ 186 h 210"/>
                <a:gd name="T24" fmla="*/ 78 w 187"/>
                <a:gd name="T25" fmla="*/ 198 h 210"/>
                <a:gd name="T26" fmla="*/ 164 w 187"/>
                <a:gd name="T27" fmla="*/ 168 h 210"/>
                <a:gd name="T28" fmla="*/ 175 w 187"/>
                <a:gd name="T29" fmla="*/ 144 h 210"/>
                <a:gd name="T30" fmla="*/ 133 w 187"/>
                <a:gd name="T31" fmla="*/ 24 h 210"/>
                <a:gd name="T32" fmla="*/ 109 w 187"/>
                <a:gd name="T33" fmla="*/ 12 h 210"/>
                <a:gd name="T34" fmla="*/ 23 w 187"/>
                <a:gd name="T35" fmla="*/ 42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87" h="210">
                  <a:moveTo>
                    <a:pt x="166" y="175"/>
                  </a:moveTo>
                  <a:cubicBezTo>
                    <a:pt x="81" y="205"/>
                    <a:pt x="81" y="205"/>
                    <a:pt x="81" y="205"/>
                  </a:cubicBezTo>
                  <a:cubicBezTo>
                    <a:pt x="67" y="210"/>
                    <a:pt x="51" y="203"/>
                    <a:pt x="47" y="189"/>
                  </a:cubicBezTo>
                  <a:cubicBezTo>
                    <a:pt x="5" y="69"/>
                    <a:pt x="5" y="69"/>
                    <a:pt x="5" y="69"/>
                  </a:cubicBezTo>
                  <a:cubicBezTo>
                    <a:pt x="0" y="55"/>
                    <a:pt x="7" y="40"/>
                    <a:pt x="21" y="35"/>
                  </a:cubicBezTo>
                  <a:cubicBezTo>
                    <a:pt x="107" y="5"/>
                    <a:pt x="107" y="5"/>
                    <a:pt x="107" y="5"/>
                  </a:cubicBezTo>
                  <a:cubicBezTo>
                    <a:pt x="121" y="0"/>
                    <a:pt x="136" y="8"/>
                    <a:pt x="141" y="21"/>
                  </a:cubicBezTo>
                  <a:cubicBezTo>
                    <a:pt x="183" y="141"/>
                    <a:pt x="183" y="141"/>
                    <a:pt x="183" y="141"/>
                  </a:cubicBezTo>
                  <a:cubicBezTo>
                    <a:pt x="187" y="155"/>
                    <a:pt x="180" y="170"/>
                    <a:pt x="166" y="175"/>
                  </a:cubicBezTo>
                  <a:close/>
                  <a:moveTo>
                    <a:pt x="23" y="42"/>
                  </a:moveTo>
                  <a:cubicBezTo>
                    <a:pt x="14" y="46"/>
                    <a:pt x="8" y="57"/>
                    <a:pt x="12" y="66"/>
                  </a:cubicBezTo>
                  <a:cubicBezTo>
                    <a:pt x="54" y="186"/>
                    <a:pt x="54" y="186"/>
                    <a:pt x="54" y="186"/>
                  </a:cubicBezTo>
                  <a:cubicBezTo>
                    <a:pt x="57" y="196"/>
                    <a:pt x="68" y="201"/>
                    <a:pt x="78" y="198"/>
                  </a:cubicBezTo>
                  <a:cubicBezTo>
                    <a:pt x="164" y="168"/>
                    <a:pt x="164" y="168"/>
                    <a:pt x="164" y="168"/>
                  </a:cubicBezTo>
                  <a:cubicBezTo>
                    <a:pt x="174" y="164"/>
                    <a:pt x="179" y="154"/>
                    <a:pt x="175" y="144"/>
                  </a:cubicBezTo>
                  <a:cubicBezTo>
                    <a:pt x="133" y="24"/>
                    <a:pt x="133" y="24"/>
                    <a:pt x="133" y="24"/>
                  </a:cubicBezTo>
                  <a:cubicBezTo>
                    <a:pt x="130" y="14"/>
                    <a:pt x="119" y="9"/>
                    <a:pt x="109" y="12"/>
                  </a:cubicBezTo>
                  <a:lnTo>
                    <a:pt x="23" y="42"/>
                  </a:lnTo>
                  <a:close/>
                </a:path>
              </a:pathLst>
            </a:custGeom>
            <a:solidFill>
              <a:srgbClr val="E8E8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96" name="íŝļïḍè">
              <a:extLst>
                <a:ext uri="{FF2B5EF4-FFF2-40B4-BE49-F238E27FC236}">
                  <a16:creationId xmlns:a16="http://schemas.microsoft.com/office/drawing/2014/main" id="{9948084B-341F-46B5-841A-98B46D05A76A}"/>
                </a:ext>
              </a:extLst>
            </p:cNvPr>
            <p:cNvSpPr/>
            <p:nvPr userDrawn="1"/>
          </p:nvSpPr>
          <p:spPr bwMode="auto">
            <a:xfrm>
              <a:off x="6469063" y="4310063"/>
              <a:ext cx="193675" cy="238125"/>
            </a:xfrm>
            <a:custGeom>
              <a:avLst/>
              <a:gdLst>
                <a:gd name="T0" fmla="*/ 69 w 114"/>
                <a:gd name="T1" fmla="*/ 127 h 141"/>
                <a:gd name="T2" fmla="*/ 114 w 114"/>
                <a:gd name="T3" fmla="*/ 85 h 141"/>
                <a:gd name="T4" fmla="*/ 105 w 114"/>
                <a:gd name="T5" fmla="*/ 81 h 141"/>
                <a:gd name="T6" fmla="*/ 78 w 114"/>
                <a:gd name="T7" fmla="*/ 76 h 141"/>
                <a:gd name="T8" fmla="*/ 69 w 114"/>
                <a:gd name="T9" fmla="*/ 71 h 141"/>
                <a:gd name="T10" fmla="*/ 68 w 114"/>
                <a:gd name="T11" fmla="*/ 73 h 141"/>
                <a:gd name="T12" fmla="*/ 63 w 114"/>
                <a:gd name="T13" fmla="*/ 62 h 141"/>
                <a:gd name="T14" fmla="*/ 64 w 114"/>
                <a:gd name="T15" fmla="*/ 48 h 141"/>
                <a:gd name="T16" fmla="*/ 66 w 114"/>
                <a:gd name="T17" fmla="*/ 34 h 141"/>
                <a:gd name="T18" fmla="*/ 62 w 114"/>
                <a:gd name="T19" fmla="*/ 34 h 141"/>
                <a:gd name="T20" fmla="*/ 28 w 114"/>
                <a:gd name="T21" fmla="*/ 10 h 141"/>
                <a:gd name="T22" fmla="*/ 17 w 114"/>
                <a:gd name="T23" fmla="*/ 49 h 141"/>
                <a:gd name="T24" fmla="*/ 14 w 114"/>
                <a:gd name="T25" fmla="*/ 52 h 141"/>
                <a:gd name="T26" fmla="*/ 24 w 114"/>
                <a:gd name="T27" fmla="*/ 63 h 141"/>
                <a:gd name="T28" fmla="*/ 34 w 114"/>
                <a:gd name="T29" fmla="*/ 72 h 141"/>
                <a:gd name="T30" fmla="*/ 37 w 114"/>
                <a:gd name="T31" fmla="*/ 84 h 141"/>
                <a:gd name="T32" fmla="*/ 34 w 114"/>
                <a:gd name="T33" fmla="*/ 83 h 141"/>
                <a:gd name="T34" fmla="*/ 31 w 114"/>
                <a:gd name="T35" fmla="*/ 93 h 141"/>
                <a:gd name="T36" fmla="*/ 13 w 114"/>
                <a:gd name="T37" fmla="*/ 113 h 141"/>
                <a:gd name="T38" fmla="*/ 8 w 114"/>
                <a:gd name="T39" fmla="*/ 122 h 141"/>
                <a:gd name="T40" fmla="*/ 69 w 114"/>
                <a:gd name="T41" fmla="*/ 127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14" h="141">
                  <a:moveTo>
                    <a:pt x="69" y="127"/>
                  </a:moveTo>
                  <a:cubicBezTo>
                    <a:pt x="110" y="113"/>
                    <a:pt x="114" y="85"/>
                    <a:pt x="114" y="85"/>
                  </a:cubicBezTo>
                  <a:cubicBezTo>
                    <a:pt x="112" y="83"/>
                    <a:pt x="109" y="82"/>
                    <a:pt x="105" y="81"/>
                  </a:cubicBezTo>
                  <a:cubicBezTo>
                    <a:pt x="92" y="78"/>
                    <a:pt x="82" y="78"/>
                    <a:pt x="78" y="76"/>
                  </a:cubicBezTo>
                  <a:cubicBezTo>
                    <a:pt x="73" y="75"/>
                    <a:pt x="69" y="71"/>
                    <a:pt x="69" y="71"/>
                  </a:cubicBezTo>
                  <a:cubicBezTo>
                    <a:pt x="68" y="73"/>
                    <a:pt x="68" y="73"/>
                    <a:pt x="68" y="73"/>
                  </a:cubicBezTo>
                  <a:cubicBezTo>
                    <a:pt x="68" y="73"/>
                    <a:pt x="65" y="69"/>
                    <a:pt x="63" y="62"/>
                  </a:cubicBezTo>
                  <a:cubicBezTo>
                    <a:pt x="63" y="62"/>
                    <a:pt x="66" y="60"/>
                    <a:pt x="64" y="48"/>
                  </a:cubicBezTo>
                  <a:cubicBezTo>
                    <a:pt x="68" y="48"/>
                    <a:pt x="70" y="37"/>
                    <a:pt x="66" y="34"/>
                  </a:cubicBezTo>
                  <a:cubicBezTo>
                    <a:pt x="64" y="32"/>
                    <a:pt x="63" y="33"/>
                    <a:pt x="62" y="34"/>
                  </a:cubicBezTo>
                  <a:cubicBezTo>
                    <a:pt x="61" y="29"/>
                    <a:pt x="57" y="0"/>
                    <a:pt x="28" y="10"/>
                  </a:cubicBezTo>
                  <a:cubicBezTo>
                    <a:pt x="0" y="20"/>
                    <a:pt x="14" y="45"/>
                    <a:pt x="17" y="49"/>
                  </a:cubicBezTo>
                  <a:cubicBezTo>
                    <a:pt x="16" y="49"/>
                    <a:pt x="14" y="50"/>
                    <a:pt x="14" y="52"/>
                  </a:cubicBezTo>
                  <a:cubicBezTo>
                    <a:pt x="13" y="57"/>
                    <a:pt x="21" y="65"/>
                    <a:pt x="24" y="63"/>
                  </a:cubicBezTo>
                  <a:cubicBezTo>
                    <a:pt x="30" y="72"/>
                    <a:pt x="34" y="72"/>
                    <a:pt x="34" y="72"/>
                  </a:cubicBezTo>
                  <a:cubicBezTo>
                    <a:pt x="37" y="79"/>
                    <a:pt x="37" y="84"/>
                    <a:pt x="37" y="84"/>
                  </a:cubicBezTo>
                  <a:cubicBezTo>
                    <a:pt x="34" y="83"/>
                    <a:pt x="34" y="83"/>
                    <a:pt x="34" y="83"/>
                  </a:cubicBezTo>
                  <a:cubicBezTo>
                    <a:pt x="34" y="83"/>
                    <a:pt x="34" y="88"/>
                    <a:pt x="31" y="93"/>
                  </a:cubicBezTo>
                  <a:cubicBezTo>
                    <a:pt x="29" y="97"/>
                    <a:pt x="21" y="103"/>
                    <a:pt x="13" y="113"/>
                  </a:cubicBezTo>
                  <a:cubicBezTo>
                    <a:pt x="11" y="117"/>
                    <a:pt x="9" y="119"/>
                    <a:pt x="8" y="122"/>
                  </a:cubicBezTo>
                  <a:cubicBezTo>
                    <a:pt x="8" y="122"/>
                    <a:pt x="29" y="141"/>
                    <a:pt x="69" y="127"/>
                  </a:cubicBezTo>
                  <a:close/>
                </a:path>
              </a:pathLst>
            </a:custGeom>
            <a:solidFill>
              <a:srgbClr val="4675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97" name="îṩḷiḑe">
              <a:extLst>
                <a:ext uri="{FF2B5EF4-FFF2-40B4-BE49-F238E27FC236}">
                  <a16:creationId xmlns:a16="http://schemas.microsoft.com/office/drawing/2014/main" id="{EBC6BBF0-F623-4198-A742-5B15A41C40D1}"/>
                </a:ext>
              </a:extLst>
            </p:cNvPr>
            <p:cNvSpPr/>
            <p:nvPr userDrawn="1"/>
          </p:nvSpPr>
          <p:spPr bwMode="auto">
            <a:xfrm>
              <a:off x="6696075" y="4162425"/>
              <a:ext cx="255588" cy="111125"/>
            </a:xfrm>
            <a:custGeom>
              <a:avLst/>
              <a:gdLst>
                <a:gd name="T0" fmla="*/ 161 w 161"/>
                <a:gd name="T1" fmla="*/ 15 h 70"/>
                <a:gd name="T2" fmla="*/ 6 w 161"/>
                <a:gd name="T3" fmla="*/ 70 h 70"/>
                <a:gd name="T4" fmla="*/ 0 w 161"/>
                <a:gd name="T5" fmla="*/ 54 h 70"/>
                <a:gd name="T6" fmla="*/ 156 w 161"/>
                <a:gd name="T7" fmla="*/ 0 h 70"/>
                <a:gd name="T8" fmla="*/ 161 w 161"/>
                <a:gd name="T9" fmla="*/ 15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1" h="70">
                  <a:moveTo>
                    <a:pt x="161" y="15"/>
                  </a:moveTo>
                  <a:lnTo>
                    <a:pt x="6" y="70"/>
                  </a:lnTo>
                  <a:lnTo>
                    <a:pt x="0" y="54"/>
                  </a:lnTo>
                  <a:lnTo>
                    <a:pt x="156" y="0"/>
                  </a:lnTo>
                  <a:lnTo>
                    <a:pt x="161" y="15"/>
                  </a:lnTo>
                  <a:close/>
                </a:path>
              </a:pathLst>
            </a:custGeom>
            <a:solidFill>
              <a:srgbClr val="E8E8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98" name="iṩļîďè">
              <a:extLst>
                <a:ext uri="{FF2B5EF4-FFF2-40B4-BE49-F238E27FC236}">
                  <a16:creationId xmlns:a16="http://schemas.microsoft.com/office/drawing/2014/main" id="{167F8AF1-401F-4AFB-8C9C-D7468BA151D0}"/>
                </a:ext>
              </a:extLst>
            </p:cNvPr>
            <p:cNvSpPr/>
            <p:nvPr userDrawn="1"/>
          </p:nvSpPr>
          <p:spPr bwMode="auto">
            <a:xfrm>
              <a:off x="7200900" y="4546600"/>
              <a:ext cx="171450" cy="82550"/>
            </a:xfrm>
            <a:custGeom>
              <a:avLst/>
              <a:gdLst>
                <a:gd name="T0" fmla="*/ 108 w 108"/>
                <a:gd name="T1" fmla="*/ 16 h 52"/>
                <a:gd name="T2" fmla="*/ 5 w 108"/>
                <a:gd name="T3" fmla="*/ 52 h 52"/>
                <a:gd name="T4" fmla="*/ 0 w 108"/>
                <a:gd name="T5" fmla="*/ 36 h 52"/>
                <a:gd name="T6" fmla="*/ 103 w 108"/>
                <a:gd name="T7" fmla="*/ 0 h 52"/>
                <a:gd name="T8" fmla="*/ 108 w 108"/>
                <a:gd name="T9" fmla="*/ 16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8" h="52">
                  <a:moveTo>
                    <a:pt x="108" y="16"/>
                  </a:moveTo>
                  <a:lnTo>
                    <a:pt x="5" y="52"/>
                  </a:lnTo>
                  <a:lnTo>
                    <a:pt x="0" y="36"/>
                  </a:lnTo>
                  <a:lnTo>
                    <a:pt x="103" y="0"/>
                  </a:lnTo>
                  <a:lnTo>
                    <a:pt x="108" y="16"/>
                  </a:lnTo>
                  <a:close/>
                </a:path>
              </a:pathLst>
            </a:custGeom>
            <a:solidFill>
              <a:srgbClr val="E8E8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99" name="ïŝḻíďé">
              <a:extLst>
                <a:ext uri="{FF2B5EF4-FFF2-40B4-BE49-F238E27FC236}">
                  <a16:creationId xmlns:a16="http://schemas.microsoft.com/office/drawing/2014/main" id="{8736D078-FF60-4306-998C-CAAC9856A7DA}"/>
                </a:ext>
              </a:extLst>
            </p:cNvPr>
            <p:cNvSpPr/>
            <p:nvPr userDrawn="1"/>
          </p:nvSpPr>
          <p:spPr bwMode="auto">
            <a:xfrm>
              <a:off x="7224713" y="4616450"/>
              <a:ext cx="171450" cy="82550"/>
            </a:xfrm>
            <a:custGeom>
              <a:avLst/>
              <a:gdLst>
                <a:gd name="T0" fmla="*/ 108 w 108"/>
                <a:gd name="T1" fmla="*/ 16 h 52"/>
                <a:gd name="T2" fmla="*/ 6 w 108"/>
                <a:gd name="T3" fmla="*/ 52 h 52"/>
                <a:gd name="T4" fmla="*/ 0 w 108"/>
                <a:gd name="T5" fmla="*/ 36 h 52"/>
                <a:gd name="T6" fmla="*/ 103 w 108"/>
                <a:gd name="T7" fmla="*/ 0 h 52"/>
                <a:gd name="T8" fmla="*/ 108 w 108"/>
                <a:gd name="T9" fmla="*/ 16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8" h="52">
                  <a:moveTo>
                    <a:pt x="108" y="16"/>
                  </a:moveTo>
                  <a:lnTo>
                    <a:pt x="6" y="52"/>
                  </a:lnTo>
                  <a:lnTo>
                    <a:pt x="0" y="36"/>
                  </a:lnTo>
                  <a:lnTo>
                    <a:pt x="103" y="0"/>
                  </a:lnTo>
                  <a:lnTo>
                    <a:pt x="108" y="16"/>
                  </a:lnTo>
                  <a:close/>
                </a:path>
              </a:pathLst>
            </a:custGeom>
            <a:solidFill>
              <a:srgbClr val="E8E8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00" name="îṧlíďê">
              <a:extLst>
                <a:ext uri="{FF2B5EF4-FFF2-40B4-BE49-F238E27FC236}">
                  <a16:creationId xmlns:a16="http://schemas.microsoft.com/office/drawing/2014/main" id="{67BF51AB-89F4-432A-87B4-542145546480}"/>
                </a:ext>
              </a:extLst>
            </p:cNvPr>
            <p:cNvSpPr/>
            <p:nvPr userDrawn="1"/>
          </p:nvSpPr>
          <p:spPr bwMode="auto">
            <a:xfrm>
              <a:off x="7250113" y="4689475"/>
              <a:ext cx="171450" cy="80963"/>
            </a:xfrm>
            <a:custGeom>
              <a:avLst/>
              <a:gdLst>
                <a:gd name="T0" fmla="*/ 108 w 108"/>
                <a:gd name="T1" fmla="*/ 15 h 51"/>
                <a:gd name="T2" fmla="*/ 5 w 108"/>
                <a:gd name="T3" fmla="*/ 51 h 51"/>
                <a:gd name="T4" fmla="*/ 0 w 108"/>
                <a:gd name="T5" fmla="*/ 36 h 51"/>
                <a:gd name="T6" fmla="*/ 103 w 108"/>
                <a:gd name="T7" fmla="*/ 0 h 51"/>
                <a:gd name="T8" fmla="*/ 108 w 108"/>
                <a:gd name="T9" fmla="*/ 15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8" h="51">
                  <a:moveTo>
                    <a:pt x="108" y="15"/>
                  </a:moveTo>
                  <a:lnTo>
                    <a:pt x="5" y="51"/>
                  </a:lnTo>
                  <a:lnTo>
                    <a:pt x="0" y="36"/>
                  </a:lnTo>
                  <a:lnTo>
                    <a:pt x="103" y="0"/>
                  </a:lnTo>
                  <a:lnTo>
                    <a:pt x="108" y="15"/>
                  </a:lnTo>
                  <a:close/>
                </a:path>
              </a:pathLst>
            </a:custGeom>
            <a:solidFill>
              <a:srgbClr val="E8E8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01" name="islíďe">
              <a:extLst>
                <a:ext uri="{FF2B5EF4-FFF2-40B4-BE49-F238E27FC236}">
                  <a16:creationId xmlns:a16="http://schemas.microsoft.com/office/drawing/2014/main" id="{7EEB71D0-9323-4A23-96C1-CEA89276318E}"/>
                </a:ext>
              </a:extLst>
            </p:cNvPr>
            <p:cNvSpPr/>
            <p:nvPr userDrawn="1"/>
          </p:nvSpPr>
          <p:spPr bwMode="auto">
            <a:xfrm>
              <a:off x="6718300" y="4225925"/>
              <a:ext cx="260350" cy="111125"/>
            </a:xfrm>
            <a:custGeom>
              <a:avLst/>
              <a:gdLst>
                <a:gd name="T0" fmla="*/ 164 w 164"/>
                <a:gd name="T1" fmla="*/ 14 h 70"/>
                <a:gd name="T2" fmla="*/ 5 w 164"/>
                <a:gd name="T3" fmla="*/ 70 h 70"/>
                <a:gd name="T4" fmla="*/ 0 w 164"/>
                <a:gd name="T5" fmla="*/ 55 h 70"/>
                <a:gd name="T6" fmla="*/ 159 w 164"/>
                <a:gd name="T7" fmla="*/ 0 h 70"/>
                <a:gd name="T8" fmla="*/ 164 w 164"/>
                <a:gd name="T9" fmla="*/ 14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4" h="70">
                  <a:moveTo>
                    <a:pt x="164" y="14"/>
                  </a:moveTo>
                  <a:lnTo>
                    <a:pt x="5" y="70"/>
                  </a:lnTo>
                  <a:lnTo>
                    <a:pt x="0" y="55"/>
                  </a:lnTo>
                  <a:lnTo>
                    <a:pt x="159" y="0"/>
                  </a:lnTo>
                  <a:lnTo>
                    <a:pt x="164" y="14"/>
                  </a:lnTo>
                  <a:close/>
                </a:path>
              </a:pathLst>
            </a:custGeom>
            <a:solidFill>
              <a:srgbClr val="E8E8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02" name="îṡ1íḑè">
              <a:extLst>
                <a:ext uri="{FF2B5EF4-FFF2-40B4-BE49-F238E27FC236}">
                  <a16:creationId xmlns:a16="http://schemas.microsoft.com/office/drawing/2014/main" id="{237168FC-5597-4322-A7DA-986F87DF2FAB}"/>
                </a:ext>
              </a:extLst>
            </p:cNvPr>
            <p:cNvSpPr/>
            <p:nvPr userDrawn="1"/>
          </p:nvSpPr>
          <p:spPr bwMode="auto">
            <a:xfrm>
              <a:off x="6745288" y="4211638"/>
              <a:ext cx="514350" cy="201613"/>
            </a:xfrm>
            <a:custGeom>
              <a:avLst/>
              <a:gdLst>
                <a:gd name="T0" fmla="*/ 324 w 324"/>
                <a:gd name="T1" fmla="*/ 15 h 127"/>
                <a:gd name="T2" fmla="*/ 5 w 324"/>
                <a:gd name="T3" fmla="*/ 127 h 127"/>
                <a:gd name="T4" fmla="*/ 0 w 324"/>
                <a:gd name="T5" fmla="*/ 112 h 127"/>
                <a:gd name="T6" fmla="*/ 319 w 324"/>
                <a:gd name="T7" fmla="*/ 0 h 127"/>
                <a:gd name="T8" fmla="*/ 324 w 324"/>
                <a:gd name="T9" fmla="*/ 15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4" h="127">
                  <a:moveTo>
                    <a:pt x="324" y="15"/>
                  </a:moveTo>
                  <a:lnTo>
                    <a:pt x="5" y="127"/>
                  </a:lnTo>
                  <a:lnTo>
                    <a:pt x="0" y="112"/>
                  </a:lnTo>
                  <a:lnTo>
                    <a:pt x="319" y="0"/>
                  </a:lnTo>
                  <a:lnTo>
                    <a:pt x="324" y="15"/>
                  </a:lnTo>
                  <a:close/>
                </a:path>
              </a:pathLst>
            </a:custGeom>
            <a:solidFill>
              <a:srgbClr val="E8E8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03" name="ïṩļiḍé">
              <a:extLst>
                <a:ext uri="{FF2B5EF4-FFF2-40B4-BE49-F238E27FC236}">
                  <a16:creationId xmlns:a16="http://schemas.microsoft.com/office/drawing/2014/main" id="{7B159C1D-E810-4E46-A626-B75438D2E73A}"/>
                </a:ext>
              </a:extLst>
            </p:cNvPr>
            <p:cNvSpPr/>
            <p:nvPr userDrawn="1"/>
          </p:nvSpPr>
          <p:spPr bwMode="auto">
            <a:xfrm>
              <a:off x="6718300" y="4924425"/>
              <a:ext cx="781050" cy="295275"/>
            </a:xfrm>
            <a:custGeom>
              <a:avLst/>
              <a:gdLst>
                <a:gd name="T0" fmla="*/ 492 w 492"/>
                <a:gd name="T1" fmla="*/ 16 h 186"/>
                <a:gd name="T2" fmla="*/ 5 w 492"/>
                <a:gd name="T3" fmla="*/ 186 h 186"/>
                <a:gd name="T4" fmla="*/ 0 w 492"/>
                <a:gd name="T5" fmla="*/ 170 h 186"/>
                <a:gd name="T6" fmla="*/ 487 w 492"/>
                <a:gd name="T7" fmla="*/ 0 h 186"/>
                <a:gd name="T8" fmla="*/ 492 w 492"/>
                <a:gd name="T9" fmla="*/ 16 h 1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2" h="186">
                  <a:moveTo>
                    <a:pt x="492" y="16"/>
                  </a:moveTo>
                  <a:lnTo>
                    <a:pt x="5" y="186"/>
                  </a:lnTo>
                  <a:lnTo>
                    <a:pt x="0" y="170"/>
                  </a:lnTo>
                  <a:lnTo>
                    <a:pt x="487" y="0"/>
                  </a:lnTo>
                  <a:lnTo>
                    <a:pt x="492" y="16"/>
                  </a:lnTo>
                  <a:close/>
                </a:path>
              </a:pathLst>
            </a:custGeom>
            <a:solidFill>
              <a:srgbClr val="E8E8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04" name="íṧḷîḍê">
              <a:extLst>
                <a:ext uri="{FF2B5EF4-FFF2-40B4-BE49-F238E27FC236}">
                  <a16:creationId xmlns:a16="http://schemas.microsoft.com/office/drawing/2014/main" id="{DB7F7B24-9F0F-48CD-8945-EF61DB0BE2A3}"/>
                </a:ext>
              </a:extLst>
            </p:cNvPr>
            <p:cNvSpPr/>
            <p:nvPr userDrawn="1"/>
          </p:nvSpPr>
          <p:spPr bwMode="auto">
            <a:xfrm>
              <a:off x="6524625" y="4370388"/>
              <a:ext cx="781050" cy="295275"/>
            </a:xfrm>
            <a:custGeom>
              <a:avLst/>
              <a:gdLst>
                <a:gd name="T0" fmla="*/ 492 w 492"/>
                <a:gd name="T1" fmla="*/ 16 h 186"/>
                <a:gd name="T2" fmla="*/ 5 w 492"/>
                <a:gd name="T3" fmla="*/ 186 h 186"/>
                <a:gd name="T4" fmla="*/ 0 w 492"/>
                <a:gd name="T5" fmla="*/ 170 h 186"/>
                <a:gd name="T6" fmla="*/ 486 w 492"/>
                <a:gd name="T7" fmla="*/ 0 h 186"/>
                <a:gd name="T8" fmla="*/ 492 w 492"/>
                <a:gd name="T9" fmla="*/ 16 h 1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2" h="186">
                  <a:moveTo>
                    <a:pt x="492" y="16"/>
                  </a:moveTo>
                  <a:lnTo>
                    <a:pt x="5" y="186"/>
                  </a:lnTo>
                  <a:lnTo>
                    <a:pt x="0" y="170"/>
                  </a:lnTo>
                  <a:lnTo>
                    <a:pt x="486" y="0"/>
                  </a:lnTo>
                  <a:lnTo>
                    <a:pt x="492" y="16"/>
                  </a:lnTo>
                  <a:close/>
                </a:path>
              </a:pathLst>
            </a:custGeom>
            <a:solidFill>
              <a:srgbClr val="E8E8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05" name="îsḷïḋé">
              <a:extLst>
                <a:ext uri="{FF2B5EF4-FFF2-40B4-BE49-F238E27FC236}">
                  <a16:creationId xmlns:a16="http://schemas.microsoft.com/office/drawing/2014/main" id="{29E7A405-353E-4BD4-A0F6-84F53DB21EDA}"/>
                </a:ext>
              </a:extLst>
            </p:cNvPr>
            <p:cNvSpPr/>
            <p:nvPr userDrawn="1"/>
          </p:nvSpPr>
          <p:spPr bwMode="auto">
            <a:xfrm>
              <a:off x="6745288" y="5000625"/>
              <a:ext cx="781050" cy="293688"/>
            </a:xfrm>
            <a:custGeom>
              <a:avLst/>
              <a:gdLst>
                <a:gd name="T0" fmla="*/ 492 w 492"/>
                <a:gd name="T1" fmla="*/ 14 h 185"/>
                <a:gd name="T2" fmla="*/ 5 w 492"/>
                <a:gd name="T3" fmla="*/ 185 h 185"/>
                <a:gd name="T4" fmla="*/ 0 w 492"/>
                <a:gd name="T5" fmla="*/ 170 h 185"/>
                <a:gd name="T6" fmla="*/ 487 w 492"/>
                <a:gd name="T7" fmla="*/ 0 h 185"/>
                <a:gd name="T8" fmla="*/ 492 w 492"/>
                <a:gd name="T9" fmla="*/ 14 h 1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2" h="185">
                  <a:moveTo>
                    <a:pt x="492" y="14"/>
                  </a:moveTo>
                  <a:lnTo>
                    <a:pt x="5" y="185"/>
                  </a:lnTo>
                  <a:lnTo>
                    <a:pt x="0" y="170"/>
                  </a:lnTo>
                  <a:lnTo>
                    <a:pt x="487" y="0"/>
                  </a:lnTo>
                  <a:lnTo>
                    <a:pt x="492" y="14"/>
                  </a:lnTo>
                  <a:close/>
                </a:path>
              </a:pathLst>
            </a:custGeom>
            <a:solidFill>
              <a:srgbClr val="E8E8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06" name="iṩľïdè">
              <a:extLst>
                <a:ext uri="{FF2B5EF4-FFF2-40B4-BE49-F238E27FC236}">
                  <a16:creationId xmlns:a16="http://schemas.microsoft.com/office/drawing/2014/main" id="{86E6B0B1-2C07-4967-9A93-A7E659450F8B}"/>
                </a:ext>
              </a:extLst>
            </p:cNvPr>
            <p:cNvSpPr/>
            <p:nvPr userDrawn="1"/>
          </p:nvSpPr>
          <p:spPr bwMode="auto">
            <a:xfrm>
              <a:off x="6770688" y="4286250"/>
              <a:ext cx="515938" cy="200025"/>
            </a:xfrm>
            <a:custGeom>
              <a:avLst/>
              <a:gdLst>
                <a:gd name="T0" fmla="*/ 325 w 325"/>
                <a:gd name="T1" fmla="*/ 15 h 126"/>
                <a:gd name="T2" fmla="*/ 5 w 325"/>
                <a:gd name="T3" fmla="*/ 126 h 126"/>
                <a:gd name="T4" fmla="*/ 0 w 325"/>
                <a:gd name="T5" fmla="*/ 111 h 126"/>
                <a:gd name="T6" fmla="*/ 320 w 325"/>
                <a:gd name="T7" fmla="*/ 0 h 126"/>
                <a:gd name="T8" fmla="*/ 325 w 325"/>
                <a:gd name="T9" fmla="*/ 15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5" h="126">
                  <a:moveTo>
                    <a:pt x="325" y="15"/>
                  </a:moveTo>
                  <a:lnTo>
                    <a:pt x="5" y="126"/>
                  </a:lnTo>
                  <a:lnTo>
                    <a:pt x="0" y="111"/>
                  </a:lnTo>
                  <a:lnTo>
                    <a:pt x="320" y="0"/>
                  </a:lnTo>
                  <a:lnTo>
                    <a:pt x="325" y="15"/>
                  </a:lnTo>
                  <a:close/>
                </a:path>
              </a:pathLst>
            </a:custGeom>
            <a:solidFill>
              <a:srgbClr val="E8E8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07" name="ïṧļídé">
              <a:extLst>
                <a:ext uri="{FF2B5EF4-FFF2-40B4-BE49-F238E27FC236}">
                  <a16:creationId xmlns:a16="http://schemas.microsoft.com/office/drawing/2014/main" id="{7EA4F51C-23C6-49EF-BBF3-E367A6751C8E}"/>
                </a:ext>
              </a:extLst>
            </p:cNvPr>
            <p:cNvSpPr/>
            <p:nvPr userDrawn="1"/>
          </p:nvSpPr>
          <p:spPr bwMode="auto">
            <a:xfrm>
              <a:off x="6761163" y="2414588"/>
              <a:ext cx="369888" cy="715963"/>
            </a:xfrm>
            <a:prstGeom prst="rect">
              <a:avLst/>
            </a:prstGeom>
            <a:solidFill>
              <a:srgbClr val="E8E8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08" name="íṥ1íḋè">
              <a:extLst>
                <a:ext uri="{FF2B5EF4-FFF2-40B4-BE49-F238E27FC236}">
                  <a16:creationId xmlns:a16="http://schemas.microsoft.com/office/drawing/2014/main" id="{F15767DD-38AE-4B59-B865-90A9CBE3A23A}"/>
                </a:ext>
              </a:extLst>
            </p:cNvPr>
            <p:cNvSpPr/>
            <p:nvPr userDrawn="1"/>
          </p:nvSpPr>
          <p:spPr bwMode="auto">
            <a:xfrm>
              <a:off x="7026275" y="3035300"/>
              <a:ext cx="119063" cy="104775"/>
            </a:xfrm>
            <a:custGeom>
              <a:avLst/>
              <a:gdLst>
                <a:gd name="T0" fmla="*/ 62 w 70"/>
                <a:gd name="T1" fmla="*/ 0 h 62"/>
                <a:gd name="T2" fmla="*/ 0 w 70"/>
                <a:gd name="T3" fmla="*/ 57 h 62"/>
                <a:gd name="T4" fmla="*/ 13 w 70"/>
                <a:gd name="T5" fmla="*/ 62 h 62"/>
                <a:gd name="T6" fmla="*/ 38 w 70"/>
                <a:gd name="T7" fmla="*/ 39 h 62"/>
                <a:gd name="T8" fmla="*/ 50 w 70"/>
                <a:gd name="T9" fmla="*/ 53 h 62"/>
                <a:gd name="T10" fmla="*/ 64 w 70"/>
                <a:gd name="T11" fmla="*/ 4 h 62"/>
                <a:gd name="T12" fmla="*/ 62 w 70"/>
                <a:gd name="T13" fmla="*/ 0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0" h="62">
                  <a:moveTo>
                    <a:pt x="62" y="0"/>
                  </a:moveTo>
                  <a:cubicBezTo>
                    <a:pt x="0" y="57"/>
                    <a:pt x="0" y="57"/>
                    <a:pt x="0" y="57"/>
                  </a:cubicBezTo>
                  <a:cubicBezTo>
                    <a:pt x="4" y="59"/>
                    <a:pt x="9" y="61"/>
                    <a:pt x="13" y="62"/>
                  </a:cubicBezTo>
                  <a:cubicBezTo>
                    <a:pt x="38" y="39"/>
                    <a:pt x="38" y="39"/>
                    <a:pt x="38" y="39"/>
                  </a:cubicBezTo>
                  <a:cubicBezTo>
                    <a:pt x="50" y="53"/>
                    <a:pt x="50" y="53"/>
                    <a:pt x="50" y="53"/>
                  </a:cubicBezTo>
                  <a:cubicBezTo>
                    <a:pt x="64" y="41"/>
                    <a:pt x="70" y="22"/>
                    <a:pt x="64" y="4"/>
                  </a:cubicBezTo>
                  <a:cubicBezTo>
                    <a:pt x="62" y="0"/>
                    <a:pt x="62" y="0"/>
                    <a:pt x="62" y="0"/>
                  </a:cubicBezTo>
                </a:path>
              </a:pathLst>
            </a:custGeom>
            <a:solidFill>
              <a:srgbClr val="E3E6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09" name="iṡľîďe">
              <a:extLst>
                <a:ext uri="{FF2B5EF4-FFF2-40B4-BE49-F238E27FC236}">
                  <a16:creationId xmlns:a16="http://schemas.microsoft.com/office/drawing/2014/main" id="{9E16C307-8534-4EA5-99E3-221F31028DCA}"/>
                </a:ext>
              </a:extLst>
            </p:cNvPr>
            <p:cNvSpPr/>
            <p:nvPr userDrawn="1"/>
          </p:nvSpPr>
          <p:spPr bwMode="auto">
            <a:xfrm>
              <a:off x="7048500" y="3100388"/>
              <a:ext cx="61913" cy="41275"/>
            </a:xfrm>
            <a:custGeom>
              <a:avLst/>
              <a:gdLst>
                <a:gd name="T0" fmla="*/ 25 w 37"/>
                <a:gd name="T1" fmla="*/ 0 h 24"/>
                <a:gd name="T2" fmla="*/ 0 w 37"/>
                <a:gd name="T3" fmla="*/ 23 h 24"/>
                <a:gd name="T4" fmla="*/ 9 w 37"/>
                <a:gd name="T5" fmla="*/ 24 h 24"/>
                <a:gd name="T6" fmla="*/ 23 w 37"/>
                <a:gd name="T7" fmla="*/ 21 h 24"/>
                <a:gd name="T8" fmla="*/ 37 w 37"/>
                <a:gd name="T9" fmla="*/ 14 h 24"/>
                <a:gd name="T10" fmla="*/ 25 w 37"/>
                <a:gd name="T11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7" h="24">
                  <a:moveTo>
                    <a:pt x="25" y="0"/>
                  </a:moveTo>
                  <a:cubicBezTo>
                    <a:pt x="0" y="23"/>
                    <a:pt x="0" y="23"/>
                    <a:pt x="0" y="23"/>
                  </a:cubicBezTo>
                  <a:cubicBezTo>
                    <a:pt x="3" y="24"/>
                    <a:pt x="6" y="24"/>
                    <a:pt x="9" y="24"/>
                  </a:cubicBezTo>
                  <a:cubicBezTo>
                    <a:pt x="14" y="24"/>
                    <a:pt x="19" y="23"/>
                    <a:pt x="23" y="21"/>
                  </a:cubicBezTo>
                  <a:cubicBezTo>
                    <a:pt x="29" y="20"/>
                    <a:pt x="33" y="17"/>
                    <a:pt x="37" y="14"/>
                  </a:cubicBezTo>
                  <a:cubicBezTo>
                    <a:pt x="25" y="0"/>
                    <a:pt x="25" y="0"/>
                    <a:pt x="25" y="0"/>
                  </a:cubicBezTo>
                </a:path>
              </a:pathLst>
            </a:custGeom>
            <a:solidFill>
              <a:srgbClr val="E86D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10" name="iṥḷíḓé">
              <a:extLst>
                <a:ext uri="{FF2B5EF4-FFF2-40B4-BE49-F238E27FC236}">
                  <a16:creationId xmlns:a16="http://schemas.microsoft.com/office/drawing/2014/main" id="{34FD141D-42A6-4134-9EB3-BB3B33D74A03}"/>
                </a:ext>
              </a:extLst>
            </p:cNvPr>
            <p:cNvSpPr/>
            <p:nvPr userDrawn="1"/>
          </p:nvSpPr>
          <p:spPr bwMode="auto">
            <a:xfrm>
              <a:off x="6740525" y="2408238"/>
              <a:ext cx="193675" cy="122238"/>
            </a:xfrm>
            <a:custGeom>
              <a:avLst/>
              <a:gdLst>
                <a:gd name="T0" fmla="*/ 109 w 122"/>
                <a:gd name="T1" fmla="*/ 0 h 77"/>
                <a:gd name="T2" fmla="*/ 0 w 122"/>
                <a:gd name="T3" fmla="*/ 38 h 77"/>
                <a:gd name="T4" fmla="*/ 13 w 122"/>
                <a:gd name="T5" fmla="*/ 77 h 77"/>
                <a:gd name="T6" fmla="*/ 122 w 122"/>
                <a:gd name="T7" fmla="*/ 38 h 77"/>
                <a:gd name="T8" fmla="*/ 109 w 122"/>
                <a:gd name="T9" fmla="*/ 0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2" h="77">
                  <a:moveTo>
                    <a:pt x="109" y="0"/>
                  </a:moveTo>
                  <a:lnTo>
                    <a:pt x="0" y="38"/>
                  </a:lnTo>
                  <a:lnTo>
                    <a:pt x="13" y="77"/>
                  </a:lnTo>
                  <a:lnTo>
                    <a:pt x="122" y="38"/>
                  </a:lnTo>
                  <a:lnTo>
                    <a:pt x="109" y="0"/>
                  </a:lnTo>
                  <a:close/>
                </a:path>
              </a:pathLst>
            </a:custGeom>
            <a:solidFill>
              <a:srgbClr val="2854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11" name="íṧ1íḋe">
              <a:extLst>
                <a:ext uri="{FF2B5EF4-FFF2-40B4-BE49-F238E27FC236}">
                  <a16:creationId xmlns:a16="http://schemas.microsoft.com/office/drawing/2014/main" id="{601FA141-B879-49F2-9480-FC5CBDCF657D}"/>
                </a:ext>
              </a:extLst>
            </p:cNvPr>
            <p:cNvSpPr/>
            <p:nvPr userDrawn="1"/>
          </p:nvSpPr>
          <p:spPr bwMode="auto">
            <a:xfrm>
              <a:off x="6746875" y="2463800"/>
              <a:ext cx="28575" cy="65088"/>
            </a:xfrm>
            <a:custGeom>
              <a:avLst/>
              <a:gdLst>
                <a:gd name="T0" fmla="*/ 5 w 18"/>
                <a:gd name="T1" fmla="*/ 0 h 41"/>
                <a:gd name="T2" fmla="*/ 0 w 18"/>
                <a:gd name="T3" fmla="*/ 1 h 41"/>
                <a:gd name="T4" fmla="*/ 13 w 18"/>
                <a:gd name="T5" fmla="*/ 41 h 41"/>
                <a:gd name="T6" fmla="*/ 18 w 18"/>
                <a:gd name="T7" fmla="*/ 39 h 41"/>
                <a:gd name="T8" fmla="*/ 5 w 18"/>
                <a:gd name="T9" fmla="*/ 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41">
                  <a:moveTo>
                    <a:pt x="5" y="0"/>
                  </a:moveTo>
                  <a:lnTo>
                    <a:pt x="0" y="1"/>
                  </a:lnTo>
                  <a:lnTo>
                    <a:pt x="13" y="41"/>
                  </a:lnTo>
                  <a:lnTo>
                    <a:pt x="18" y="39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306F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12" name="ïsľiḍé">
              <a:extLst>
                <a:ext uri="{FF2B5EF4-FFF2-40B4-BE49-F238E27FC236}">
                  <a16:creationId xmlns:a16="http://schemas.microsoft.com/office/drawing/2014/main" id="{0401E307-D1F1-4936-9814-8542D9C6292C}"/>
                </a:ext>
              </a:extLst>
            </p:cNvPr>
            <p:cNvSpPr/>
            <p:nvPr userDrawn="1"/>
          </p:nvSpPr>
          <p:spPr bwMode="auto">
            <a:xfrm>
              <a:off x="6764338" y="2457450"/>
              <a:ext cx="28575" cy="63500"/>
            </a:xfrm>
            <a:custGeom>
              <a:avLst/>
              <a:gdLst>
                <a:gd name="T0" fmla="*/ 5 w 18"/>
                <a:gd name="T1" fmla="*/ 0 h 40"/>
                <a:gd name="T2" fmla="*/ 0 w 18"/>
                <a:gd name="T3" fmla="*/ 2 h 40"/>
                <a:gd name="T4" fmla="*/ 13 w 18"/>
                <a:gd name="T5" fmla="*/ 40 h 40"/>
                <a:gd name="T6" fmla="*/ 18 w 18"/>
                <a:gd name="T7" fmla="*/ 38 h 40"/>
                <a:gd name="T8" fmla="*/ 5 w 18"/>
                <a:gd name="T9" fmla="*/ 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40">
                  <a:moveTo>
                    <a:pt x="5" y="0"/>
                  </a:moveTo>
                  <a:lnTo>
                    <a:pt x="0" y="2"/>
                  </a:lnTo>
                  <a:lnTo>
                    <a:pt x="13" y="40"/>
                  </a:lnTo>
                  <a:lnTo>
                    <a:pt x="18" y="38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306F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13" name="ïşḷiḋê">
              <a:extLst>
                <a:ext uri="{FF2B5EF4-FFF2-40B4-BE49-F238E27FC236}">
                  <a16:creationId xmlns:a16="http://schemas.microsoft.com/office/drawing/2014/main" id="{7201721A-4895-4F57-AC93-E0665CBFE2B3}"/>
                </a:ext>
              </a:extLst>
            </p:cNvPr>
            <p:cNvSpPr/>
            <p:nvPr userDrawn="1"/>
          </p:nvSpPr>
          <p:spPr bwMode="auto">
            <a:xfrm>
              <a:off x="6780213" y="2452688"/>
              <a:ext cx="30163" cy="63500"/>
            </a:xfrm>
            <a:custGeom>
              <a:avLst/>
              <a:gdLst>
                <a:gd name="T0" fmla="*/ 6 w 19"/>
                <a:gd name="T1" fmla="*/ 0 h 40"/>
                <a:gd name="T2" fmla="*/ 0 w 19"/>
                <a:gd name="T3" fmla="*/ 1 h 40"/>
                <a:gd name="T4" fmla="*/ 14 w 19"/>
                <a:gd name="T5" fmla="*/ 40 h 40"/>
                <a:gd name="T6" fmla="*/ 19 w 19"/>
                <a:gd name="T7" fmla="*/ 38 h 40"/>
                <a:gd name="T8" fmla="*/ 6 w 19"/>
                <a:gd name="T9" fmla="*/ 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40">
                  <a:moveTo>
                    <a:pt x="6" y="0"/>
                  </a:moveTo>
                  <a:lnTo>
                    <a:pt x="0" y="1"/>
                  </a:lnTo>
                  <a:lnTo>
                    <a:pt x="14" y="40"/>
                  </a:lnTo>
                  <a:lnTo>
                    <a:pt x="19" y="38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306F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14" name="ï$ḻíḓê">
              <a:extLst>
                <a:ext uri="{FF2B5EF4-FFF2-40B4-BE49-F238E27FC236}">
                  <a16:creationId xmlns:a16="http://schemas.microsoft.com/office/drawing/2014/main" id="{497286E0-E9DE-4DE5-BBA2-ABDD672A8AC4}"/>
                </a:ext>
              </a:extLst>
            </p:cNvPr>
            <p:cNvSpPr/>
            <p:nvPr userDrawn="1"/>
          </p:nvSpPr>
          <p:spPr bwMode="auto">
            <a:xfrm>
              <a:off x="6797675" y="2446338"/>
              <a:ext cx="30163" cy="63500"/>
            </a:xfrm>
            <a:custGeom>
              <a:avLst/>
              <a:gdLst>
                <a:gd name="T0" fmla="*/ 5 w 19"/>
                <a:gd name="T1" fmla="*/ 0 h 40"/>
                <a:gd name="T2" fmla="*/ 0 w 19"/>
                <a:gd name="T3" fmla="*/ 2 h 40"/>
                <a:gd name="T4" fmla="*/ 14 w 19"/>
                <a:gd name="T5" fmla="*/ 40 h 40"/>
                <a:gd name="T6" fmla="*/ 19 w 19"/>
                <a:gd name="T7" fmla="*/ 38 h 40"/>
                <a:gd name="T8" fmla="*/ 5 w 19"/>
                <a:gd name="T9" fmla="*/ 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40">
                  <a:moveTo>
                    <a:pt x="5" y="0"/>
                  </a:moveTo>
                  <a:lnTo>
                    <a:pt x="0" y="2"/>
                  </a:lnTo>
                  <a:lnTo>
                    <a:pt x="14" y="40"/>
                  </a:lnTo>
                  <a:lnTo>
                    <a:pt x="19" y="38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306F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15" name="iṩļíḑé">
              <a:extLst>
                <a:ext uri="{FF2B5EF4-FFF2-40B4-BE49-F238E27FC236}">
                  <a16:creationId xmlns:a16="http://schemas.microsoft.com/office/drawing/2014/main" id="{E1EA4FBF-39A0-487F-8F06-0B9C081E8EB2}"/>
                </a:ext>
              </a:extLst>
            </p:cNvPr>
            <p:cNvSpPr/>
            <p:nvPr userDrawn="1"/>
          </p:nvSpPr>
          <p:spPr bwMode="auto">
            <a:xfrm>
              <a:off x="6815138" y="2439988"/>
              <a:ext cx="30163" cy="63500"/>
            </a:xfrm>
            <a:custGeom>
              <a:avLst/>
              <a:gdLst>
                <a:gd name="T0" fmla="*/ 5 w 19"/>
                <a:gd name="T1" fmla="*/ 0 h 40"/>
                <a:gd name="T2" fmla="*/ 0 w 19"/>
                <a:gd name="T3" fmla="*/ 1 h 40"/>
                <a:gd name="T4" fmla="*/ 14 w 19"/>
                <a:gd name="T5" fmla="*/ 40 h 40"/>
                <a:gd name="T6" fmla="*/ 19 w 19"/>
                <a:gd name="T7" fmla="*/ 39 h 40"/>
                <a:gd name="T8" fmla="*/ 5 w 19"/>
                <a:gd name="T9" fmla="*/ 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40">
                  <a:moveTo>
                    <a:pt x="5" y="0"/>
                  </a:moveTo>
                  <a:lnTo>
                    <a:pt x="0" y="1"/>
                  </a:lnTo>
                  <a:lnTo>
                    <a:pt x="14" y="40"/>
                  </a:lnTo>
                  <a:lnTo>
                    <a:pt x="19" y="39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306F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16" name="îṩ1ïdè">
              <a:extLst>
                <a:ext uri="{FF2B5EF4-FFF2-40B4-BE49-F238E27FC236}">
                  <a16:creationId xmlns:a16="http://schemas.microsoft.com/office/drawing/2014/main" id="{9CC7D957-DBB7-46ED-9068-DE4F2891CD65}"/>
                </a:ext>
              </a:extLst>
            </p:cNvPr>
            <p:cNvSpPr/>
            <p:nvPr userDrawn="1"/>
          </p:nvSpPr>
          <p:spPr bwMode="auto">
            <a:xfrm>
              <a:off x="6831013" y="2433638"/>
              <a:ext cx="31750" cy="65088"/>
            </a:xfrm>
            <a:custGeom>
              <a:avLst/>
              <a:gdLst>
                <a:gd name="T0" fmla="*/ 6 w 20"/>
                <a:gd name="T1" fmla="*/ 0 h 41"/>
                <a:gd name="T2" fmla="*/ 0 w 20"/>
                <a:gd name="T3" fmla="*/ 2 h 41"/>
                <a:gd name="T4" fmla="*/ 14 w 20"/>
                <a:gd name="T5" fmla="*/ 41 h 41"/>
                <a:gd name="T6" fmla="*/ 20 w 20"/>
                <a:gd name="T7" fmla="*/ 38 h 41"/>
                <a:gd name="T8" fmla="*/ 6 w 20"/>
                <a:gd name="T9" fmla="*/ 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" h="41">
                  <a:moveTo>
                    <a:pt x="6" y="0"/>
                  </a:moveTo>
                  <a:lnTo>
                    <a:pt x="0" y="2"/>
                  </a:lnTo>
                  <a:lnTo>
                    <a:pt x="14" y="41"/>
                  </a:lnTo>
                  <a:lnTo>
                    <a:pt x="20" y="38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306F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17" name="íṧľïḑe">
              <a:extLst>
                <a:ext uri="{FF2B5EF4-FFF2-40B4-BE49-F238E27FC236}">
                  <a16:creationId xmlns:a16="http://schemas.microsoft.com/office/drawing/2014/main" id="{853863F4-2E0A-4374-9E13-97A5D2B5D1A5}"/>
                </a:ext>
              </a:extLst>
            </p:cNvPr>
            <p:cNvSpPr/>
            <p:nvPr userDrawn="1"/>
          </p:nvSpPr>
          <p:spPr bwMode="auto">
            <a:xfrm>
              <a:off x="6848475" y="2427288"/>
              <a:ext cx="30163" cy="63500"/>
            </a:xfrm>
            <a:custGeom>
              <a:avLst/>
              <a:gdLst>
                <a:gd name="T0" fmla="*/ 5 w 19"/>
                <a:gd name="T1" fmla="*/ 0 h 40"/>
                <a:gd name="T2" fmla="*/ 0 w 19"/>
                <a:gd name="T3" fmla="*/ 2 h 40"/>
                <a:gd name="T4" fmla="*/ 14 w 19"/>
                <a:gd name="T5" fmla="*/ 40 h 40"/>
                <a:gd name="T6" fmla="*/ 19 w 19"/>
                <a:gd name="T7" fmla="*/ 39 h 40"/>
                <a:gd name="T8" fmla="*/ 5 w 19"/>
                <a:gd name="T9" fmla="*/ 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40">
                  <a:moveTo>
                    <a:pt x="5" y="0"/>
                  </a:moveTo>
                  <a:lnTo>
                    <a:pt x="0" y="2"/>
                  </a:lnTo>
                  <a:lnTo>
                    <a:pt x="14" y="40"/>
                  </a:lnTo>
                  <a:lnTo>
                    <a:pt x="19" y="39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306F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18" name="iš1ïḓê">
              <a:extLst>
                <a:ext uri="{FF2B5EF4-FFF2-40B4-BE49-F238E27FC236}">
                  <a16:creationId xmlns:a16="http://schemas.microsoft.com/office/drawing/2014/main" id="{A087098B-E030-4F7F-BF56-AFE415893E2F}"/>
                </a:ext>
              </a:extLst>
            </p:cNvPr>
            <p:cNvSpPr/>
            <p:nvPr userDrawn="1"/>
          </p:nvSpPr>
          <p:spPr bwMode="auto">
            <a:xfrm>
              <a:off x="6867525" y="2422525"/>
              <a:ext cx="28575" cy="63500"/>
            </a:xfrm>
            <a:custGeom>
              <a:avLst/>
              <a:gdLst>
                <a:gd name="T0" fmla="*/ 4 w 18"/>
                <a:gd name="T1" fmla="*/ 0 h 40"/>
                <a:gd name="T2" fmla="*/ 0 w 18"/>
                <a:gd name="T3" fmla="*/ 2 h 40"/>
                <a:gd name="T4" fmla="*/ 13 w 18"/>
                <a:gd name="T5" fmla="*/ 40 h 40"/>
                <a:gd name="T6" fmla="*/ 18 w 18"/>
                <a:gd name="T7" fmla="*/ 38 h 40"/>
                <a:gd name="T8" fmla="*/ 4 w 18"/>
                <a:gd name="T9" fmla="*/ 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40">
                  <a:moveTo>
                    <a:pt x="4" y="0"/>
                  </a:moveTo>
                  <a:lnTo>
                    <a:pt x="0" y="2"/>
                  </a:lnTo>
                  <a:lnTo>
                    <a:pt x="13" y="40"/>
                  </a:lnTo>
                  <a:lnTo>
                    <a:pt x="18" y="38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306F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19" name="íSlïḑè">
              <a:extLst>
                <a:ext uri="{FF2B5EF4-FFF2-40B4-BE49-F238E27FC236}">
                  <a16:creationId xmlns:a16="http://schemas.microsoft.com/office/drawing/2014/main" id="{D9E4102D-EFAE-4C13-83F3-5623DFA60095}"/>
                </a:ext>
              </a:extLst>
            </p:cNvPr>
            <p:cNvSpPr/>
            <p:nvPr userDrawn="1"/>
          </p:nvSpPr>
          <p:spPr bwMode="auto">
            <a:xfrm>
              <a:off x="6883400" y="2414588"/>
              <a:ext cx="30163" cy="65088"/>
            </a:xfrm>
            <a:custGeom>
              <a:avLst/>
              <a:gdLst>
                <a:gd name="T0" fmla="*/ 6 w 19"/>
                <a:gd name="T1" fmla="*/ 0 h 41"/>
                <a:gd name="T2" fmla="*/ 0 w 19"/>
                <a:gd name="T3" fmla="*/ 3 h 41"/>
                <a:gd name="T4" fmla="*/ 13 w 19"/>
                <a:gd name="T5" fmla="*/ 41 h 41"/>
                <a:gd name="T6" fmla="*/ 19 w 19"/>
                <a:gd name="T7" fmla="*/ 40 h 41"/>
                <a:gd name="T8" fmla="*/ 6 w 19"/>
                <a:gd name="T9" fmla="*/ 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41">
                  <a:moveTo>
                    <a:pt x="6" y="0"/>
                  </a:moveTo>
                  <a:lnTo>
                    <a:pt x="0" y="3"/>
                  </a:lnTo>
                  <a:lnTo>
                    <a:pt x="13" y="41"/>
                  </a:lnTo>
                  <a:lnTo>
                    <a:pt x="19" y="40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306F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20" name="ïş1iḍé">
              <a:extLst>
                <a:ext uri="{FF2B5EF4-FFF2-40B4-BE49-F238E27FC236}">
                  <a16:creationId xmlns:a16="http://schemas.microsoft.com/office/drawing/2014/main" id="{90CC1B09-9085-4E6E-A3B9-C016B2CD6532}"/>
                </a:ext>
              </a:extLst>
            </p:cNvPr>
            <p:cNvSpPr/>
            <p:nvPr userDrawn="1"/>
          </p:nvSpPr>
          <p:spPr bwMode="auto">
            <a:xfrm>
              <a:off x="6900863" y="2409825"/>
              <a:ext cx="28575" cy="65088"/>
            </a:xfrm>
            <a:custGeom>
              <a:avLst/>
              <a:gdLst>
                <a:gd name="T0" fmla="*/ 5 w 18"/>
                <a:gd name="T1" fmla="*/ 0 h 41"/>
                <a:gd name="T2" fmla="*/ 0 w 18"/>
                <a:gd name="T3" fmla="*/ 2 h 41"/>
                <a:gd name="T4" fmla="*/ 14 w 18"/>
                <a:gd name="T5" fmla="*/ 41 h 41"/>
                <a:gd name="T6" fmla="*/ 18 w 18"/>
                <a:gd name="T7" fmla="*/ 39 h 41"/>
                <a:gd name="T8" fmla="*/ 5 w 18"/>
                <a:gd name="T9" fmla="*/ 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41">
                  <a:moveTo>
                    <a:pt x="5" y="0"/>
                  </a:moveTo>
                  <a:lnTo>
                    <a:pt x="0" y="2"/>
                  </a:lnTo>
                  <a:lnTo>
                    <a:pt x="14" y="41"/>
                  </a:lnTo>
                  <a:lnTo>
                    <a:pt x="18" y="39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306F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21" name="îṣļïḑê">
              <a:extLst>
                <a:ext uri="{FF2B5EF4-FFF2-40B4-BE49-F238E27FC236}">
                  <a16:creationId xmlns:a16="http://schemas.microsoft.com/office/drawing/2014/main" id="{D3E66BB7-64E4-40AD-AFF9-A15CCA374CAE}"/>
                </a:ext>
              </a:extLst>
            </p:cNvPr>
            <p:cNvSpPr/>
            <p:nvPr userDrawn="1"/>
          </p:nvSpPr>
          <p:spPr bwMode="auto">
            <a:xfrm>
              <a:off x="6783388" y="2489200"/>
              <a:ext cx="342900" cy="654050"/>
            </a:xfrm>
            <a:custGeom>
              <a:avLst/>
              <a:gdLst>
                <a:gd name="T0" fmla="*/ 0 w 203"/>
                <a:gd name="T1" fmla="*/ 29 h 387"/>
                <a:gd name="T2" fmla="*/ 112 w 203"/>
                <a:gd name="T3" fmla="*/ 352 h 387"/>
                <a:gd name="T4" fmla="*/ 168 w 203"/>
                <a:gd name="T5" fmla="*/ 379 h 387"/>
                <a:gd name="T6" fmla="*/ 195 w 203"/>
                <a:gd name="T7" fmla="*/ 323 h 387"/>
                <a:gd name="T8" fmla="*/ 83 w 203"/>
                <a:gd name="T9" fmla="*/ 0 h 387"/>
                <a:gd name="T10" fmla="*/ 0 w 203"/>
                <a:gd name="T11" fmla="*/ 29 h 3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3" h="387">
                  <a:moveTo>
                    <a:pt x="0" y="29"/>
                  </a:moveTo>
                  <a:cubicBezTo>
                    <a:pt x="112" y="352"/>
                    <a:pt x="112" y="352"/>
                    <a:pt x="112" y="352"/>
                  </a:cubicBezTo>
                  <a:cubicBezTo>
                    <a:pt x="120" y="375"/>
                    <a:pt x="145" y="387"/>
                    <a:pt x="168" y="379"/>
                  </a:cubicBezTo>
                  <a:cubicBezTo>
                    <a:pt x="191" y="371"/>
                    <a:pt x="203" y="346"/>
                    <a:pt x="195" y="323"/>
                  </a:cubicBezTo>
                  <a:cubicBezTo>
                    <a:pt x="83" y="0"/>
                    <a:pt x="83" y="0"/>
                    <a:pt x="83" y="0"/>
                  </a:cubicBezTo>
                  <a:lnTo>
                    <a:pt x="0" y="29"/>
                  </a:lnTo>
                  <a:close/>
                </a:path>
              </a:pathLst>
            </a:custGeom>
            <a:solidFill>
              <a:srgbClr val="FAFD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22" name="íşḻíḓé">
              <a:extLst>
                <a:ext uri="{FF2B5EF4-FFF2-40B4-BE49-F238E27FC236}">
                  <a16:creationId xmlns:a16="http://schemas.microsoft.com/office/drawing/2014/main" id="{D25E42E6-EE51-49E7-A75F-695BDAC4B8F2}"/>
                </a:ext>
              </a:extLst>
            </p:cNvPr>
            <p:cNvSpPr/>
            <p:nvPr userDrawn="1"/>
          </p:nvSpPr>
          <p:spPr bwMode="auto">
            <a:xfrm>
              <a:off x="6853238" y="2646363"/>
              <a:ext cx="247650" cy="469900"/>
            </a:xfrm>
            <a:custGeom>
              <a:avLst/>
              <a:gdLst>
                <a:gd name="T0" fmla="*/ 0 w 146"/>
                <a:gd name="T1" fmla="*/ 21 h 278"/>
                <a:gd name="T2" fmla="*/ 80 w 146"/>
                <a:gd name="T3" fmla="*/ 252 h 278"/>
                <a:gd name="T4" fmla="*/ 121 w 146"/>
                <a:gd name="T5" fmla="*/ 272 h 278"/>
                <a:gd name="T6" fmla="*/ 141 w 146"/>
                <a:gd name="T7" fmla="*/ 231 h 278"/>
                <a:gd name="T8" fmla="*/ 61 w 146"/>
                <a:gd name="T9" fmla="*/ 0 h 278"/>
                <a:gd name="T10" fmla="*/ 0 w 146"/>
                <a:gd name="T11" fmla="*/ 21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6" h="278">
                  <a:moveTo>
                    <a:pt x="0" y="21"/>
                  </a:moveTo>
                  <a:cubicBezTo>
                    <a:pt x="80" y="252"/>
                    <a:pt x="80" y="252"/>
                    <a:pt x="80" y="252"/>
                  </a:cubicBezTo>
                  <a:cubicBezTo>
                    <a:pt x="86" y="269"/>
                    <a:pt x="104" y="278"/>
                    <a:pt x="121" y="272"/>
                  </a:cubicBezTo>
                  <a:cubicBezTo>
                    <a:pt x="138" y="266"/>
                    <a:pt x="146" y="248"/>
                    <a:pt x="141" y="231"/>
                  </a:cubicBezTo>
                  <a:cubicBezTo>
                    <a:pt x="61" y="0"/>
                    <a:pt x="61" y="0"/>
                    <a:pt x="61" y="0"/>
                  </a:cubicBezTo>
                  <a:lnTo>
                    <a:pt x="0" y="21"/>
                  </a:lnTo>
                  <a:close/>
                </a:path>
              </a:pathLst>
            </a:custGeom>
            <a:solidFill>
              <a:srgbClr val="4675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23" name="íšḷîḋê">
              <a:extLst>
                <a:ext uri="{FF2B5EF4-FFF2-40B4-BE49-F238E27FC236}">
                  <a16:creationId xmlns:a16="http://schemas.microsoft.com/office/drawing/2014/main" id="{0BA1B576-B6F4-4006-A677-4B4122BB6E7C}"/>
                </a:ext>
              </a:extLst>
            </p:cNvPr>
            <p:cNvSpPr/>
            <p:nvPr userDrawn="1"/>
          </p:nvSpPr>
          <p:spPr bwMode="auto">
            <a:xfrm>
              <a:off x="6761163" y="2466975"/>
              <a:ext cx="182563" cy="87313"/>
            </a:xfrm>
            <a:custGeom>
              <a:avLst/>
              <a:gdLst>
                <a:gd name="T0" fmla="*/ 109 w 115"/>
                <a:gd name="T1" fmla="*/ 0 h 55"/>
                <a:gd name="T2" fmla="*/ 0 w 115"/>
                <a:gd name="T3" fmla="*/ 39 h 55"/>
                <a:gd name="T4" fmla="*/ 5 w 115"/>
                <a:gd name="T5" fmla="*/ 55 h 55"/>
                <a:gd name="T6" fmla="*/ 115 w 115"/>
                <a:gd name="T7" fmla="*/ 16 h 55"/>
                <a:gd name="T8" fmla="*/ 109 w 115"/>
                <a:gd name="T9" fmla="*/ 0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5" h="55">
                  <a:moveTo>
                    <a:pt x="109" y="0"/>
                  </a:moveTo>
                  <a:lnTo>
                    <a:pt x="0" y="39"/>
                  </a:lnTo>
                  <a:lnTo>
                    <a:pt x="5" y="55"/>
                  </a:lnTo>
                  <a:lnTo>
                    <a:pt x="115" y="16"/>
                  </a:lnTo>
                  <a:lnTo>
                    <a:pt x="109" y="0"/>
                  </a:lnTo>
                  <a:close/>
                </a:path>
              </a:pathLst>
            </a:custGeom>
            <a:solidFill>
              <a:srgbClr val="E8E8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24" name="ï$ḷîďé">
              <a:extLst>
                <a:ext uri="{FF2B5EF4-FFF2-40B4-BE49-F238E27FC236}">
                  <a16:creationId xmlns:a16="http://schemas.microsoft.com/office/drawing/2014/main" id="{231E540C-2FB0-48C9-BC5B-2372A907EE59}"/>
                </a:ext>
              </a:extLst>
            </p:cNvPr>
            <p:cNvSpPr/>
            <p:nvPr userDrawn="1"/>
          </p:nvSpPr>
          <p:spPr bwMode="auto">
            <a:xfrm>
              <a:off x="6972300" y="2989263"/>
              <a:ext cx="128588" cy="127000"/>
            </a:xfrm>
            <a:custGeom>
              <a:avLst/>
              <a:gdLst>
                <a:gd name="T0" fmla="*/ 41 w 76"/>
                <a:gd name="T1" fmla="*/ 41 h 75"/>
                <a:gd name="T2" fmla="*/ 0 w 76"/>
                <a:gd name="T3" fmla="*/ 21 h 75"/>
                <a:gd name="T4" fmla="*/ 10 w 76"/>
                <a:gd name="T5" fmla="*/ 49 h 75"/>
                <a:gd name="T6" fmla="*/ 51 w 76"/>
                <a:gd name="T7" fmla="*/ 69 h 75"/>
                <a:gd name="T8" fmla="*/ 71 w 76"/>
                <a:gd name="T9" fmla="*/ 28 h 75"/>
                <a:gd name="T10" fmla="*/ 61 w 76"/>
                <a:gd name="T11" fmla="*/ 0 h 75"/>
                <a:gd name="T12" fmla="*/ 41 w 76"/>
                <a:gd name="T13" fmla="*/ 4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6" h="75">
                  <a:moveTo>
                    <a:pt x="41" y="41"/>
                  </a:moveTo>
                  <a:cubicBezTo>
                    <a:pt x="24" y="46"/>
                    <a:pt x="6" y="38"/>
                    <a:pt x="0" y="21"/>
                  </a:cubicBezTo>
                  <a:cubicBezTo>
                    <a:pt x="10" y="49"/>
                    <a:pt x="10" y="49"/>
                    <a:pt x="10" y="49"/>
                  </a:cubicBezTo>
                  <a:cubicBezTo>
                    <a:pt x="16" y="66"/>
                    <a:pt x="34" y="75"/>
                    <a:pt x="51" y="69"/>
                  </a:cubicBezTo>
                  <a:cubicBezTo>
                    <a:pt x="68" y="63"/>
                    <a:pt x="76" y="45"/>
                    <a:pt x="71" y="28"/>
                  </a:cubicBezTo>
                  <a:cubicBezTo>
                    <a:pt x="61" y="0"/>
                    <a:pt x="61" y="0"/>
                    <a:pt x="61" y="0"/>
                  </a:cubicBezTo>
                  <a:cubicBezTo>
                    <a:pt x="67" y="17"/>
                    <a:pt x="58" y="35"/>
                    <a:pt x="41" y="41"/>
                  </a:cubicBezTo>
                  <a:close/>
                </a:path>
              </a:pathLst>
            </a:custGeom>
            <a:solidFill>
              <a:srgbClr val="3D69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34177286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bg>
      <p:bgPr>
        <a:gradFill>
          <a:gsLst>
            <a:gs pos="0">
              <a:schemeClr val="accent5"/>
            </a:gs>
            <a:gs pos="100000">
              <a:schemeClr val="accent6">
                <a:lumMod val="75000"/>
              </a:schemeClr>
            </a:gs>
            <a:gs pos="21000">
              <a:schemeClr val="accent6"/>
            </a:gs>
            <a:gs pos="70000">
              <a:schemeClr val="accent5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矩形 92">
            <a:extLst>
              <a:ext uri="{FF2B5EF4-FFF2-40B4-BE49-F238E27FC236}">
                <a16:creationId xmlns:a16="http://schemas.microsoft.com/office/drawing/2014/main" id="{8933F60F-0F8C-49E2-8FEE-C09FC7C0531B}"/>
              </a:ext>
            </a:extLst>
          </p:cNvPr>
          <p:cNvSpPr/>
          <p:nvPr userDrawn="1"/>
        </p:nvSpPr>
        <p:spPr>
          <a:xfrm flipH="1">
            <a:off x="0" y="-33049"/>
            <a:ext cx="12192000" cy="6891049"/>
          </a:xfrm>
          <a:prstGeom prst="rect">
            <a:avLst/>
          </a:prstGeom>
          <a:gradFill flip="none" rotWithShape="1">
            <a:gsLst>
              <a:gs pos="0">
                <a:schemeClr val="accent6"/>
              </a:gs>
              <a:gs pos="100000">
                <a:schemeClr val="accent6">
                  <a:lumMod val="5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5" name="组合 4">
            <a:extLst>
              <a:ext uri="{FF2B5EF4-FFF2-40B4-BE49-F238E27FC236}">
                <a16:creationId xmlns:a16="http://schemas.microsoft.com/office/drawing/2014/main" id="{BC9CA38F-92EF-4B12-8451-BFBF11AD4143}"/>
              </a:ext>
            </a:extLst>
          </p:cNvPr>
          <p:cNvGrpSpPr/>
          <p:nvPr userDrawn="1"/>
        </p:nvGrpSpPr>
        <p:grpSpPr>
          <a:xfrm flipH="1">
            <a:off x="0" y="-59944"/>
            <a:ext cx="5461513" cy="6947837"/>
            <a:chOff x="6737289" y="-59944"/>
            <a:chExt cx="5461513" cy="6947837"/>
          </a:xfrm>
        </p:grpSpPr>
        <p:sp>
          <p:nvSpPr>
            <p:cNvPr id="7" name="任意多边形: 形状 6">
              <a:extLst>
                <a:ext uri="{FF2B5EF4-FFF2-40B4-BE49-F238E27FC236}">
                  <a16:creationId xmlns:a16="http://schemas.microsoft.com/office/drawing/2014/main" id="{253D3415-6FD8-4131-81AB-51ABDE2590EF}"/>
                </a:ext>
              </a:extLst>
            </p:cNvPr>
            <p:cNvSpPr/>
            <p:nvPr userDrawn="1"/>
          </p:nvSpPr>
          <p:spPr>
            <a:xfrm flipH="1">
              <a:off x="8883392" y="1083320"/>
              <a:ext cx="3315410" cy="5804573"/>
            </a:xfrm>
            <a:custGeom>
              <a:avLst/>
              <a:gdLst>
                <a:gd name="connsiteX0" fmla="*/ 2442324 w 3315410"/>
                <a:gd name="connsiteY0" fmla="*/ 0 h 5804573"/>
                <a:gd name="connsiteX1" fmla="*/ 0 w 3315410"/>
                <a:gd name="connsiteY1" fmla="*/ 1347901 h 5804573"/>
                <a:gd name="connsiteX2" fmla="*/ 0 w 3315410"/>
                <a:gd name="connsiteY2" fmla="*/ 5804573 h 5804573"/>
                <a:gd name="connsiteX3" fmla="*/ 3315410 w 3315410"/>
                <a:gd name="connsiteY3" fmla="*/ 4001055 h 5804573"/>
                <a:gd name="connsiteX4" fmla="*/ 3315410 w 3315410"/>
                <a:gd name="connsiteY4" fmla="*/ 1092471 h 58045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15410" h="5804573">
                  <a:moveTo>
                    <a:pt x="2442324" y="0"/>
                  </a:moveTo>
                  <a:lnTo>
                    <a:pt x="0" y="1347901"/>
                  </a:lnTo>
                  <a:lnTo>
                    <a:pt x="0" y="5804573"/>
                  </a:lnTo>
                  <a:lnTo>
                    <a:pt x="3315410" y="4001055"/>
                  </a:lnTo>
                  <a:lnTo>
                    <a:pt x="3315410" y="1092471"/>
                  </a:lnTo>
                  <a:close/>
                </a:path>
              </a:pathLst>
            </a:custGeom>
            <a:gradFill flip="none" rotWithShape="1">
              <a:gsLst>
                <a:gs pos="100000">
                  <a:srgbClr val="0070A8"/>
                </a:gs>
                <a:gs pos="10000">
                  <a:srgbClr val="00BEF9">
                    <a:alpha val="0"/>
                  </a:srgbClr>
                </a:gs>
              </a:gsLst>
              <a:lin ang="18900000" scaled="1"/>
              <a:tileRect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" name="任意多边形: 形状 7">
              <a:extLst>
                <a:ext uri="{FF2B5EF4-FFF2-40B4-BE49-F238E27FC236}">
                  <a16:creationId xmlns:a16="http://schemas.microsoft.com/office/drawing/2014/main" id="{C88746C3-947F-4072-A127-11F5A8FF52B0}"/>
                </a:ext>
              </a:extLst>
            </p:cNvPr>
            <p:cNvSpPr/>
            <p:nvPr/>
          </p:nvSpPr>
          <p:spPr>
            <a:xfrm flipH="1">
              <a:off x="6878441" y="1277312"/>
              <a:ext cx="2684045" cy="5580689"/>
            </a:xfrm>
            <a:custGeom>
              <a:avLst/>
              <a:gdLst>
                <a:gd name="connsiteX0" fmla="*/ 1993951 w 2684045"/>
                <a:gd name="connsiteY0" fmla="*/ 0 h 5580689"/>
                <a:gd name="connsiteX1" fmla="*/ 0 w 2684045"/>
                <a:gd name="connsiteY1" fmla="*/ 1103510 h 5580689"/>
                <a:gd name="connsiteX2" fmla="*/ 201321 w 2684045"/>
                <a:gd name="connsiteY2" fmla="*/ 5580689 h 5580689"/>
                <a:gd name="connsiteX3" fmla="*/ 709368 w 2684045"/>
                <a:gd name="connsiteY3" fmla="*/ 5580689 h 5580689"/>
                <a:gd name="connsiteX4" fmla="*/ 2684045 w 2684045"/>
                <a:gd name="connsiteY4" fmla="*/ 4541253 h 5580689"/>
                <a:gd name="connsiteX5" fmla="*/ 2490054 w 2684045"/>
                <a:gd name="connsiteY5" fmla="*/ 562885 h 55806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684045" h="5580689">
                  <a:moveTo>
                    <a:pt x="1993951" y="0"/>
                  </a:moveTo>
                  <a:lnTo>
                    <a:pt x="0" y="1103510"/>
                  </a:lnTo>
                  <a:lnTo>
                    <a:pt x="201321" y="5580689"/>
                  </a:lnTo>
                  <a:lnTo>
                    <a:pt x="709368" y="5580689"/>
                  </a:lnTo>
                  <a:lnTo>
                    <a:pt x="2684045" y="4541253"/>
                  </a:lnTo>
                  <a:lnTo>
                    <a:pt x="2490054" y="562885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00BEF9">
                    <a:alpha val="0"/>
                  </a:srgbClr>
                </a:gs>
                <a:gs pos="100000">
                  <a:srgbClr val="00679A"/>
                </a:gs>
              </a:gsLst>
              <a:lin ang="18900000" scaled="1"/>
              <a:tileRect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" name="任意多边形: 形状 8">
              <a:extLst>
                <a:ext uri="{FF2B5EF4-FFF2-40B4-BE49-F238E27FC236}">
                  <a16:creationId xmlns:a16="http://schemas.microsoft.com/office/drawing/2014/main" id="{423CACA2-3CFC-47BC-9F67-252BC7505BF8}"/>
                </a:ext>
              </a:extLst>
            </p:cNvPr>
            <p:cNvSpPr/>
            <p:nvPr/>
          </p:nvSpPr>
          <p:spPr>
            <a:xfrm flipH="1">
              <a:off x="7770819" y="547119"/>
              <a:ext cx="254413" cy="159007"/>
            </a:xfrm>
            <a:custGeom>
              <a:avLst/>
              <a:gdLst>
                <a:gd name="connsiteX0" fmla="*/ 74875 w 76200"/>
                <a:gd name="connsiteY0" fmla="*/ 20582 h 47625"/>
                <a:gd name="connsiteX1" fmla="*/ 61540 w 76200"/>
                <a:gd name="connsiteY1" fmla="*/ 37727 h 47625"/>
                <a:gd name="connsiteX2" fmla="*/ 24392 w 76200"/>
                <a:gd name="connsiteY2" fmla="*/ 42490 h 47625"/>
                <a:gd name="connsiteX3" fmla="*/ 7247 w 76200"/>
                <a:gd name="connsiteY3" fmla="*/ 29155 h 47625"/>
                <a:gd name="connsiteX4" fmla="*/ 7247 w 76200"/>
                <a:gd name="connsiteY4" fmla="*/ 29155 h 47625"/>
                <a:gd name="connsiteX5" fmla="*/ 20582 w 76200"/>
                <a:gd name="connsiteY5" fmla="*/ 12010 h 47625"/>
                <a:gd name="connsiteX6" fmla="*/ 56777 w 76200"/>
                <a:gd name="connsiteY6" fmla="*/ 7247 h 47625"/>
                <a:gd name="connsiteX7" fmla="*/ 74875 w 76200"/>
                <a:gd name="connsiteY7" fmla="*/ 20582 h 47625"/>
                <a:gd name="connsiteX8" fmla="*/ 74875 w 76200"/>
                <a:gd name="connsiteY8" fmla="*/ 20582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6200" h="47625">
                  <a:moveTo>
                    <a:pt x="74875" y="20582"/>
                  </a:moveTo>
                  <a:cubicBezTo>
                    <a:pt x="75827" y="29155"/>
                    <a:pt x="70112" y="36775"/>
                    <a:pt x="61540" y="37727"/>
                  </a:cubicBezTo>
                  <a:lnTo>
                    <a:pt x="24392" y="42490"/>
                  </a:lnTo>
                  <a:cubicBezTo>
                    <a:pt x="15820" y="43442"/>
                    <a:pt x="8200" y="37727"/>
                    <a:pt x="7247" y="29155"/>
                  </a:cubicBezTo>
                  <a:lnTo>
                    <a:pt x="7247" y="29155"/>
                  </a:lnTo>
                  <a:cubicBezTo>
                    <a:pt x="6295" y="20582"/>
                    <a:pt x="12010" y="12962"/>
                    <a:pt x="20582" y="12010"/>
                  </a:cubicBezTo>
                  <a:lnTo>
                    <a:pt x="56777" y="7247"/>
                  </a:lnTo>
                  <a:cubicBezTo>
                    <a:pt x="66302" y="6295"/>
                    <a:pt x="73922" y="12010"/>
                    <a:pt x="74875" y="20582"/>
                  </a:cubicBezTo>
                  <a:lnTo>
                    <a:pt x="74875" y="20582"/>
                  </a:lnTo>
                  <a:close/>
                </a:path>
              </a:pathLst>
            </a:custGeom>
            <a:solidFill>
              <a:srgbClr val="CDE3E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" name="任意多边形: 形状 9">
              <a:extLst>
                <a:ext uri="{FF2B5EF4-FFF2-40B4-BE49-F238E27FC236}">
                  <a16:creationId xmlns:a16="http://schemas.microsoft.com/office/drawing/2014/main" id="{E811876E-59EC-4F4E-A3C3-336BBCC6CCFD}"/>
                </a:ext>
              </a:extLst>
            </p:cNvPr>
            <p:cNvSpPr/>
            <p:nvPr/>
          </p:nvSpPr>
          <p:spPr>
            <a:xfrm flipH="1">
              <a:off x="7963176" y="244669"/>
              <a:ext cx="1208457" cy="985847"/>
            </a:xfrm>
            <a:custGeom>
              <a:avLst/>
              <a:gdLst>
                <a:gd name="connsiteX0" fmla="*/ 353468 w 361950"/>
                <a:gd name="connsiteY0" fmla="*/ 191180 h 295275"/>
                <a:gd name="connsiteX1" fmla="*/ 153444 w 361950"/>
                <a:gd name="connsiteY1" fmla="*/ 291193 h 295275"/>
                <a:gd name="connsiteX2" fmla="*/ 14379 w 361950"/>
                <a:gd name="connsiteY2" fmla="*/ 100693 h 295275"/>
                <a:gd name="connsiteX3" fmla="*/ 216309 w 361950"/>
                <a:gd name="connsiteY3" fmla="*/ 16873 h 295275"/>
                <a:gd name="connsiteX4" fmla="*/ 353468 w 361950"/>
                <a:gd name="connsiteY4" fmla="*/ 191180 h 295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61950" h="295275">
                  <a:moveTo>
                    <a:pt x="353468" y="191180"/>
                  </a:moveTo>
                  <a:cubicBezTo>
                    <a:pt x="334418" y="276905"/>
                    <a:pt x="253456" y="308338"/>
                    <a:pt x="153444" y="291193"/>
                  </a:cubicBezTo>
                  <a:cubicBezTo>
                    <a:pt x="53431" y="274048"/>
                    <a:pt x="-16101" y="182608"/>
                    <a:pt x="14379" y="100693"/>
                  </a:cubicBezTo>
                  <a:cubicBezTo>
                    <a:pt x="40096" y="31160"/>
                    <a:pt x="119154" y="-13607"/>
                    <a:pt x="216309" y="16873"/>
                  </a:cubicBezTo>
                  <a:cubicBezTo>
                    <a:pt x="319179" y="48305"/>
                    <a:pt x="371566" y="111170"/>
                    <a:pt x="353468" y="191180"/>
                  </a:cubicBez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" name="任意多边形: 形状 10">
              <a:extLst>
                <a:ext uri="{FF2B5EF4-FFF2-40B4-BE49-F238E27FC236}">
                  <a16:creationId xmlns:a16="http://schemas.microsoft.com/office/drawing/2014/main" id="{FA015363-8E34-497C-A70B-8F019A3DBA37}"/>
                </a:ext>
              </a:extLst>
            </p:cNvPr>
            <p:cNvSpPr/>
            <p:nvPr/>
          </p:nvSpPr>
          <p:spPr>
            <a:xfrm flipH="1">
              <a:off x="8066191" y="392131"/>
              <a:ext cx="1081251" cy="826839"/>
            </a:xfrm>
            <a:custGeom>
              <a:avLst/>
              <a:gdLst>
                <a:gd name="connsiteX0" fmla="*/ 324316 w 323850"/>
                <a:gd name="connsiteY0" fmla="*/ 156538 h 247650"/>
                <a:gd name="connsiteX1" fmla="*/ 149056 w 323850"/>
                <a:gd name="connsiteY1" fmla="*/ 243216 h 247650"/>
                <a:gd name="connsiteX2" fmla="*/ 8086 w 323850"/>
                <a:gd name="connsiteY2" fmla="*/ 97483 h 247650"/>
                <a:gd name="connsiteX3" fmla="*/ 183346 w 323850"/>
                <a:gd name="connsiteY3" fmla="*/ 10806 h 247650"/>
                <a:gd name="connsiteX4" fmla="*/ 324316 w 323850"/>
                <a:gd name="connsiteY4" fmla="*/ 156538 h 2476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3850" h="247650">
                  <a:moveTo>
                    <a:pt x="324316" y="156538"/>
                  </a:moveTo>
                  <a:cubicBezTo>
                    <a:pt x="314791" y="220356"/>
                    <a:pt x="236686" y="259408"/>
                    <a:pt x="149056" y="243216"/>
                  </a:cubicBezTo>
                  <a:cubicBezTo>
                    <a:pt x="62378" y="227023"/>
                    <a:pt x="-1439" y="161301"/>
                    <a:pt x="8086" y="97483"/>
                  </a:cubicBezTo>
                  <a:cubicBezTo>
                    <a:pt x="17611" y="33666"/>
                    <a:pt x="95716" y="-5387"/>
                    <a:pt x="183346" y="10806"/>
                  </a:cubicBezTo>
                  <a:cubicBezTo>
                    <a:pt x="270976" y="26998"/>
                    <a:pt x="333841" y="91768"/>
                    <a:pt x="324316" y="156538"/>
                  </a:cubicBezTo>
                  <a:close/>
                </a:path>
              </a:pathLst>
            </a:custGeom>
            <a:solidFill>
              <a:schemeClr val="tx2">
                <a:lumMod val="20000"/>
                <a:lumOff val="8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" name="任意多边形: 形状 11">
              <a:extLst>
                <a:ext uri="{FF2B5EF4-FFF2-40B4-BE49-F238E27FC236}">
                  <a16:creationId xmlns:a16="http://schemas.microsoft.com/office/drawing/2014/main" id="{62523EC7-64B0-4B54-BC28-A4B774FA451F}"/>
                </a:ext>
              </a:extLst>
            </p:cNvPr>
            <p:cNvSpPr/>
            <p:nvPr/>
          </p:nvSpPr>
          <p:spPr>
            <a:xfrm flipH="1">
              <a:off x="8200096" y="519240"/>
              <a:ext cx="834694" cy="651854"/>
            </a:xfrm>
            <a:custGeom>
              <a:avLst/>
              <a:gdLst>
                <a:gd name="connsiteX0" fmla="*/ 386471 w 810163"/>
                <a:gd name="connsiteY0" fmla="*/ 459339 h 632697"/>
                <a:gd name="connsiteX1" fmla="*/ 302697 w 810163"/>
                <a:gd name="connsiteY1" fmla="*/ 516636 h 632697"/>
                <a:gd name="connsiteX2" fmla="*/ 389125 w 810163"/>
                <a:gd name="connsiteY2" fmla="*/ 627758 h 632697"/>
                <a:gd name="connsiteX3" fmla="*/ 515678 w 810163"/>
                <a:gd name="connsiteY3" fmla="*/ 575282 h 632697"/>
                <a:gd name="connsiteX4" fmla="*/ 429250 w 810163"/>
                <a:gd name="connsiteY4" fmla="*/ 464161 h 632697"/>
                <a:gd name="connsiteX5" fmla="*/ 386471 w 810163"/>
                <a:gd name="connsiteY5" fmla="*/ 459339 h 632697"/>
                <a:gd name="connsiteX6" fmla="*/ 729480 w 810163"/>
                <a:gd name="connsiteY6" fmla="*/ 387527 h 632697"/>
                <a:gd name="connsiteX7" fmla="*/ 685446 w 810163"/>
                <a:gd name="connsiteY7" fmla="*/ 390083 h 632697"/>
                <a:gd name="connsiteX8" fmla="*/ 589757 w 810163"/>
                <a:gd name="connsiteY8" fmla="*/ 495031 h 632697"/>
                <a:gd name="connsiteX9" fmla="*/ 713225 w 810163"/>
                <a:gd name="connsiteY9" fmla="*/ 553676 h 632697"/>
                <a:gd name="connsiteX10" fmla="*/ 808914 w 810163"/>
                <a:gd name="connsiteY10" fmla="*/ 448729 h 632697"/>
                <a:gd name="connsiteX11" fmla="*/ 729480 w 810163"/>
                <a:gd name="connsiteY11" fmla="*/ 387527 h 632697"/>
                <a:gd name="connsiteX12" fmla="*/ 73897 w 810163"/>
                <a:gd name="connsiteY12" fmla="*/ 246165 h 632697"/>
                <a:gd name="connsiteX13" fmla="*/ 9463 w 810163"/>
                <a:gd name="connsiteY13" fmla="*/ 285136 h 632697"/>
                <a:gd name="connsiteX14" fmla="*/ 71197 w 810163"/>
                <a:gd name="connsiteY14" fmla="*/ 433297 h 632697"/>
                <a:gd name="connsiteX15" fmla="*/ 225532 w 810163"/>
                <a:gd name="connsiteY15" fmla="*/ 417862 h 632697"/>
                <a:gd name="connsiteX16" fmla="*/ 163798 w 810163"/>
                <a:gd name="connsiteY16" fmla="*/ 269701 h 632697"/>
                <a:gd name="connsiteX17" fmla="*/ 73897 w 810163"/>
                <a:gd name="connsiteY17" fmla="*/ 246165 h 632697"/>
                <a:gd name="connsiteX18" fmla="*/ 423609 w 810163"/>
                <a:gd name="connsiteY18" fmla="*/ 182693 h 632697"/>
                <a:gd name="connsiteX19" fmla="*/ 318131 w 810163"/>
                <a:gd name="connsiteY19" fmla="*/ 257353 h 632697"/>
                <a:gd name="connsiteX20" fmla="*/ 401471 w 810163"/>
                <a:gd name="connsiteY20" fmla="*/ 405515 h 632697"/>
                <a:gd name="connsiteX21" fmla="*/ 555806 w 810163"/>
                <a:gd name="connsiteY21" fmla="*/ 337607 h 632697"/>
                <a:gd name="connsiteX22" fmla="*/ 472466 w 810163"/>
                <a:gd name="connsiteY22" fmla="*/ 189446 h 632697"/>
                <a:gd name="connsiteX23" fmla="*/ 423609 w 810163"/>
                <a:gd name="connsiteY23" fmla="*/ 182693 h 632697"/>
                <a:gd name="connsiteX24" fmla="*/ 609821 w 810163"/>
                <a:gd name="connsiteY24" fmla="*/ 65593 h 632697"/>
                <a:gd name="connsiteX25" fmla="*/ 546543 w 810163"/>
                <a:gd name="connsiteY25" fmla="*/ 106106 h 632697"/>
                <a:gd name="connsiteX26" fmla="*/ 608278 w 810163"/>
                <a:gd name="connsiteY26" fmla="*/ 254268 h 632697"/>
                <a:gd name="connsiteX27" fmla="*/ 762613 w 810163"/>
                <a:gd name="connsiteY27" fmla="*/ 235748 h 632697"/>
                <a:gd name="connsiteX28" fmla="*/ 700879 w 810163"/>
                <a:gd name="connsiteY28" fmla="*/ 87586 h 632697"/>
                <a:gd name="connsiteX29" fmla="*/ 609821 w 810163"/>
                <a:gd name="connsiteY29" fmla="*/ 65593 h 632697"/>
                <a:gd name="connsiteX30" fmla="*/ 275060 w 810163"/>
                <a:gd name="connsiteY30" fmla="*/ 484 h 632697"/>
                <a:gd name="connsiteX31" fmla="*/ 225528 w 810163"/>
                <a:gd name="connsiteY31" fmla="*/ 4246 h 632697"/>
                <a:gd name="connsiteX32" fmla="*/ 120580 w 810163"/>
                <a:gd name="connsiteY32" fmla="*/ 124626 h 632697"/>
                <a:gd name="connsiteX33" fmla="*/ 262569 w 810163"/>
                <a:gd name="connsiteY33" fmla="*/ 189448 h 632697"/>
                <a:gd name="connsiteX34" fmla="*/ 367516 w 810163"/>
                <a:gd name="connsiteY34" fmla="*/ 69065 h 632697"/>
                <a:gd name="connsiteX35" fmla="*/ 275060 w 810163"/>
                <a:gd name="connsiteY35" fmla="*/ 484 h 6326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810163" h="632697">
                  <a:moveTo>
                    <a:pt x="386471" y="459339"/>
                  </a:moveTo>
                  <a:cubicBezTo>
                    <a:pt x="345525" y="461075"/>
                    <a:pt x="311957" y="481910"/>
                    <a:pt x="302697" y="516636"/>
                  </a:cubicBezTo>
                  <a:cubicBezTo>
                    <a:pt x="293435" y="562935"/>
                    <a:pt x="333564" y="612322"/>
                    <a:pt x="389125" y="627758"/>
                  </a:cubicBezTo>
                  <a:cubicBezTo>
                    <a:pt x="447770" y="643189"/>
                    <a:pt x="503331" y="621584"/>
                    <a:pt x="515678" y="575282"/>
                  </a:cubicBezTo>
                  <a:cubicBezTo>
                    <a:pt x="528024" y="528983"/>
                    <a:pt x="487899" y="479596"/>
                    <a:pt x="429250" y="464161"/>
                  </a:cubicBezTo>
                  <a:cubicBezTo>
                    <a:pt x="414588" y="460303"/>
                    <a:pt x="400120" y="458760"/>
                    <a:pt x="386471" y="459339"/>
                  </a:cubicBezTo>
                  <a:close/>
                  <a:moveTo>
                    <a:pt x="729480" y="387527"/>
                  </a:moveTo>
                  <a:cubicBezTo>
                    <a:pt x="715734" y="386225"/>
                    <a:pt x="700880" y="386996"/>
                    <a:pt x="685446" y="390083"/>
                  </a:cubicBezTo>
                  <a:cubicBezTo>
                    <a:pt x="626797" y="402430"/>
                    <a:pt x="583583" y="448729"/>
                    <a:pt x="589757" y="495031"/>
                  </a:cubicBezTo>
                  <a:cubicBezTo>
                    <a:pt x="599019" y="541330"/>
                    <a:pt x="651491" y="566023"/>
                    <a:pt x="713225" y="553676"/>
                  </a:cubicBezTo>
                  <a:cubicBezTo>
                    <a:pt x="774959" y="541330"/>
                    <a:pt x="818173" y="495031"/>
                    <a:pt x="808914" y="448729"/>
                  </a:cubicBezTo>
                  <a:cubicBezTo>
                    <a:pt x="801968" y="414004"/>
                    <a:pt x="770716" y="391433"/>
                    <a:pt x="729480" y="387527"/>
                  </a:cubicBezTo>
                  <a:close/>
                  <a:moveTo>
                    <a:pt x="73897" y="246165"/>
                  </a:moveTo>
                  <a:cubicBezTo>
                    <a:pt x="45731" y="248866"/>
                    <a:pt x="21810" y="261985"/>
                    <a:pt x="9463" y="285136"/>
                  </a:cubicBezTo>
                  <a:cubicBezTo>
                    <a:pt x="-15231" y="331435"/>
                    <a:pt x="9463" y="399342"/>
                    <a:pt x="71197" y="433297"/>
                  </a:cubicBezTo>
                  <a:cubicBezTo>
                    <a:pt x="129842" y="470338"/>
                    <a:pt x="200838" y="464164"/>
                    <a:pt x="225532" y="417862"/>
                  </a:cubicBezTo>
                  <a:cubicBezTo>
                    <a:pt x="250225" y="371563"/>
                    <a:pt x="222443" y="306741"/>
                    <a:pt x="163798" y="269701"/>
                  </a:cubicBezTo>
                  <a:cubicBezTo>
                    <a:pt x="134473" y="251180"/>
                    <a:pt x="102063" y="243464"/>
                    <a:pt x="73897" y="246165"/>
                  </a:cubicBezTo>
                  <a:close/>
                  <a:moveTo>
                    <a:pt x="423609" y="182693"/>
                  </a:moveTo>
                  <a:cubicBezTo>
                    <a:pt x="375427" y="185007"/>
                    <a:pt x="332021" y="213367"/>
                    <a:pt x="318131" y="257353"/>
                  </a:cubicBezTo>
                  <a:cubicBezTo>
                    <a:pt x="296523" y="319087"/>
                    <a:pt x="336651" y="383906"/>
                    <a:pt x="401471" y="405515"/>
                  </a:cubicBezTo>
                  <a:cubicBezTo>
                    <a:pt x="466293" y="427120"/>
                    <a:pt x="537285" y="396253"/>
                    <a:pt x="555806" y="337607"/>
                  </a:cubicBezTo>
                  <a:cubicBezTo>
                    <a:pt x="577414" y="278959"/>
                    <a:pt x="537285" y="211051"/>
                    <a:pt x="472466" y="189446"/>
                  </a:cubicBezTo>
                  <a:cubicBezTo>
                    <a:pt x="456260" y="184044"/>
                    <a:pt x="439669" y="181921"/>
                    <a:pt x="423609" y="182693"/>
                  </a:cubicBezTo>
                  <a:close/>
                  <a:moveTo>
                    <a:pt x="609821" y="65593"/>
                  </a:moveTo>
                  <a:cubicBezTo>
                    <a:pt x="582041" y="69065"/>
                    <a:pt x="558890" y="82955"/>
                    <a:pt x="546543" y="106106"/>
                  </a:cubicBezTo>
                  <a:cubicBezTo>
                    <a:pt x="518765" y="152405"/>
                    <a:pt x="549632" y="220313"/>
                    <a:pt x="608278" y="254268"/>
                  </a:cubicBezTo>
                  <a:cubicBezTo>
                    <a:pt x="670012" y="291308"/>
                    <a:pt x="737919" y="282047"/>
                    <a:pt x="762613" y="235748"/>
                  </a:cubicBezTo>
                  <a:cubicBezTo>
                    <a:pt x="787306" y="189446"/>
                    <a:pt x="756439" y="124627"/>
                    <a:pt x="700879" y="87586"/>
                  </a:cubicBezTo>
                  <a:cubicBezTo>
                    <a:pt x="670012" y="69066"/>
                    <a:pt x="637601" y="62121"/>
                    <a:pt x="609821" y="65593"/>
                  </a:cubicBezTo>
                  <a:close/>
                  <a:moveTo>
                    <a:pt x="275060" y="484"/>
                  </a:moveTo>
                  <a:cubicBezTo>
                    <a:pt x="259289" y="-770"/>
                    <a:pt x="242505" y="387"/>
                    <a:pt x="225528" y="4246"/>
                  </a:cubicBezTo>
                  <a:cubicBezTo>
                    <a:pt x="157621" y="19678"/>
                    <a:pt x="111322" y="72154"/>
                    <a:pt x="120580" y="124626"/>
                  </a:cubicBezTo>
                  <a:cubicBezTo>
                    <a:pt x="129842" y="177101"/>
                    <a:pt x="194661" y="204880"/>
                    <a:pt x="262569" y="189448"/>
                  </a:cubicBezTo>
                  <a:cubicBezTo>
                    <a:pt x="330476" y="174013"/>
                    <a:pt x="376778" y="118453"/>
                    <a:pt x="367516" y="69065"/>
                  </a:cubicBezTo>
                  <a:cubicBezTo>
                    <a:pt x="360572" y="29711"/>
                    <a:pt x="322374" y="4245"/>
                    <a:pt x="275060" y="484"/>
                  </a:cubicBezTo>
                  <a:close/>
                </a:path>
              </a:pathLst>
            </a:custGeom>
            <a:solidFill>
              <a:schemeClr val="tx2">
                <a:lumMod val="40000"/>
                <a:lumOff val="6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 dirty="0"/>
            </a:p>
          </p:txBody>
        </p:sp>
        <p:sp>
          <p:nvSpPr>
            <p:cNvPr id="14" name="任意多边形: 形状 13">
              <a:extLst>
                <a:ext uri="{FF2B5EF4-FFF2-40B4-BE49-F238E27FC236}">
                  <a16:creationId xmlns:a16="http://schemas.microsoft.com/office/drawing/2014/main" id="{E310974D-750A-48CE-934D-D597CD466470}"/>
                </a:ext>
              </a:extLst>
            </p:cNvPr>
            <p:cNvSpPr/>
            <p:nvPr/>
          </p:nvSpPr>
          <p:spPr>
            <a:xfrm flipH="1">
              <a:off x="7811815" y="-59944"/>
              <a:ext cx="1017648" cy="667831"/>
            </a:xfrm>
            <a:custGeom>
              <a:avLst/>
              <a:gdLst>
                <a:gd name="connsiteX0" fmla="*/ 270986 w 304800"/>
                <a:gd name="connsiteY0" fmla="*/ 201454 h 200025"/>
                <a:gd name="connsiteX1" fmla="*/ 248126 w 304800"/>
                <a:gd name="connsiteY1" fmla="*/ 113824 h 200025"/>
                <a:gd name="connsiteX2" fmla="*/ 32861 w 304800"/>
                <a:gd name="connsiteY2" fmla="*/ 64294 h 200025"/>
                <a:gd name="connsiteX3" fmla="*/ 7144 w 304800"/>
                <a:gd name="connsiteY3" fmla="*/ 7144 h 200025"/>
                <a:gd name="connsiteX4" fmla="*/ 61436 w 304800"/>
                <a:gd name="connsiteY4" fmla="*/ 8096 h 200025"/>
                <a:gd name="connsiteX5" fmla="*/ 68104 w 304800"/>
                <a:gd name="connsiteY5" fmla="*/ 29051 h 200025"/>
                <a:gd name="connsiteX6" fmla="*/ 274796 w 304800"/>
                <a:gd name="connsiteY6" fmla="*/ 103346 h 200025"/>
                <a:gd name="connsiteX7" fmla="*/ 298609 w 304800"/>
                <a:gd name="connsiteY7" fmla="*/ 199549 h 200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04800" h="200025">
                  <a:moveTo>
                    <a:pt x="270986" y="201454"/>
                  </a:moveTo>
                  <a:lnTo>
                    <a:pt x="248126" y="113824"/>
                  </a:lnTo>
                  <a:lnTo>
                    <a:pt x="32861" y="64294"/>
                  </a:lnTo>
                  <a:lnTo>
                    <a:pt x="7144" y="7144"/>
                  </a:lnTo>
                  <a:lnTo>
                    <a:pt x="61436" y="8096"/>
                  </a:lnTo>
                  <a:lnTo>
                    <a:pt x="68104" y="29051"/>
                  </a:lnTo>
                  <a:lnTo>
                    <a:pt x="274796" y="103346"/>
                  </a:lnTo>
                  <a:lnTo>
                    <a:pt x="298609" y="199549"/>
                  </a:lnTo>
                  <a:close/>
                </a:path>
              </a:pathLst>
            </a:custGeom>
            <a:solidFill>
              <a:schemeClr val="tx2">
                <a:lumMod val="20000"/>
                <a:lumOff val="8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" name="任意多边形: 形状 15">
              <a:extLst>
                <a:ext uri="{FF2B5EF4-FFF2-40B4-BE49-F238E27FC236}">
                  <a16:creationId xmlns:a16="http://schemas.microsoft.com/office/drawing/2014/main" id="{3A176AF8-514D-45DD-8CF2-3CF19EED6D8D}"/>
                </a:ext>
              </a:extLst>
            </p:cNvPr>
            <p:cNvSpPr/>
            <p:nvPr/>
          </p:nvSpPr>
          <p:spPr>
            <a:xfrm flipH="1">
              <a:off x="9490933" y="1641437"/>
              <a:ext cx="699632" cy="636030"/>
            </a:xfrm>
            <a:custGeom>
              <a:avLst/>
              <a:gdLst>
                <a:gd name="connsiteX0" fmla="*/ 202406 w 209550"/>
                <a:gd name="connsiteY0" fmla="*/ 63341 h 190500"/>
                <a:gd name="connsiteX1" fmla="*/ 13811 w 209550"/>
                <a:gd name="connsiteY1" fmla="*/ 186214 h 190500"/>
                <a:gd name="connsiteX2" fmla="*/ 7144 w 209550"/>
                <a:gd name="connsiteY2" fmla="*/ 65246 h 190500"/>
                <a:gd name="connsiteX3" fmla="*/ 135731 w 209550"/>
                <a:gd name="connsiteY3" fmla="*/ 7144 h 190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9550" h="190500">
                  <a:moveTo>
                    <a:pt x="202406" y="63341"/>
                  </a:moveTo>
                  <a:lnTo>
                    <a:pt x="13811" y="186214"/>
                  </a:lnTo>
                  <a:lnTo>
                    <a:pt x="7144" y="65246"/>
                  </a:lnTo>
                  <a:lnTo>
                    <a:pt x="135731" y="7144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" name="任意多边形: 形状 16">
              <a:extLst>
                <a:ext uri="{FF2B5EF4-FFF2-40B4-BE49-F238E27FC236}">
                  <a16:creationId xmlns:a16="http://schemas.microsoft.com/office/drawing/2014/main" id="{5F537A60-706C-4646-9C7D-E847B4913637}"/>
                </a:ext>
              </a:extLst>
            </p:cNvPr>
            <p:cNvSpPr/>
            <p:nvPr/>
          </p:nvSpPr>
          <p:spPr>
            <a:xfrm flipH="1">
              <a:off x="7586514" y="2321989"/>
              <a:ext cx="286214" cy="349817"/>
            </a:xfrm>
            <a:custGeom>
              <a:avLst/>
              <a:gdLst>
                <a:gd name="connsiteX0" fmla="*/ 13006 w 85725"/>
                <a:gd name="connsiteY0" fmla="*/ 25241 h 104775"/>
                <a:gd name="connsiteX1" fmla="*/ 36818 w 85725"/>
                <a:gd name="connsiteY1" fmla="*/ 14764 h 104775"/>
                <a:gd name="connsiteX2" fmla="*/ 80634 w 85725"/>
                <a:gd name="connsiteY2" fmla="*/ 7144 h 104775"/>
                <a:gd name="connsiteX3" fmla="*/ 78728 w 85725"/>
                <a:gd name="connsiteY3" fmla="*/ 94774 h 104775"/>
                <a:gd name="connsiteX4" fmla="*/ 11101 w 85725"/>
                <a:gd name="connsiteY4" fmla="*/ 90964 h 104775"/>
                <a:gd name="connsiteX5" fmla="*/ 9196 w 85725"/>
                <a:gd name="connsiteY5" fmla="*/ 58579 h 104775"/>
                <a:gd name="connsiteX6" fmla="*/ 13006 w 85725"/>
                <a:gd name="connsiteY6" fmla="*/ 25241 h 104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5725" h="104775">
                  <a:moveTo>
                    <a:pt x="13006" y="25241"/>
                  </a:moveTo>
                  <a:cubicBezTo>
                    <a:pt x="18721" y="23336"/>
                    <a:pt x="26341" y="12859"/>
                    <a:pt x="36818" y="14764"/>
                  </a:cubicBezTo>
                  <a:cubicBezTo>
                    <a:pt x="47296" y="16669"/>
                    <a:pt x="80634" y="7144"/>
                    <a:pt x="80634" y="7144"/>
                  </a:cubicBezTo>
                  <a:cubicBezTo>
                    <a:pt x="80634" y="7144"/>
                    <a:pt x="93016" y="85249"/>
                    <a:pt x="78728" y="94774"/>
                  </a:cubicBezTo>
                  <a:cubicBezTo>
                    <a:pt x="64441" y="104299"/>
                    <a:pt x="12053" y="93821"/>
                    <a:pt x="11101" y="90964"/>
                  </a:cubicBezTo>
                  <a:cubicBezTo>
                    <a:pt x="9196" y="88106"/>
                    <a:pt x="4433" y="65246"/>
                    <a:pt x="9196" y="58579"/>
                  </a:cubicBezTo>
                  <a:cubicBezTo>
                    <a:pt x="14911" y="50959"/>
                    <a:pt x="13006" y="25241"/>
                    <a:pt x="13006" y="25241"/>
                  </a:cubicBez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" name="任意多边形: 形状 17">
              <a:extLst>
                <a:ext uri="{FF2B5EF4-FFF2-40B4-BE49-F238E27FC236}">
                  <a16:creationId xmlns:a16="http://schemas.microsoft.com/office/drawing/2014/main" id="{E997C375-887A-4E9B-BFD8-573145D568CF}"/>
                </a:ext>
              </a:extLst>
            </p:cNvPr>
            <p:cNvSpPr/>
            <p:nvPr/>
          </p:nvSpPr>
          <p:spPr>
            <a:xfrm flipH="1">
              <a:off x="7411117" y="1549212"/>
              <a:ext cx="31802" cy="31802"/>
            </a:xfrm>
            <a:custGeom>
              <a:avLst/>
              <a:gdLst>
                <a:gd name="connsiteX0" fmla="*/ 7144 w 9525"/>
                <a:gd name="connsiteY0" fmla="*/ 7144 h 9525"/>
                <a:gd name="connsiteX1" fmla="*/ 7144 w 9525"/>
                <a:gd name="connsiteY1" fmla="*/ 7144 h 9525"/>
                <a:gd name="connsiteX2" fmla="*/ 7144 w 9525"/>
                <a:gd name="connsiteY2" fmla="*/ 7144 h 9525"/>
                <a:gd name="connsiteX3" fmla="*/ 7144 w 9525"/>
                <a:gd name="connsiteY3" fmla="*/ 7144 h 9525"/>
                <a:gd name="connsiteX4" fmla="*/ 7144 w 9525"/>
                <a:gd name="connsiteY4" fmla="*/ 7144 h 9525"/>
                <a:gd name="connsiteX5" fmla="*/ 7144 w 9525"/>
                <a:gd name="connsiteY5" fmla="*/ 7144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525" h="9525">
                  <a:moveTo>
                    <a:pt x="7144" y="7144"/>
                  </a:moveTo>
                  <a:lnTo>
                    <a:pt x="7144" y="7144"/>
                  </a:lnTo>
                  <a:lnTo>
                    <a:pt x="7144" y="7144"/>
                  </a:lnTo>
                  <a:lnTo>
                    <a:pt x="7144" y="7144"/>
                  </a:lnTo>
                  <a:cubicBezTo>
                    <a:pt x="7144" y="7144"/>
                    <a:pt x="7144" y="7144"/>
                    <a:pt x="7144" y="7144"/>
                  </a:cubicBezTo>
                  <a:lnTo>
                    <a:pt x="7144" y="7144"/>
                  </a:lnTo>
                  <a:close/>
                </a:path>
              </a:pathLst>
            </a:custGeom>
            <a:solidFill>
              <a:schemeClr val="accent1">
                <a:lumMod val="5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" name="任意多边形: 形状 18">
              <a:extLst>
                <a:ext uri="{FF2B5EF4-FFF2-40B4-BE49-F238E27FC236}">
                  <a16:creationId xmlns:a16="http://schemas.microsoft.com/office/drawing/2014/main" id="{ED2BBBF6-BE42-4B9E-A983-F3FBA6C4C140}"/>
                </a:ext>
              </a:extLst>
            </p:cNvPr>
            <p:cNvSpPr/>
            <p:nvPr/>
          </p:nvSpPr>
          <p:spPr>
            <a:xfrm flipH="1">
              <a:off x="6993772" y="1205898"/>
              <a:ext cx="636030" cy="1144854"/>
            </a:xfrm>
            <a:custGeom>
              <a:avLst/>
              <a:gdLst>
                <a:gd name="connsiteX0" fmla="*/ 189800 w 190500"/>
                <a:gd name="connsiteY0" fmla="*/ 236654 h 342900"/>
                <a:gd name="connsiteX1" fmla="*/ 147890 w 190500"/>
                <a:gd name="connsiteY1" fmla="*/ 142356 h 342900"/>
                <a:gd name="connsiteX2" fmla="*/ 154558 w 190500"/>
                <a:gd name="connsiteY2" fmla="*/ 68061 h 342900"/>
                <a:gd name="connsiteX3" fmla="*/ 58355 w 190500"/>
                <a:gd name="connsiteY3" fmla="*/ 10911 h 342900"/>
                <a:gd name="connsiteX4" fmla="*/ 11683 w 190500"/>
                <a:gd name="connsiteY4" fmla="*/ 117591 h 342900"/>
                <a:gd name="connsiteX5" fmla="*/ 14540 w 190500"/>
                <a:gd name="connsiteY5" fmla="*/ 128069 h 342900"/>
                <a:gd name="connsiteX6" fmla="*/ 11683 w 190500"/>
                <a:gd name="connsiteY6" fmla="*/ 154739 h 342900"/>
                <a:gd name="connsiteX7" fmla="*/ 26923 w 190500"/>
                <a:gd name="connsiteY7" fmla="*/ 162359 h 342900"/>
                <a:gd name="connsiteX8" fmla="*/ 60260 w 190500"/>
                <a:gd name="connsiteY8" fmla="*/ 204269 h 342900"/>
                <a:gd name="connsiteX9" fmla="*/ 85978 w 190500"/>
                <a:gd name="connsiteY9" fmla="*/ 198554 h 342900"/>
                <a:gd name="connsiteX10" fmla="*/ 78358 w 190500"/>
                <a:gd name="connsiteY10" fmla="*/ 248084 h 342900"/>
                <a:gd name="connsiteX11" fmla="*/ 41210 w 190500"/>
                <a:gd name="connsiteY11" fmla="*/ 329999 h 342900"/>
                <a:gd name="connsiteX12" fmla="*/ 189800 w 190500"/>
                <a:gd name="connsiteY12" fmla="*/ 236654 h 342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90500" h="342900">
                  <a:moveTo>
                    <a:pt x="189800" y="236654"/>
                  </a:moveTo>
                  <a:cubicBezTo>
                    <a:pt x="185038" y="219509"/>
                    <a:pt x="161225" y="204269"/>
                    <a:pt x="147890" y="142356"/>
                  </a:cubicBezTo>
                  <a:cubicBezTo>
                    <a:pt x="157415" y="122354"/>
                    <a:pt x="161225" y="97589"/>
                    <a:pt x="154558" y="68061"/>
                  </a:cubicBezTo>
                  <a:cubicBezTo>
                    <a:pt x="141223" y="12816"/>
                    <a:pt x="102170" y="-519"/>
                    <a:pt x="58355" y="10911"/>
                  </a:cubicBezTo>
                  <a:cubicBezTo>
                    <a:pt x="14540" y="21389"/>
                    <a:pt x="-1652" y="62346"/>
                    <a:pt x="11683" y="117591"/>
                  </a:cubicBezTo>
                  <a:cubicBezTo>
                    <a:pt x="11683" y="119496"/>
                    <a:pt x="12635" y="123306"/>
                    <a:pt x="14540" y="128069"/>
                  </a:cubicBezTo>
                  <a:cubicBezTo>
                    <a:pt x="14540" y="148071"/>
                    <a:pt x="10730" y="150929"/>
                    <a:pt x="11683" y="154739"/>
                  </a:cubicBezTo>
                  <a:cubicBezTo>
                    <a:pt x="13588" y="162359"/>
                    <a:pt x="22160" y="162359"/>
                    <a:pt x="26923" y="162359"/>
                  </a:cubicBezTo>
                  <a:cubicBezTo>
                    <a:pt x="35495" y="181409"/>
                    <a:pt x="46925" y="199506"/>
                    <a:pt x="60260" y="204269"/>
                  </a:cubicBezTo>
                  <a:cubicBezTo>
                    <a:pt x="65023" y="206174"/>
                    <a:pt x="74548" y="202364"/>
                    <a:pt x="85978" y="198554"/>
                  </a:cubicBezTo>
                  <a:cubicBezTo>
                    <a:pt x="87883" y="214746"/>
                    <a:pt x="85978" y="231891"/>
                    <a:pt x="78358" y="248084"/>
                  </a:cubicBezTo>
                  <a:cubicBezTo>
                    <a:pt x="50735" y="305234"/>
                    <a:pt x="38353" y="331904"/>
                    <a:pt x="41210" y="329999"/>
                  </a:cubicBezTo>
                  <a:cubicBezTo>
                    <a:pt x="25970" y="364289"/>
                    <a:pt x="196468" y="243321"/>
                    <a:pt x="189800" y="236654"/>
                  </a:cubicBezTo>
                  <a:close/>
                </a:path>
              </a:pathLst>
            </a:custGeom>
            <a:solidFill>
              <a:srgbClr val="F4CDC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0" name="任意多边形: 形状 19">
              <a:extLst>
                <a:ext uri="{FF2B5EF4-FFF2-40B4-BE49-F238E27FC236}">
                  <a16:creationId xmlns:a16="http://schemas.microsoft.com/office/drawing/2014/main" id="{341A8963-0F3C-4B26-B98C-BA61F5873E89}"/>
                </a:ext>
              </a:extLst>
            </p:cNvPr>
            <p:cNvSpPr/>
            <p:nvPr/>
          </p:nvSpPr>
          <p:spPr>
            <a:xfrm flipH="1">
              <a:off x="6896647" y="1153323"/>
              <a:ext cx="795037" cy="572427"/>
            </a:xfrm>
            <a:custGeom>
              <a:avLst/>
              <a:gdLst>
                <a:gd name="connsiteX0" fmla="*/ 20693 w 238125"/>
                <a:gd name="connsiteY0" fmla="*/ 113335 h 171450"/>
                <a:gd name="connsiteX1" fmla="*/ 113085 w 238125"/>
                <a:gd name="connsiteY1" fmla="*/ 115240 h 171450"/>
                <a:gd name="connsiteX2" fmla="*/ 136898 w 238125"/>
                <a:gd name="connsiteY2" fmla="*/ 143815 h 171450"/>
                <a:gd name="connsiteX3" fmla="*/ 164520 w 238125"/>
                <a:gd name="connsiteY3" fmla="*/ 166675 h 171450"/>
                <a:gd name="connsiteX4" fmla="*/ 209288 w 238125"/>
                <a:gd name="connsiteY4" fmla="*/ 169533 h 171450"/>
                <a:gd name="connsiteX5" fmla="*/ 143565 w 238125"/>
                <a:gd name="connsiteY5" fmla="*/ 11418 h 171450"/>
                <a:gd name="connsiteX6" fmla="*/ 7358 w 238125"/>
                <a:gd name="connsiteY6" fmla="*/ 60948 h 171450"/>
                <a:gd name="connsiteX7" fmla="*/ 16883 w 238125"/>
                <a:gd name="connsiteY7" fmla="*/ 106668 h 171450"/>
                <a:gd name="connsiteX8" fmla="*/ 20693 w 238125"/>
                <a:gd name="connsiteY8" fmla="*/ 113335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38125" h="171450">
                  <a:moveTo>
                    <a:pt x="20693" y="113335"/>
                  </a:moveTo>
                  <a:cubicBezTo>
                    <a:pt x="46410" y="124765"/>
                    <a:pt x="102608" y="121908"/>
                    <a:pt x="113085" y="115240"/>
                  </a:cubicBezTo>
                  <a:cubicBezTo>
                    <a:pt x="122610" y="108573"/>
                    <a:pt x="137850" y="117145"/>
                    <a:pt x="136898" y="143815"/>
                  </a:cubicBezTo>
                  <a:cubicBezTo>
                    <a:pt x="154995" y="163818"/>
                    <a:pt x="154995" y="163818"/>
                    <a:pt x="164520" y="166675"/>
                  </a:cubicBezTo>
                  <a:cubicBezTo>
                    <a:pt x="167378" y="167628"/>
                    <a:pt x="194048" y="178105"/>
                    <a:pt x="209288" y="169533"/>
                  </a:cubicBezTo>
                  <a:cubicBezTo>
                    <a:pt x="255008" y="144768"/>
                    <a:pt x="228338" y="41898"/>
                    <a:pt x="143565" y="11418"/>
                  </a:cubicBezTo>
                  <a:cubicBezTo>
                    <a:pt x="102608" y="-3822"/>
                    <a:pt x="10215" y="23800"/>
                    <a:pt x="7358" y="60948"/>
                  </a:cubicBezTo>
                  <a:cubicBezTo>
                    <a:pt x="5453" y="98095"/>
                    <a:pt x="16883" y="106668"/>
                    <a:pt x="16883" y="106668"/>
                  </a:cubicBezTo>
                  <a:lnTo>
                    <a:pt x="20693" y="113335"/>
                  </a:lnTo>
                  <a:close/>
                </a:path>
              </a:pathLst>
            </a:custGeom>
            <a:solidFill>
              <a:schemeClr val="accent6">
                <a:lumMod val="40000"/>
                <a:lumOff val="6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1" name="任意多边形: 形状 20">
              <a:extLst>
                <a:ext uri="{FF2B5EF4-FFF2-40B4-BE49-F238E27FC236}">
                  <a16:creationId xmlns:a16="http://schemas.microsoft.com/office/drawing/2014/main" id="{D31575B4-67BA-45D7-9707-3E5B32C7CC13}"/>
                </a:ext>
              </a:extLst>
            </p:cNvPr>
            <p:cNvSpPr/>
            <p:nvPr/>
          </p:nvSpPr>
          <p:spPr>
            <a:xfrm flipH="1">
              <a:off x="6995231" y="1199395"/>
              <a:ext cx="699632" cy="540624"/>
            </a:xfrm>
            <a:custGeom>
              <a:avLst/>
              <a:gdLst>
                <a:gd name="connsiteX0" fmla="*/ 7358 w 209550"/>
                <a:gd name="connsiteY0" fmla="*/ 49054 h 161925"/>
                <a:gd name="connsiteX1" fmla="*/ 16883 w 209550"/>
                <a:gd name="connsiteY1" fmla="*/ 94774 h 161925"/>
                <a:gd name="connsiteX2" fmla="*/ 21645 w 209550"/>
                <a:gd name="connsiteY2" fmla="*/ 100489 h 161925"/>
                <a:gd name="connsiteX3" fmla="*/ 114038 w 209550"/>
                <a:gd name="connsiteY3" fmla="*/ 102394 h 161925"/>
                <a:gd name="connsiteX4" fmla="*/ 137850 w 209550"/>
                <a:gd name="connsiteY4" fmla="*/ 130969 h 161925"/>
                <a:gd name="connsiteX5" fmla="*/ 165473 w 209550"/>
                <a:gd name="connsiteY5" fmla="*/ 153829 h 161925"/>
                <a:gd name="connsiteX6" fmla="*/ 210240 w 209550"/>
                <a:gd name="connsiteY6" fmla="*/ 156686 h 161925"/>
                <a:gd name="connsiteX7" fmla="*/ 107370 w 209550"/>
                <a:gd name="connsiteY7" fmla="*/ 69056 h 161925"/>
                <a:gd name="connsiteX8" fmla="*/ 54983 w 209550"/>
                <a:gd name="connsiteY8" fmla="*/ 7144 h 161925"/>
                <a:gd name="connsiteX9" fmla="*/ 7358 w 209550"/>
                <a:gd name="connsiteY9" fmla="*/ 49054 h 161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09550" h="161925">
                  <a:moveTo>
                    <a:pt x="7358" y="49054"/>
                  </a:moveTo>
                  <a:cubicBezTo>
                    <a:pt x="5453" y="86201"/>
                    <a:pt x="16883" y="94774"/>
                    <a:pt x="16883" y="94774"/>
                  </a:cubicBezTo>
                  <a:lnTo>
                    <a:pt x="21645" y="100489"/>
                  </a:lnTo>
                  <a:cubicBezTo>
                    <a:pt x="47363" y="111919"/>
                    <a:pt x="103560" y="109061"/>
                    <a:pt x="114038" y="102394"/>
                  </a:cubicBezTo>
                  <a:cubicBezTo>
                    <a:pt x="123563" y="95726"/>
                    <a:pt x="138803" y="104299"/>
                    <a:pt x="137850" y="130969"/>
                  </a:cubicBezTo>
                  <a:cubicBezTo>
                    <a:pt x="155948" y="150971"/>
                    <a:pt x="155948" y="150971"/>
                    <a:pt x="165473" y="153829"/>
                  </a:cubicBezTo>
                  <a:cubicBezTo>
                    <a:pt x="168330" y="154781"/>
                    <a:pt x="195000" y="165259"/>
                    <a:pt x="210240" y="156686"/>
                  </a:cubicBezTo>
                  <a:cubicBezTo>
                    <a:pt x="200715" y="129064"/>
                    <a:pt x="137850" y="85249"/>
                    <a:pt x="107370" y="69056"/>
                  </a:cubicBezTo>
                  <a:cubicBezTo>
                    <a:pt x="82605" y="55721"/>
                    <a:pt x="58793" y="29051"/>
                    <a:pt x="54983" y="7144"/>
                  </a:cubicBezTo>
                  <a:cubicBezTo>
                    <a:pt x="28313" y="16669"/>
                    <a:pt x="8310" y="31909"/>
                    <a:pt x="7358" y="49054"/>
                  </a:cubicBezTo>
                  <a:close/>
                </a:path>
              </a:pathLst>
            </a:custGeom>
            <a:solidFill>
              <a:schemeClr val="accent6">
                <a:lumMod val="40000"/>
                <a:lumOff val="6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2" name="任意多边形: 形状 21">
              <a:extLst>
                <a:ext uri="{FF2B5EF4-FFF2-40B4-BE49-F238E27FC236}">
                  <a16:creationId xmlns:a16="http://schemas.microsoft.com/office/drawing/2014/main" id="{3ACF9715-123E-47B0-984B-732B205D200D}"/>
                </a:ext>
              </a:extLst>
            </p:cNvPr>
            <p:cNvSpPr/>
            <p:nvPr/>
          </p:nvSpPr>
          <p:spPr>
            <a:xfrm flipH="1">
              <a:off x="7014782" y="5677046"/>
              <a:ext cx="508823" cy="127205"/>
            </a:xfrm>
            <a:custGeom>
              <a:avLst/>
              <a:gdLst>
                <a:gd name="connsiteX0" fmla="*/ 152278 w 152400"/>
                <a:gd name="connsiteY0" fmla="*/ 7144 h 38100"/>
                <a:gd name="connsiteX1" fmla="*/ 148468 w 152400"/>
                <a:gd name="connsiteY1" fmla="*/ 28099 h 38100"/>
                <a:gd name="connsiteX2" fmla="*/ 114178 w 152400"/>
                <a:gd name="connsiteY2" fmla="*/ 33814 h 38100"/>
                <a:gd name="connsiteX3" fmla="*/ 18928 w 152400"/>
                <a:gd name="connsiteY3" fmla="*/ 36671 h 38100"/>
                <a:gd name="connsiteX4" fmla="*/ 8451 w 152400"/>
                <a:gd name="connsiteY4" fmla="*/ 11906 h 38100"/>
                <a:gd name="connsiteX5" fmla="*/ 152278 w 152400"/>
                <a:gd name="connsiteY5" fmla="*/ 7144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2400" h="38100">
                  <a:moveTo>
                    <a:pt x="152278" y="7144"/>
                  </a:moveTo>
                  <a:cubicBezTo>
                    <a:pt x="151326" y="10954"/>
                    <a:pt x="148468" y="28099"/>
                    <a:pt x="148468" y="28099"/>
                  </a:cubicBezTo>
                  <a:cubicBezTo>
                    <a:pt x="148468" y="28099"/>
                    <a:pt x="144658" y="34766"/>
                    <a:pt x="114178" y="33814"/>
                  </a:cubicBezTo>
                  <a:cubicBezTo>
                    <a:pt x="97033" y="33814"/>
                    <a:pt x="35121" y="42386"/>
                    <a:pt x="18928" y="36671"/>
                  </a:cubicBezTo>
                  <a:cubicBezTo>
                    <a:pt x="4641" y="30956"/>
                    <a:pt x="6546" y="10954"/>
                    <a:pt x="8451" y="11906"/>
                  </a:cubicBezTo>
                  <a:cubicBezTo>
                    <a:pt x="11308" y="11906"/>
                    <a:pt x="152278" y="7144"/>
                    <a:pt x="152278" y="7144"/>
                  </a:cubicBezTo>
                  <a:close/>
                </a:path>
              </a:pathLst>
            </a:custGeom>
            <a:solidFill>
              <a:srgbClr val="E4E8E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3" name="任意多边形: 形状 22">
              <a:extLst>
                <a:ext uri="{FF2B5EF4-FFF2-40B4-BE49-F238E27FC236}">
                  <a16:creationId xmlns:a16="http://schemas.microsoft.com/office/drawing/2014/main" id="{7DFEFC57-A398-41D5-82BA-3C1BE047D265}"/>
                </a:ext>
              </a:extLst>
            </p:cNvPr>
            <p:cNvSpPr/>
            <p:nvPr/>
          </p:nvSpPr>
          <p:spPr>
            <a:xfrm flipH="1">
              <a:off x="7011559" y="5486236"/>
              <a:ext cx="508823" cy="286214"/>
            </a:xfrm>
            <a:custGeom>
              <a:avLst/>
              <a:gdLst>
                <a:gd name="connsiteX0" fmla="*/ 143693 w 152400"/>
                <a:gd name="connsiteY0" fmla="*/ 7144 h 85725"/>
                <a:gd name="connsiteX1" fmla="*/ 142740 w 152400"/>
                <a:gd name="connsiteY1" fmla="*/ 76676 h 85725"/>
                <a:gd name="connsiteX2" fmla="*/ 84638 w 152400"/>
                <a:gd name="connsiteY2" fmla="*/ 80486 h 85725"/>
                <a:gd name="connsiteX3" fmla="*/ 22726 w 152400"/>
                <a:gd name="connsiteY3" fmla="*/ 84296 h 85725"/>
                <a:gd name="connsiteX4" fmla="*/ 25583 w 152400"/>
                <a:gd name="connsiteY4" fmla="*/ 56674 h 85725"/>
                <a:gd name="connsiteX5" fmla="*/ 116070 w 152400"/>
                <a:gd name="connsiteY5" fmla="*/ 10001 h 85725"/>
                <a:gd name="connsiteX6" fmla="*/ 143693 w 152400"/>
                <a:gd name="connsiteY6" fmla="*/ 7144 h 85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2400" h="85725">
                  <a:moveTo>
                    <a:pt x="143693" y="7144"/>
                  </a:moveTo>
                  <a:cubicBezTo>
                    <a:pt x="143693" y="35719"/>
                    <a:pt x="163695" y="67151"/>
                    <a:pt x="142740" y="76676"/>
                  </a:cubicBezTo>
                  <a:cubicBezTo>
                    <a:pt x="123690" y="85249"/>
                    <a:pt x="119881" y="69056"/>
                    <a:pt x="84638" y="80486"/>
                  </a:cubicBezTo>
                  <a:cubicBezTo>
                    <a:pt x="64636" y="87154"/>
                    <a:pt x="37013" y="87154"/>
                    <a:pt x="22726" y="84296"/>
                  </a:cubicBezTo>
                  <a:cubicBezTo>
                    <a:pt x="12248" y="82391"/>
                    <a:pt x="-7755" y="66199"/>
                    <a:pt x="25583" y="56674"/>
                  </a:cubicBezTo>
                  <a:cubicBezTo>
                    <a:pt x="60826" y="46196"/>
                    <a:pt x="103688" y="10001"/>
                    <a:pt x="116070" y="10001"/>
                  </a:cubicBezTo>
                  <a:cubicBezTo>
                    <a:pt x="127501" y="10954"/>
                    <a:pt x="143693" y="7144"/>
                    <a:pt x="143693" y="7144"/>
                  </a:cubicBezTo>
                  <a:close/>
                </a:path>
              </a:pathLst>
            </a:custGeom>
            <a:solidFill>
              <a:srgbClr val="E4E8E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4" name="任意多边形: 形状 23">
              <a:extLst>
                <a:ext uri="{FF2B5EF4-FFF2-40B4-BE49-F238E27FC236}">
                  <a16:creationId xmlns:a16="http://schemas.microsoft.com/office/drawing/2014/main" id="{720D1BE3-09E1-4048-A9AE-85BDEB8B5331}"/>
                </a:ext>
              </a:extLst>
            </p:cNvPr>
            <p:cNvSpPr/>
            <p:nvPr/>
          </p:nvSpPr>
          <p:spPr>
            <a:xfrm flipH="1">
              <a:off x="7010525" y="3107485"/>
              <a:ext cx="540624" cy="2480516"/>
            </a:xfrm>
            <a:custGeom>
              <a:avLst/>
              <a:gdLst>
                <a:gd name="connsiteX0" fmla="*/ 121476 w 161925"/>
                <a:gd name="connsiteY0" fmla="*/ 7144 h 742950"/>
                <a:gd name="connsiteX1" fmla="*/ 133859 w 161925"/>
                <a:gd name="connsiteY1" fmla="*/ 201454 h 742950"/>
                <a:gd name="connsiteX2" fmla="*/ 142431 w 161925"/>
                <a:gd name="connsiteY2" fmla="*/ 391954 h 742950"/>
                <a:gd name="connsiteX3" fmla="*/ 158624 w 161925"/>
                <a:gd name="connsiteY3" fmla="*/ 739616 h 742950"/>
                <a:gd name="connsiteX4" fmla="*/ 72899 w 161925"/>
                <a:gd name="connsiteY4" fmla="*/ 744379 h 742950"/>
                <a:gd name="connsiteX5" fmla="*/ 52897 w 161925"/>
                <a:gd name="connsiteY5" fmla="*/ 469106 h 742950"/>
                <a:gd name="connsiteX6" fmla="*/ 13844 w 161925"/>
                <a:gd name="connsiteY6" fmla="*/ 221456 h 742950"/>
                <a:gd name="connsiteX7" fmla="*/ 10034 w 161925"/>
                <a:gd name="connsiteY7" fmla="*/ 27146 h 742950"/>
                <a:gd name="connsiteX8" fmla="*/ 121476 w 161925"/>
                <a:gd name="connsiteY8" fmla="*/ 7144 h 7429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1925" h="742950">
                  <a:moveTo>
                    <a:pt x="121476" y="7144"/>
                  </a:moveTo>
                  <a:cubicBezTo>
                    <a:pt x="125286" y="28099"/>
                    <a:pt x="142431" y="164306"/>
                    <a:pt x="133859" y="201454"/>
                  </a:cubicBezTo>
                  <a:cubicBezTo>
                    <a:pt x="125286" y="238601"/>
                    <a:pt x="133859" y="330041"/>
                    <a:pt x="142431" y="391954"/>
                  </a:cubicBezTo>
                  <a:cubicBezTo>
                    <a:pt x="151004" y="453866"/>
                    <a:pt x="167197" y="698659"/>
                    <a:pt x="158624" y="739616"/>
                  </a:cubicBezTo>
                  <a:cubicBezTo>
                    <a:pt x="96711" y="739616"/>
                    <a:pt x="72899" y="744379"/>
                    <a:pt x="72899" y="744379"/>
                  </a:cubicBezTo>
                  <a:cubicBezTo>
                    <a:pt x="72899" y="744379"/>
                    <a:pt x="61469" y="508159"/>
                    <a:pt x="52897" y="469106"/>
                  </a:cubicBezTo>
                  <a:cubicBezTo>
                    <a:pt x="39561" y="406241"/>
                    <a:pt x="26226" y="337661"/>
                    <a:pt x="13844" y="221456"/>
                  </a:cubicBezTo>
                  <a:cubicBezTo>
                    <a:pt x="1461" y="105251"/>
                    <a:pt x="10034" y="27146"/>
                    <a:pt x="10034" y="27146"/>
                  </a:cubicBezTo>
                  <a:lnTo>
                    <a:pt x="121476" y="7144"/>
                  </a:ln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5" name="任意多边形: 形状 24">
              <a:extLst>
                <a:ext uri="{FF2B5EF4-FFF2-40B4-BE49-F238E27FC236}">
                  <a16:creationId xmlns:a16="http://schemas.microsoft.com/office/drawing/2014/main" id="{F41E0D1B-875A-469D-92C7-843BAD678A22}"/>
                </a:ext>
              </a:extLst>
            </p:cNvPr>
            <p:cNvSpPr/>
            <p:nvPr/>
          </p:nvSpPr>
          <p:spPr>
            <a:xfrm flipH="1">
              <a:off x="6865313" y="5724749"/>
              <a:ext cx="508823" cy="127205"/>
            </a:xfrm>
            <a:custGeom>
              <a:avLst/>
              <a:gdLst>
                <a:gd name="connsiteX0" fmla="*/ 152278 w 152400"/>
                <a:gd name="connsiteY0" fmla="*/ 7144 h 38100"/>
                <a:gd name="connsiteX1" fmla="*/ 148468 w 152400"/>
                <a:gd name="connsiteY1" fmla="*/ 28099 h 38100"/>
                <a:gd name="connsiteX2" fmla="*/ 114178 w 152400"/>
                <a:gd name="connsiteY2" fmla="*/ 33814 h 38100"/>
                <a:gd name="connsiteX3" fmla="*/ 18928 w 152400"/>
                <a:gd name="connsiteY3" fmla="*/ 36671 h 38100"/>
                <a:gd name="connsiteX4" fmla="*/ 8451 w 152400"/>
                <a:gd name="connsiteY4" fmla="*/ 11906 h 38100"/>
                <a:gd name="connsiteX5" fmla="*/ 152278 w 152400"/>
                <a:gd name="connsiteY5" fmla="*/ 7144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2400" h="38100">
                  <a:moveTo>
                    <a:pt x="152278" y="7144"/>
                  </a:moveTo>
                  <a:cubicBezTo>
                    <a:pt x="151326" y="10954"/>
                    <a:pt x="148468" y="28099"/>
                    <a:pt x="148468" y="28099"/>
                  </a:cubicBezTo>
                  <a:cubicBezTo>
                    <a:pt x="148468" y="28099"/>
                    <a:pt x="144658" y="34766"/>
                    <a:pt x="114178" y="33814"/>
                  </a:cubicBezTo>
                  <a:cubicBezTo>
                    <a:pt x="97033" y="33814"/>
                    <a:pt x="35121" y="42386"/>
                    <a:pt x="18928" y="36671"/>
                  </a:cubicBezTo>
                  <a:cubicBezTo>
                    <a:pt x="4641" y="30956"/>
                    <a:pt x="6546" y="10954"/>
                    <a:pt x="8451" y="11906"/>
                  </a:cubicBezTo>
                  <a:cubicBezTo>
                    <a:pt x="10356" y="12859"/>
                    <a:pt x="152278" y="7144"/>
                    <a:pt x="152278" y="7144"/>
                  </a:cubicBezTo>
                  <a:close/>
                </a:path>
              </a:pathLst>
            </a:custGeom>
            <a:solidFill>
              <a:srgbClr val="E4E8E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6" name="任意多边形: 形状 25">
              <a:extLst>
                <a:ext uri="{FF2B5EF4-FFF2-40B4-BE49-F238E27FC236}">
                  <a16:creationId xmlns:a16="http://schemas.microsoft.com/office/drawing/2014/main" id="{5EE9C3ED-1254-4077-BDF7-0CC95F8A9F7D}"/>
                </a:ext>
              </a:extLst>
            </p:cNvPr>
            <p:cNvSpPr/>
            <p:nvPr/>
          </p:nvSpPr>
          <p:spPr>
            <a:xfrm flipH="1">
              <a:off x="6865924" y="5537117"/>
              <a:ext cx="508823" cy="286214"/>
            </a:xfrm>
            <a:custGeom>
              <a:avLst/>
              <a:gdLst>
                <a:gd name="connsiteX0" fmla="*/ 143889 w 152400"/>
                <a:gd name="connsiteY0" fmla="*/ 7144 h 85725"/>
                <a:gd name="connsiteX1" fmla="*/ 142936 w 152400"/>
                <a:gd name="connsiteY1" fmla="*/ 76676 h 85725"/>
                <a:gd name="connsiteX2" fmla="*/ 84834 w 152400"/>
                <a:gd name="connsiteY2" fmla="*/ 80486 h 85725"/>
                <a:gd name="connsiteX3" fmla="*/ 22921 w 152400"/>
                <a:gd name="connsiteY3" fmla="*/ 84296 h 85725"/>
                <a:gd name="connsiteX4" fmla="*/ 24826 w 152400"/>
                <a:gd name="connsiteY4" fmla="*/ 56674 h 85725"/>
                <a:gd name="connsiteX5" fmla="*/ 115314 w 152400"/>
                <a:gd name="connsiteY5" fmla="*/ 10001 h 85725"/>
                <a:gd name="connsiteX6" fmla="*/ 143889 w 152400"/>
                <a:gd name="connsiteY6" fmla="*/ 7144 h 85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2400" h="85725">
                  <a:moveTo>
                    <a:pt x="143889" y="7144"/>
                  </a:moveTo>
                  <a:cubicBezTo>
                    <a:pt x="143889" y="35719"/>
                    <a:pt x="163891" y="67151"/>
                    <a:pt x="142936" y="76676"/>
                  </a:cubicBezTo>
                  <a:cubicBezTo>
                    <a:pt x="123886" y="85249"/>
                    <a:pt x="120076" y="69056"/>
                    <a:pt x="84834" y="80486"/>
                  </a:cubicBezTo>
                  <a:cubicBezTo>
                    <a:pt x="64831" y="87154"/>
                    <a:pt x="37209" y="87154"/>
                    <a:pt x="22921" y="84296"/>
                  </a:cubicBezTo>
                  <a:cubicBezTo>
                    <a:pt x="12444" y="82391"/>
                    <a:pt x="-7559" y="66199"/>
                    <a:pt x="24826" y="56674"/>
                  </a:cubicBezTo>
                  <a:cubicBezTo>
                    <a:pt x="60069" y="46196"/>
                    <a:pt x="102931" y="10001"/>
                    <a:pt x="115314" y="10001"/>
                  </a:cubicBezTo>
                  <a:cubicBezTo>
                    <a:pt x="128649" y="10001"/>
                    <a:pt x="143889" y="7144"/>
                    <a:pt x="143889" y="7144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7" name="任意多边形: 形状 26">
              <a:extLst>
                <a:ext uri="{FF2B5EF4-FFF2-40B4-BE49-F238E27FC236}">
                  <a16:creationId xmlns:a16="http://schemas.microsoft.com/office/drawing/2014/main" id="{78021326-E3B0-4F6B-BCAD-E384E503EE2D}"/>
                </a:ext>
              </a:extLst>
            </p:cNvPr>
            <p:cNvSpPr/>
            <p:nvPr/>
          </p:nvSpPr>
          <p:spPr>
            <a:xfrm flipH="1">
              <a:off x="6822844" y="3279211"/>
              <a:ext cx="667831" cy="2385111"/>
            </a:xfrm>
            <a:custGeom>
              <a:avLst/>
              <a:gdLst>
                <a:gd name="connsiteX0" fmla="*/ 149083 w 200025"/>
                <a:gd name="connsiteY0" fmla="*/ 9049 h 714375"/>
                <a:gd name="connsiteX1" fmla="*/ 160513 w 200025"/>
                <a:gd name="connsiteY1" fmla="*/ 162401 h 714375"/>
                <a:gd name="connsiteX2" fmla="*/ 174801 w 200025"/>
                <a:gd name="connsiteY2" fmla="*/ 420529 h 714375"/>
                <a:gd name="connsiteX3" fmla="*/ 193851 w 200025"/>
                <a:gd name="connsiteY3" fmla="*/ 711994 h 714375"/>
                <a:gd name="connsiteX4" fmla="*/ 90028 w 200025"/>
                <a:gd name="connsiteY4" fmla="*/ 714851 h 714375"/>
                <a:gd name="connsiteX5" fmla="*/ 62406 w 200025"/>
                <a:gd name="connsiteY5" fmla="*/ 402431 h 714375"/>
                <a:gd name="connsiteX6" fmla="*/ 18591 w 200025"/>
                <a:gd name="connsiteY6" fmla="*/ 175736 h 714375"/>
                <a:gd name="connsiteX7" fmla="*/ 7161 w 200025"/>
                <a:gd name="connsiteY7" fmla="*/ 7144 h 714375"/>
                <a:gd name="connsiteX8" fmla="*/ 149083 w 200025"/>
                <a:gd name="connsiteY8" fmla="*/ 9049 h 7143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0025" h="714375">
                  <a:moveTo>
                    <a:pt x="149083" y="9049"/>
                  </a:moveTo>
                  <a:cubicBezTo>
                    <a:pt x="152893" y="30004"/>
                    <a:pt x="168133" y="125254"/>
                    <a:pt x="160513" y="162401"/>
                  </a:cubicBezTo>
                  <a:cubicBezTo>
                    <a:pt x="151941" y="199549"/>
                    <a:pt x="156703" y="360521"/>
                    <a:pt x="174801" y="420529"/>
                  </a:cubicBezTo>
                  <a:cubicBezTo>
                    <a:pt x="189088" y="469106"/>
                    <a:pt x="202423" y="670084"/>
                    <a:pt x="193851" y="711994"/>
                  </a:cubicBezTo>
                  <a:cubicBezTo>
                    <a:pt x="131938" y="711994"/>
                    <a:pt x="90028" y="714851"/>
                    <a:pt x="90028" y="714851"/>
                  </a:cubicBezTo>
                  <a:cubicBezTo>
                    <a:pt x="90028" y="714851"/>
                    <a:pt x="89076" y="460534"/>
                    <a:pt x="62406" y="402431"/>
                  </a:cubicBezTo>
                  <a:cubicBezTo>
                    <a:pt x="35736" y="344329"/>
                    <a:pt x="30973" y="291941"/>
                    <a:pt x="18591" y="175736"/>
                  </a:cubicBezTo>
                  <a:cubicBezTo>
                    <a:pt x="6208" y="59531"/>
                    <a:pt x="7161" y="7144"/>
                    <a:pt x="7161" y="7144"/>
                  </a:cubicBezTo>
                  <a:lnTo>
                    <a:pt x="149083" y="9049"/>
                  </a:lnTo>
                  <a:close/>
                </a:path>
              </a:pathLst>
            </a:custGeom>
            <a:solidFill>
              <a:schemeClr val="accent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8" name="任意多边形: 形状 27">
              <a:extLst>
                <a:ext uri="{FF2B5EF4-FFF2-40B4-BE49-F238E27FC236}">
                  <a16:creationId xmlns:a16="http://schemas.microsoft.com/office/drawing/2014/main" id="{CCA0BBC9-DEE5-4157-B86C-8F04373578A1}"/>
                </a:ext>
              </a:extLst>
            </p:cNvPr>
            <p:cNvSpPr/>
            <p:nvPr/>
          </p:nvSpPr>
          <p:spPr>
            <a:xfrm flipH="1">
              <a:off x="6737289" y="1771821"/>
              <a:ext cx="985847" cy="2544119"/>
            </a:xfrm>
            <a:custGeom>
              <a:avLst/>
              <a:gdLst>
                <a:gd name="connsiteX0" fmla="*/ 196800 w 295275"/>
                <a:gd name="connsiteY0" fmla="*/ 7144 h 762000"/>
                <a:gd name="connsiteX1" fmla="*/ 105360 w 295275"/>
                <a:gd name="connsiteY1" fmla="*/ 49054 h 762000"/>
                <a:gd name="connsiteX2" fmla="*/ 23445 w 295275"/>
                <a:gd name="connsiteY2" fmla="*/ 193834 h 762000"/>
                <a:gd name="connsiteX3" fmla="*/ 19635 w 295275"/>
                <a:gd name="connsiteY3" fmla="*/ 324326 h 762000"/>
                <a:gd name="connsiteX4" fmla="*/ 16778 w 295275"/>
                <a:gd name="connsiteY4" fmla="*/ 752951 h 762000"/>
                <a:gd name="connsiteX5" fmla="*/ 295860 w 295275"/>
                <a:gd name="connsiteY5" fmla="*/ 738664 h 762000"/>
                <a:gd name="connsiteX6" fmla="*/ 276810 w 295275"/>
                <a:gd name="connsiteY6" fmla="*/ 393859 h 762000"/>
                <a:gd name="connsiteX7" fmla="*/ 262523 w 295275"/>
                <a:gd name="connsiteY7" fmla="*/ 124301 h 762000"/>
                <a:gd name="connsiteX8" fmla="*/ 196800 w 295275"/>
                <a:gd name="connsiteY8" fmla="*/ 7144 h 762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95275" h="762000">
                  <a:moveTo>
                    <a:pt x="196800" y="7144"/>
                  </a:moveTo>
                  <a:cubicBezTo>
                    <a:pt x="171083" y="21431"/>
                    <a:pt x="114885" y="39529"/>
                    <a:pt x="105360" y="49054"/>
                  </a:cubicBezTo>
                  <a:cubicBezTo>
                    <a:pt x="95835" y="58579"/>
                    <a:pt x="39638" y="133826"/>
                    <a:pt x="23445" y="193834"/>
                  </a:cubicBezTo>
                  <a:cubicBezTo>
                    <a:pt x="23445" y="193834"/>
                    <a:pt x="22493" y="228124"/>
                    <a:pt x="19635" y="324326"/>
                  </a:cubicBezTo>
                  <a:cubicBezTo>
                    <a:pt x="16778" y="420529"/>
                    <a:pt x="-5130" y="734854"/>
                    <a:pt x="16778" y="752951"/>
                  </a:cubicBezTo>
                  <a:cubicBezTo>
                    <a:pt x="31065" y="764381"/>
                    <a:pt x="295860" y="738664"/>
                    <a:pt x="295860" y="738664"/>
                  </a:cubicBezTo>
                  <a:cubicBezTo>
                    <a:pt x="295860" y="738664"/>
                    <a:pt x="286335" y="452914"/>
                    <a:pt x="276810" y="393859"/>
                  </a:cubicBezTo>
                  <a:cubicBezTo>
                    <a:pt x="267285" y="335756"/>
                    <a:pt x="267285" y="204311"/>
                    <a:pt x="262523" y="124301"/>
                  </a:cubicBezTo>
                  <a:cubicBezTo>
                    <a:pt x="257760" y="47149"/>
                    <a:pt x="196800" y="7144"/>
                    <a:pt x="196800" y="7144"/>
                  </a:cubicBez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9" name="任意多边形: 形状 28">
              <a:extLst>
                <a:ext uri="{FF2B5EF4-FFF2-40B4-BE49-F238E27FC236}">
                  <a16:creationId xmlns:a16="http://schemas.microsoft.com/office/drawing/2014/main" id="{3F1BABEE-D070-45E6-8357-BE8C6FACA0B8}"/>
                </a:ext>
              </a:extLst>
            </p:cNvPr>
            <p:cNvSpPr/>
            <p:nvPr/>
          </p:nvSpPr>
          <p:spPr>
            <a:xfrm flipH="1">
              <a:off x="7067219" y="1832246"/>
              <a:ext cx="667831" cy="2480516"/>
            </a:xfrm>
            <a:custGeom>
              <a:avLst/>
              <a:gdLst>
                <a:gd name="connsiteX0" fmla="*/ 26062 w 200025"/>
                <a:gd name="connsiteY0" fmla="*/ 176689 h 742950"/>
                <a:gd name="connsiteX1" fmla="*/ 15584 w 200025"/>
                <a:gd name="connsiteY1" fmla="*/ 310991 h 742950"/>
                <a:gd name="connsiteX2" fmla="*/ 18441 w 200025"/>
                <a:gd name="connsiteY2" fmla="*/ 736759 h 742950"/>
                <a:gd name="connsiteX3" fmla="*/ 200369 w 200025"/>
                <a:gd name="connsiteY3" fmla="*/ 731044 h 742950"/>
                <a:gd name="connsiteX4" fmla="*/ 147982 w 200025"/>
                <a:gd name="connsiteY4" fmla="*/ 341471 h 742950"/>
                <a:gd name="connsiteX5" fmla="*/ 186082 w 200025"/>
                <a:gd name="connsiteY5" fmla="*/ 54769 h 742950"/>
                <a:gd name="connsiteX6" fmla="*/ 158459 w 200025"/>
                <a:gd name="connsiteY6" fmla="*/ 7144 h 742950"/>
                <a:gd name="connsiteX7" fmla="*/ 108929 w 200025"/>
                <a:gd name="connsiteY7" fmla="*/ 30956 h 742950"/>
                <a:gd name="connsiteX8" fmla="*/ 26062 w 200025"/>
                <a:gd name="connsiteY8" fmla="*/ 176689 h 7429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0025" h="742950">
                  <a:moveTo>
                    <a:pt x="26062" y="176689"/>
                  </a:moveTo>
                  <a:cubicBezTo>
                    <a:pt x="26062" y="176689"/>
                    <a:pt x="18441" y="214789"/>
                    <a:pt x="15584" y="310991"/>
                  </a:cubicBezTo>
                  <a:cubicBezTo>
                    <a:pt x="12727" y="407194"/>
                    <a:pt x="-3466" y="718661"/>
                    <a:pt x="18441" y="736759"/>
                  </a:cubicBezTo>
                  <a:cubicBezTo>
                    <a:pt x="27014" y="743426"/>
                    <a:pt x="123216" y="737711"/>
                    <a:pt x="200369" y="731044"/>
                  </a:cubicBezTo>
                  <a:cubicBezTo>
                    <a:pt x="187987" y="656749"/>
                    <a:pt x="144172" y="405289"/>
                    <a:pt x="147982" y="341471"/>
                  </a:cubicBezTo>
                  <a:cubicBezTo>
                    <a:pt x="151792" y="268129"/>
                    <a:pt x="183224" y="86201"/>
                    <a:pt x="186082" y="54769"/>
                  </a:cubicBezTo>
                  <a:cubicBezTo>
                    <a:pt x="187987" y="33814"/>
                    <a:pt x="171794" y="19526"/>
                    <a:pt x="158459" y="7144"/>
                  </a:cubicBezTo>
                  <a:cubicBezTo>
                    <a:pt x="136552" y="16669"/>
                    <a:pt x="113691" y="25241"/>
                    <a:pt x="108929" y="30956"/>
                  </a:cubicBezTo>
                  <a:cubicBezTo>
                    <a:pt x="98452" y="40481"/>
                    <a:pt x="42254" y="115729"/>
                    <a:pt x="26062" y="176689"/>
                  </a:cubicBezTo>
                  <a:close/>
                </a:path>
              </a:pathLst>
            </a:custGeom>
            <a:solidFill>
              <a:schemeClr val="accent1">
                <a:lumMod val="5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0" name="任意多边形: 形状 29">
              <a:extLst>
                <a:ext uri="{FF2B5EF4-FFF2-40B4-BE49-F238E27FC236}">
                  <a16:creationId xmlns:a16="http://schemas.microsoft.com/office/drawing/2014/main" id="{5735E74A-D38F-40D4-963F-B26469BA5F7B}"/>
                </a:ext>
              </a:extLst>
            </p:cNvPr>
            <p:cNvSpPr/>
            <p:nvPr/>
          </p:nvSpPr>
          <p:spPr>
            <a:xfrm flipH="1">
              <a:off x="10033930" y="5216279"/>
              <a:ext cx="667831" cy="477021"/>
            </a:xfrm>
            <a:custGeom>
              <a:avLst/>
              <a:gdLst>
                <a:gd name="connsiteX0" fmla="*/ 12616 w 200025"/>
                <a:gd name="connsiteY0" fmla="*/ 11800 h 142875"/>
                <a:gd name="connsiteX1" fmla="*/ 10711 w 200025"/>
                <a:gd name="connsiteY1" fmla="*/ 81333 h 142875"/>
                <a:gd name="connsiteX2" fmla="*/ 27856 w 200025"/>
                <a:gd name="connsiteY2" fmla="*/ 135625 h 142875"/>
                <a:gd name="connsiteX3" fmla="*/ 189781 w 200025"/>
                <a:gd name="connsiteY3" fmla="*/ 142293 h 142875"/>
                <a:gd name="connsiteX4" fmla="*/ 153586 w 200025"/>
                <a:gd name="connsiteY4" fmla="*/ 101335 h 142875"/>
                <a:gd name="connsiteX5" fmla="*/ 84054 w 200025"/>
                <a:gd name="connsiteY5" fmla="*/ 11800 h 142875"/>
                <a:gd name="connsiteX6" fmla="*/ 12616 w 200025"/>
                <a:gd name="connsiteY6" fmla="*/ 11800 h 14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0025" h="142875">
                  <a:moveTo>
                    <a:pt x="12616" y="11800"/>
                  </a:moveTo>
                  <a:cubicBezTo>
                    <a:pt x="19284" y="31803"/>
                    <a:pt x="13569" y="53710"/>
                    <a:pt x="10711" y="81333"/>
                  </a:cubicBezTo>
                  <a:cubicBezTo>
                    <a:pt x="6901" y="108955"/>
                    <a:pt x="234" y="128958"/>
                    <a:pt x="27856" y="135625"/>
                  </a:cubicBezTo>
                  <a:cubicBezTo>
                    <a:pt x="54526" y="142293"/>
                    <a:pt x="189781" y="142293"/>
                    <a:pt x="189781" y="142293"/>
                  </a:cubicBezTo>
                  <a:cubicBezTo>
                    <a:pt x="189781" y="142293"/>
                    <a:pt x="214546" y="110860"/>
                    <a:pt x="153586" y="101335"/>
                  </a:cubicBezTo>
                  <a:cubicBezTo>
                    <a:pt x="105961" y="94668"/>
                    <a:pt x="82149" y="51805"/>
                    <a:pt x="84054" y="11800"/>
                  </a:cubicBezTo>
                  <a:cubicBezTo>
                    <a:pt x="85006" y="1323"/>
                    <a:pt x="12616" y="11800"/>
                    <a:pt x="12616" y="11800"/>
                  </a:cubicBezTo>
                  <a:close/>
                </a:path>
              </a:pathLst>
            </a:custGeom>
            <a:solidFill>
              <a:schemeClr val="tx2">
                <a:lumMod val="5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1" name="任意多边形: 形状 30">
              <a:extLst>
                <a:ext uri="{FF2B5EF4-FFF2-40B4-BE49-F238E27FC236}">
                  <a16:creationId xmlns:a16="http://schemas.microsoft.com/office/drawing/2014/main" id="{6A7EC498-7564-4E5C-9843-BBB80C99601F}"/>
                </a:ext>
              </a:extLst>
            </p:cNvPr>
            <p:cNvSpPr/>
            <p:nvPr/>
          </p:nvSpPr>
          <p:spPr>
            <a:xfrm flipH="1">
              <a:off x="10139684" y="3428682"/>
              <a:ext cx="636030" cy="2035296"/>
            </a:xfrm>
            <a:custGeom>
              <a:avLst/>
              <a:gdLst>
                <a:gd name="connsiteX0" fmla="*/ 190024 w 190500"/>
                <a:gd name="connsiteY0" fmla="*/ 10954 h 609600"/>
                <a:gd name="connsiteX1" fmla="*/ 164306 w 190500"/>
                <a:gd name="connsiteY1" fmla="*/ 301466 h 609600"/>
                <a:gd name="connsiteX2" fmla="*/ 124301 w 190500"/>
                <a:gd name="connsiteY2" fmla="*/ 598646 h 609600"/>
                <a:gd name="connsiteX3" fmla="*/ 29051 w 190500"/>
                <a:gd name="connsiteY3" fmla="*/ 602456 h 609600"/>
                <a:gd name="connsiteX4" fmla="*/ 32861 w 190500"/>
                <a:gd name="connsiteY4" fmla="*/ 299561 h 609600"/>
                <a:gd name="connsiteX5" fmla="*/ 7144 w 190500"/>
                <a:gd name="connsiteY5" fmla="*/ 7144 h 609600"/>
                <a:gd name="connsiteX6" fmla="*/ 190024 w 190500"/>
                <a:gd name="connsiteY6" fmla="*/ 10954 h 609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90500" h="609600">
                  <a:moveTo>
                    <a:pt x="190024" y="10954"/>
                  </a:moveTo>
                  <a:cubicBezTo>
                    <a:pt x="186214" y="103346"/>
                    <a:pt x="170974" y="290036"/>
                    <a:pt x="164306" y="301466"/>
                  </a:cubicBezTo>
                  <a:cubicBezTo>
                    <a:pt x="134779" y="358616"/>
                    <a:pt x="124301" y="598646"/>
                    <a:pt x="124301" y="598646"/>
                  </a:cubicBezTo>
                  <a:lnTo>
                    <a:pt x="29051" y="602456"/>
                  </a:lnTo>
                  <a:cubicBezTo>
                    <a:pt x="29051" y="602456"/>
                    <a:pt x="3334" y="388144"/>
                    <a:pt x="32861" y="299561"/>
                  </a:cubicBezTo>
                  <a:cubicBezTo>
                    <a:pt x="41434" y="272891"/>
                    <a:pt x="7144" y="7144"/>
                    <a:pt x="7144" y="7144"/>
                  </a:cubicBezTo>
                  <a:lnTo>
                    <a:pt x="190024" y="10954"/>
                  </a:lnTo>
                  <a:close/>
                </a:path>
              </a:pathLst>
            </a:custGeom>
            <a:solidFill>
              <a:schemeClr val="tx2">
                <a:lumMod val="5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2" name="任意多边形: 形状 31">
              <a:extLst>
                <a:ext uri="{FF2B5EF4-FFF2-40B4-BE49-F238E27FC236}">
                  <a16:creationId xmlns:a16="http://schemas.microsoft.com/office/drawing/2014/main" id="{782D6F6F-0262-47A4-BC77-2B4BBEEF8305}"/>
                </a:ext>
              </a:extLst>
            </p:cNvPr>
            <p:cNvSpPr/>
            <p:nvPr/>
          </p:nvSpPr>
          <p:spPr>
            <a:xfrm flipH="1">
              <a:off x="10138872" y="5300375"/>
              <a:ext cx="667831" cy="477021"/>
            </a:xfrm>
            <a:custGeom>
              <a:avLst/>
              <a:gdLst>
                <a:gd name="connsiteX0" fmla="*/ 12616 w 200025"/>
                <a:gd name="connsiteY0" fmla="*/ 11377 h 142875"/>
                <a:gd name="connsiteX1" fmla="*/ 10711 w 200025"/>
                <a:gd name="connsiteY1" fmla="*/ 80910 h 142875"/>
                <a:gd name="connsiteX2" fmla="*/ 27856 w 200025"/>
                <a:gd name="connsiteY2" fmla="*/ 135202 h 142875"/>
                <a:gd name="connsiteX3" fmla="*/ 189781 w 200025"/>
                <a:gd name="connsiteY3" fmla="*/ 141870 h 142875"/>
                <a:gd name="connsiteX4" fmla="*/ 153586 w 200025"/>
                <a:gd name="connsiteY4" fmla="*/ 100912 h 142875"/>
                <a:gd name="connsiteX5" fmla="*/ 84054 w 200025"/>
                <a:gd name="connsiteY5" fmla="*/ 11377 h 142875"/>
                <a:gd name="connsiteX6" fmla="*/ 12616 w 200025"/>
                <a:gd name="connsiteY6" fmla="*/ 11377 h 14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0025" h="142875">
                  <a:moveTo>
                    <a:pt x="12616" y="11377"/>
                  </a:moveTo>
                  <a:cubicBezTo>
                    <a:pt x="19284" y="31380"/>
                    <a:pt x="13569" y="53287"/>
                    <a:pt x="10711" y="80910"/>
                  </a:cubicBezTo>
                  <a:cubicBezTo>
                    <a:pt x="6901" y="108532"/>
                    <a:pt x="234" y="128535"/>
                    <a:pt x="27856" y="135202"/>
                  </a:cubicBezTo>
                  <a:cubicBezTo>
                    <a:pt x="55479" y="141870"/>
                    <a:pt x="189781" y="141870"/>
                    <a:pt x="189781" y="141870"/>
                  </a:cubicBezTo>
                  <a:cubicBezTo>
                    <a:pt x="189781" y="141870"/>
                    <a:pt x="214546" y="110437"/>
                    <a:pt x="153586" y="100912"/>
                  </a:cubicBezTo>
                  <a:cubicBezTo>
                    <a:pt x="105961" y="94245"/>
                    <a:pt x="82149" y="51382"/>
                    <a:pt x="84054" y="11377"/>
                  </a:cubicBezTo>
                  <a:cubicBezTo>
                    <a:pt x="85006" y="1852"/>
                    <a:pt x="12616" y="11377"/>
                    <a:pt x="12616" y="11377"/>
                  </a:cubicBez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3" name="任意多边形: 形状 32">
              <a:extLst>
                <a:ext uri="{FF2B5EF4-FFF2-40B4-BE49-F238E27FC236}">
                  <a16:creationId xmlns:a16="http://schemas.microsoft.com/office/drawing/2014/main" id="{7147FC56-46A7-4E01-B73B-7AD00C7AA23F}"/>
                </a:ext>
              </a:extLst>
            </p:cNvPr>
            <p:cNvSpPr/>
            <p:nvPr/>
          </p:nvSpPr>
          <p:spPr>
            <a:xfrm flipH="1">
              <a:off x="10244627" y="3492284"/>
              <a:ext cx="636030" cy="2035296"/>
            </a:xfrm>
            <a:custGeom>
              <a:avLst/>
              <a:gdLst>
                <a:gd name="connsiteX0" fmla="*/ 190024 w 190500"/>
                <a:gd name="connsiteY0" fmla="*/ 10954 h 609600"/>
                <a:gd name="connsiteX1" fmla="*/ 164306 w 190500"/>
                <a:gd name="connsiteY1" fmla="*/ 301466 h 609600"/>
                <a:gd name="connsiteX2" fmla="*/ 124301 w 190500"/>
                <a:gd name="connsiteY2" fmla="*/ 598646 h 609600"/>
                <a:gd name="connsiteX3" fmla="*/ 29051 w 190500"/>
                <a:gd name="connsiteY3" fmla="*/ 602456 h 609600"/>
                <a:gd name="connsiteX4" fmla="*/ 32861 w 190500"/>
                <a:gd name="connsiteY4" fmla="*/ 299561 h 609600"/>
                <a:gd name="connsiteX5" fmla="*/ 7144 w 190500"/>
                <a:gd name="connsiteY5" fmla="*/ 7144 h 609600"/>
                <a:gd name="connsiteX6" fmla="*/ 190024 w 190500"/>
                <a:gd name="connsiteY6" fmla="*/ 10954 h 609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90500" h="609600">
                  <a:moveTo>
                    <a:pt x="190024" y="10954"/>
                  </a:moveTo>
                  <a:cubicBezTo>
                    <a:pt x="186214" y="103346"/>
                    <a:pt x="170974" y="290036"/>
                    <a:pt x="164306" y="301466"/>
                  </a:cubicBezTo>
                  <a:cubicBezTo>
                    <a:pt x="134779" y="358616"/>
                    <a:pt x="124301" y="598646"/>
                    <a:pt x="124301" y="598646"/>
                  </a:cubicBezTo>
                  <a:lnTo>
                    <a:pt x="29051" y="602456"/>
                  </a:lnTo>
                  <a:cubicBezTo>
                    <a:pt x="29051" y="602456"/>
                    <a:pt x="3334" y="387191"/>
                    <a:pt x="32861" y="299561"/>
                  </a:cubicBezTo>
                  <a:cubicBezTo>
                    <a:pt x="41434" y="272891"/>
                    <a:pt x="7144" y="7144"/>
                    <a:pt x="7144" y="7144"/>
                  </a:cubicBezTo>
                  <a:lnTo>
                    <a:pt x="190024" y="10954"/>
                  </a:ln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4" name="任意多边形: 形状 33">
              <a:extLst>
                <a:ext uri="{FF2B5EF4-FFF2-40B4-BE49-F238E27FC236}">
                  <a16:creationId xmlns:a16="http://schemas.microsoft.com/office/drawing/2014/main" id="{777E5688-80D1-4E13-A79A-40DF2C051543}"/>
                </a:ext>
              </a:extLst>
            </p:cNvPr>
            <p:cNvSpPr/>
            <p:nvPr/>
          </p:nvSpPr>
          <p:spPr>
            <a:xfrm flipH="1">
              <a:off x="7074021" y="2000792"/>
              <a:ext cx="699632" cy="1653677"/>
            </a:xfrm>
            <a:custGeom>
              <a:avLst/>
              <a:gdLst>
                <a:gd name="connsiteX0" fmla="*/ 208121 w 209550"/>
                <a:gd name="connsiteY0" fmla="*/ 259556 h 495300"/>
                <a:gd name="connsiteX1" fmla="*/ 7144 w 209550"/>
                <a:gd name="connsiteY1" fmla="*/ 493871 h 495300"/>
                <a:gd name="connsiteX2" fmla="*/ 15716 w 209550"/>
                <a:gd name="connsiteY2" fmla="*/ 306229 h 495300"/>
                <a:gd name="connsiteX3" fmla="*/ 28099 w 209550"/>
                <a:gd name="connsiteY3" fmla="*/ 163354 h 495300"/>
                <a:gd name="connsiteX4" fmla="*/ 165259 w 209550"/>
                <a:gd name="connsiteY4" fmla="*/ 7144 h 495300"/>
                <a:gd name="connsiteX5" fmla="*/ 208121 w 209550"/>
                <a:gd name="connsiteY5" fmla="*/ 259556 h 495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50" h="495300">
                  <a:moveTo>
                    <a:pt x="208121" y="259556"/>
                  </a:moveTo>
                  <a:lnTo>
                    <a:pt x="7144" y="493871"/>
                  </a:lnTo>
                  <a:cubicBezTo>
                    <a:pt x="7144" y="493871"/>
                    <a:pt x="13811" y="329089"/>
                    <a:pt x="15716" y="306229"/>
                  </a:cubicBezTo>
                  <a:cubicBezTo>
                    <a:pt x="17621" y="282416"/>
                    <a:pt x="28099" y="163354"/>
                    <a:pt x="28099" y="163354"/>
                  </a:cubicBezTo>
                  <a:lnTo>
                    <a:pt x="165259" y="7144"/>
                  </a:lnTo>
                  <a:lnTo>
                    <a:pt x="208121" y="259556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5" name="任意多边形: 形状 34">
              <a:extLst>
                <a:ext uri="{FF2B5EF4-FFF2-40B4-BE49-F238E27FC236}">
                  <a16:creationId xmlns:a16="http://schemas.microsoft.com/office/drawing/2014/main" id="{0F2F0A9E-77B5-438A-B3CE-D0AE4E1FBB44}"/>
                </a:ext>
              </a:extLst>
            </p:cNvPr>
            <p:cNvSpPr/>
            <p:nvPr/>
          </p:nvSpPr>
          <p:spPr>
            <a:xfrm flipH="1">
              <a:off x="9462471" y="2105740"/>
              <a:ext cx="604228" cy="477021"/>
            </a:xfrm>
            <a:custGeom>
              <a:avLst/>
              <a:gdLst>
                <a:gd name="connsiteX0" fmla="*/ 171974 w 180975"/>
                <a:gd name="connsiteY0" fmla="*/ 43339 h 142875"/>
                <a:gd name="connsiteX1" fmla="*/ 140541 w 180975"/>
                <a:gd name="connsiteY1" fmla="*/ 34766 h 142875"/>
                <a:gd name="connsiteX2" fmla="*/ 36719 w 180975"/>
                <a:gd name="connsiteY2" fmla="*/ 7144 h 142875"/>
                <a:gd name="connsiteX3" fmla="*/ 25289 w 180975"/>
                <a:gd name="connsiteY3" fmla="*/ 139541 h 142875"/>
                <a:gd name="connsiteX4" fmla="*/ 177689 w 180975"/>
                <a:gd name="connsiteY4" fmla="*/ 110014 h 142875"/>
                <a:gd name="connsiteX5" fmla="*/ 173879 w 180975"/>
                <a:gd name="connsiteY5" fmla="*/ 77629 h 142875"/>
                <a:gd name="connsiteX6" fmla="*/ 171974 w 180975"/>
                <a:gd name="connsiteY6" fmla="*/ 43339 h 14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80975" h="142875">
                  <a:moveTo>
                    <a:pt x="171974" y="43339"/>
                  </a:moveTo>
                  <a:cubicBezTo>
                    <a:pt x="167211" y="34766"/>
                    <a:pt x="167211" y="34766"/>
                    <a:pt x="140541" y="34766"/>
                  </a:cubicBezTo>
                  <a:cubicBezTo>
                    <a:pt x="113871" y="34766"/>
                    <a:pt x="36719" y="7144"/>
                    <a:pt x="36719" y="7144"/>
                  </a:cubicBezTo>
                  <a:cubicBezTo>
                    <a:pt x="36719" y="7144"/>
                    <a:pt x="-21384" y="132874"/>
                    <a:pt x="25289" y="139541"/>
                  </a:cubicBezTo>
                  <a:cubicBezTo>
                    <a:pt x="71961" y="146209"/>
                    <a:pt x="174831" y="120491"/>
                    <a:pt x="177689" y="110014"/>
                  </a:cubicBezTo>
                  <a:cubicBezTo>
                    <a:pt x="180546" y="99536"/>
                    <a:pt x="171974" y="87154"/>
                    <a:pt x="173879" y="77629"/>
                  </a:cubicBezTo>
                  <a:cubicBezTo>
                    <a:pt x="174831" y="69056"/>
                    <a:pt x="171974" y="43339"/>
                    <a:pt x="171974" y="43339"/>
                  </a:cubicBezTo>
                  <a:close/>
                </a:path>
              </a:pathLst>
            </a:custGeom>
            <a:solidFill>
              <a:schemeClr val="accent1">
                <a:lumMod val="5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6" name="任意多边形: 形状 35">
              <a:extLst>
                <a:ext uri="{FF2B5EF4-FFF2-40B4-BE49-F238E27FC236}">
                  <a16:creationId xmlns:a16="http://schemas.microsoft.com/office/drawing/2014/main" id="{09D74941-9589-4AE9-84D8-BD6BDAE0DF33}"/>
                </a:ext>
              </a:extLst>
            </p:cNvPr>
            <p:cNvSpPr/>
            <p:nvPr/>
          </p:nvSpPr>
          <p:spPr>
            <a:xfrm flipH="1">
              <a:off x="9786685" y="1593733"/>
              <a:ext cx="1176655" cy="2639523"/>
            </a:xfrm>
            <a:custGeom>
              <a:avLst/>
              <a:gdLst>
                <a:gd name="connsiteX0" fmla="*/ 247174 w 352425"/>
                <a:gd name="connsiteY0" fmla="*/ 7144 h 790575"/>
                <a:gd name="connsiteX1" fmla="*/ 120491 w 352425"/>
                <a:gd name="connsiteY1" fmla="*/ 143351 h 790575"/>
                <a:gd name="connsiteX2" fmla="*/ 24289 w 352425"/>
                <a:gd name="connsiteY2" fmla="*/ 510064 h 790575"/>
                <a:gd name="connsiteX3" fmla="*/ 7144 w 352425"/>
                <a:gd name="connsiteY3" fmla="*/ 792004 h 790575"/>
                <a:gd name="connsiteX4" fmla="*/ 267176 w 352425"/>
                <a:gd name="connsiteY4" fmla="*/ 788194 h 790575"/>
                <a:gd name="connsiteX5" fmla="*/ 350996 w 352425"/>
                <a:gd name="connsiteY5" fmla="*/ 83344 h 790575"/>
                <a:gd name="connsiteX6" fmla="*/ 279559 w 352425"/>
                <a:gd name="connsiteY6" fmla="*/ 33814 h 790575"/>
                <a:gd name="connsiteX7" fmla="*/ 247174 w 352425"/>
                <a:gd name="connsiteY7" fmla="*/ 7144 h 790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52425" h="790575">
                  <a:moveTo>
                    <a:pt x="247174" y="7144"/>
                  </a:moveTo>
                  <a:cubicBezTo>
                    <a:pt x="205264" y="31909"/>
                    <a:pt x="167164" y="49054"/>
                    <a:pt x="120491" y="143351"/>
                  </a:cubicBezTo>
                  <a:cubicBezTo>
                    <a:pt x="77629" y="230029"/>
                    <a:pt x="30004" y="390049"/>
                    <a:pt x="24289" y="510064"/>
                  </a:cubicBezTo>
                  <a:cubicBezTo>
                    <a:pt x="19526" y="615791"/>
                    <a:pt x="7144" y="792004"/>
                    <a:pt x="7144" y="792004"/>
                  </a:cubicBezTo>
                  <a:lnTo>
                    <a:pt x="267176" y="788194"/>
                  </a:lnTo>
                  <a:cubicBezTo>
                    <a:pt x="267176" y="788194"/>
                    <a:pt x="367189" y="104299"/>
                    <a:pt x="350996" y="83344"/>
                  </a:cubicBezTo>
                  <a:cubicBezTo>
                    <a:pt x="345281" y="75724"/>
                    <a:pt x="286226" y="38576"/>
                    <a:pt x="279559" y="33814"/>
                  </a:cubicBezTo>
                  <a:cubicBezTo>
                    <a:pt x="250984" y="11906"/>
                    <a:pt x="247174" y="7144"/>
                    <a:pt x="247174" y="7144"/>
                  </a:cubicBez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7" name="任意多边形: 形状 36">
              <a:extLst>
                <a:ext uri="{FF2B5EF4-FFF2-40B4-BE49-F238E27FC236}">
                  <a16:creationId xmlns:a16="http://schemas.microsoft.com/office/drawing/2014/main" id="{308C3835-6770-4D73-AEE4-8A73098AB8C7}"/>
                </a:ext>
              </a:extLst>
            </p:cNvPr>
            <p:cNvSpPr/>
            <p:nvPr/>
          </p:nvSpPr>
          <p:spPr>
            <a:xfrm flipH="1">
              <a:off x="7960629" y="5158682"/>
              <a:ext cx="1590074" cy="254413"/>
            </a:xfrm>
            <a:custGeom>
              <a:avLst/>
              <a:gdLst>
                <a:gd name="connsiteX0" fmla="*/ 470816 w 476250"/>
                <a:gd name="connsiteY0" fmla="*/ 36671 h 76200"/>
                <a:gd name="connsiteX1" fmla="*/ 465101 w 476250"/>
                <a:gd name="connsiteY1" fmla="*/ 71914 h 76200"/>
                <a:gd name="connsiteX2" fmla="*/ 19331 w 476250"/>
                <a:gd name="connsiteY2" fmla="*/ 71914 h 76200"/>
                <a:gd name="connsiteX3" fmla="*/ 14568 w 476250"/>
                <a:gd name="connsiteY3" fmla="*/ 36671 h 76200"/>
                <a:gd name="connsiteX4" fmla="*/ 14568 w 476250"/>
                <a:gd name="connsiteY4" fmla="*/ 36671 h 76200"/>
                <a:gd name="connsiteX5" fmla="*/ 54573 w 476250"/>
                <a:gd name="connsiteY5" fmla="*/ 7144 h 76200"/>
                <a:gd name="connsiteX6" fmla="*/ 430811 w 476250"/>
                <a:gd name="connsiteY6" fmla="*/ 7144 h 76200"/>
                <a:gd name="connsiteX7" fmla="*/ 470816 w 476250"/>
                <a:gd name="connsiteY7" fmla="*/ 36671 h 76200"/>
                <a:gd name="connsiteX8" fmla="*/ 470816 w 476250"/>
                <a:gd name="connsiteY8" fmla="*/ 36671 h 76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76250" h="76200">
                  <a:moveTo>
                    <a:pt x="470816" y="36671"/>
                  </a:moveTo>
                  <a:cubicBezTo>
                    <a:pt x="482246" y="55721"/>
                    <a:pt x="480341" y="71914"/>
                    <a:pt x="465101" y="71914"/>
                  </a:cubicBezTo>
                  <a:lnTo>
                    <a:pt x="19331" y="71914"/>
                  </a:lnTo>
                  <a:cubicBezTo>
                    <a:pt x="5043" y="71914"/>
                    <a:pt x="3138" y="54769"/>
                    <a:pt x="14568" y="36671"/>
                  </a:cubicBezTo>
                  <a:lnTo>
                    <a:pt x="14568" y="36671"/>
                  </a:lnTo>
                  <a:cubicBezTo>
                    <a:pt x="25046" y="19526"/>
                    <a:pt x="42191" y="7144"/>
                    <a:pt x="54573" y="7144"/>
                  </a:cubicBezTo>
                  <a:lnTo>
                    <a:pt x="430811" y="7144"/>
                  </a:lnTo>
                  <a:cubicBezTo>
                    <a:pt x="443193" y="7144"/>
                    <a:pt x="460338" y="19526"/>
                    <a:pt x="470816" y="36671"/>
                  </a:cubicBezTo>
                  <a:lnTo>
                    <a:pt x="470816" y="36671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8" name="任意多边形: 形状 37">
              <a:extLst>
                <a:ext uri="{FF2B5EF4-FFF2-40B4-BE49-F238E27FC236}">
                  <a16:creationId xmlns:a16="http://schemas.microsoft.com/office/drawing/2014/main" id="{90F22E9B-8015-4B02-A79A-1BE90341DC4D}"/>
                </a:ext>
              </a:extLst>
            </p:cNvPr>
            <p:cNvSpPr/>
            <p:nvPr/>
          </p:nvSpPr>
          <p:spPr>
            <a:xfrm flipH="1">
              <a:off x="9347825" y="5683405"/>
              <a:ext cx="159007" cy="222611"/>
            </a:xfrm>
            <a:custGeom>
              <a:avLst/>
              <a:gdLst>
                <a:gd name="connsiteX0" fmla="*/ 47149 w 47625"/>
                <a:gd name="connsiteY0" fmla="*/ 39529 h 66675"/>
                <a:gd name="connsiteX1" fmla="*/ 27146 w 47625"/>
                <a:gd name="connsiteY1" fmla="*/ 59531 h 66675"/>
                <a:gd name="connsiteX2" fmla="*/ 27146 w 47625"/>
                <a:gd name="connsiteY2" fmla="*/ 59531 h 66675"/>
                <a:gd name="connsiteX3" fmla="*/ 7144 w 47625"/>
                <a:gd name="connsiteY3" fmla="*/ 39529 h 66675"/>
                <a:gd name="connsiteX4" fmla="*/ 7144 w 47625"/>
                <a:gd name="connsiteY4" fmla="*/ 27146 h 66675"/>
                <a:gd name="connsiteX5" fmla="*/ 27146 w 47625"/>
                <a:gd name="connsiteY5" fmla="*/ 7144 h 66675"/>
                <a:gd name="connsiteX6" fmla="*/ 27146 w 47625"/>
                <a:gd name="connsiteY6" fmla="*/ 7144 h 66675"/>
                <a:gd name="connsiteX7" fmla="*/ 47149 w 47625"/>
                <a:gd name="connsiteY7" fmla="*/ 27146 h 66675"/>
                <a:gd name="connsiteX8" fmla="*/ 47149 w 47625"/>
                <a:gd name="connsiteY8" fmla="*/ 39529 h 66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7625" h="66675">
                  <a:moveTo>
                    <a:pt x="47149" y="39529"/>
                  </a:moveTo>
                  <a:cubicBezTo>
                    <a:pt x="47149" y="50959"/>
                    <a:pt x="37624" y="59531"/>
                    <a:pt x="27146" y="59531"/>
                  </a:cubicBezTo>
                  <a:lnTo>
                    <a:pt x="27146" y="59531"/>
                  </a:lnTo>
                  <a:cubicBezTo>
                    <a:pt x="15716" y="59531"/>
                    <a:pt x="7144" y="50006"/>
                    <a:pt x="7144" y="39529"/>
                  </a:cubicBezTo>
                  <a:lnTo>
                    <a:pt x="7144" y="27146"/>
                  </a:lnTo>
                  <a:cubicBezTo>
                    <a:pt x="7144" y="15716"/>
                    <a:pt x="16669" y="7144"/>
                    <a:pt x="27146" y="7144"/>
                  </a:cubicBezTo>
                  <a:lnTo>
                    <a:pt x="27146" y="7144"/>
                  </a:lnTo>
                  <a:cubicBezTo>
                    <a:pt x="38576" y="7144"/>
                    <a:pt x="47149" y="16669"/>
                    <a:pt x="47149" y="27146"/>
                  </a:cubicBezTo>
                  <a:lnTo>
                    <a:pt x="47149" y="39529"/>
                  </a:lnTo>
                  <a:close/>
                </a:path>
              </a:pathLst>
            </a:custGeom>
            <a:solidFill>
              <a:schemeClr val="accent1">
                <a:lumMod val="5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9" name="任意多边形: 形状 38">
              <a:extLst>
                <a:ext uri="{FF2B5EF4-FFF2-40B4-BE49-F238E27FC236}">
                  <a16:creationId xmlns:a16="http://schemas.microsoft.com/office/drawing/2014/main" id="{D105F515-4B90-4654-B039-8260A4CB036B}"/>
                </a:ext>
              </a:extLst>
            </p:cNvPr>
            <p:cNvSpPr/>
            <p:nvPr/>
          </p:nvSpPr>
          <p:spPr>
            <a:xfrm flipH="1">
              <a:off x="7996264" y="5683405"/>
              <a:ext cx="159007" cy="222611"/>
            </a:xfrm>
            <a:custGeom>
              <a:avLst/>
              <a:gdLst>
                <a:gd name="connsiteX0" fmla="*/ 47149 w 47625"/>
                <a:gd name="connsiteY0" fmla="*/ 39529 h 66675"/>
                <a:gd name="connsiteX1" fmla="*/ 27146 w 47625"/>
                <a:gd name="connsiteY1" fmla="*/ 59531 h 66675"/>
                <a:gd name="connsiteX2" fmla="*/ 27146 w 47625"/>
                <a:gd name="connsiteY2" fmla="*/ 59531 h 66675"/>
                <a:gd name="connsiteX3" fmla="*/ 7144 w 47625"/>
                <a:gd name="connsiteY3" fmla="*/ 39529 h 66675"/>
                <a:gd name="connsiteX4" fmla="*/ 7144 w 47625"/>
                <a:gd name="connsiteY4" fmla="*/ 27146 h 66675"/>
                <a:gd name="connsiteX5" fmla="*/ 27146 w 47625"/>
                <a:gd name="connsiteY5" fmla="*/ 7144 h 66675"/>
                <a:gd name="connsiteX6" fmla="*/ 27146 w 47625"/>
                <a:gd name="connsiteY6" fmla="*/ 7144 h 66675"/>
                <a:gd name="connsiteX7" fmla="*/ 47149 w 47625"/>
                <a:gd name="connsiteY7" fmla="*/ 27146 h 66675"/>
                <a:gd name="connsiteX8" fmla="*/ 47149 w 47625"/>
                <a:gd name="connsiteY8" fmla="*/ 39529 h 66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7625" h="66675">
                  <a:moveTo>
                    <a:pt x="47149" y="39529"/>
                  </a:moveTo>
                  <a:cubicBezTo>
                    <a:pt x="47149" y="50959"/>
                    <a:pt x="37624" y="59531"/>
                    <a:pt x="27146" y="59531"/>
                  </a:cubicBezTo>
                  <a:lnTo>
                    <a:pt x="27146" y="59531"/>
                  </a:lnTo>
                  <a:cubicBezTo>
                    <a:pt x="15716" y="59531"/>
                    <a:pt x="7144" y="50006"/>
                    <a:pt x="7144" y="39529"/>
                  </a:cubicBezTo>
                  <a:lnTo>
                    <a:pt x="7144" y="27146"/>
                  </a:lnTo>
                  <a:cubicBezTo>
                    <a:pt x="7144" y="15716"/>
                    <a:pt x="16669" y="7144"/>
                    <a:pt x="27146" y="7144"/>
                  </a:cubicBezTo>
                  <a:lnTo>
                    <a:pt x="27146" y="7144"/>
                  </a:lnTo>
                  <a:cubicBezTo>
                    <a:pt x="38576" y="7144"/>
                    <a:pt x="47149" y="16669"/>
                    <a:pt x="47149" y="27146"/>
                  </a:cubicBezTo>
                  <a:lnTo>
                    <a:pt x="47149" y="39529"/>
                  </a:lnTo>
                  <a:close/>
                </a:path>
              </a:pathLst>
            </a:custGeom>
            <a:solidFill>
              <a:schemeClr val="accent1">
                <a:lumMod val="5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0" name="任意多边形: 形状 39">
              <a:extLst>
                <a:ext uri="{FF2B5EF4-FFF2-40B4-BE49-F238E27FC236}">
                  <a16:creationId xmlns:a16="http://schemas.microsoft.com/office/drawing/2014/main" id="{B31D589E-1953-4A93-929A-26580906771F}"/>
                </a:ext>
              </a:extLst>
            </p:cNvPr>
            <p:cNvSpPr/>
            <p:nvPr/>
          </p:nvSpPr>
          <p:spPr>
            <a:xfrm flipH="1">
              <a:off x="7986722" y="5575281"/>
              <a:ext cx="1526471" cy="127205"/>
            </a:xfrm>
            <a:custGeom>
              <a:avLst/>
              <a:gdLst>
                <a:gd name="connsiteX0" fmla="*/ 454819 w 457200"/>
                <a:gd name="connsiteY0" fmla="*/ 22384 h 38100"/>
                <a:gd name="connsiteX1" fmla="*/ 439579 w 457200"/>
                <a:gd name="connsiteY1" fmla="*/ 37624 h 38100"/>
                <a:gd name="connsiteX2" fmla="*/ 22384 w 457200"/>
                <a:gd name="connsiteY2" fmla="*/ 37624 h 38100"/>
                <a:gd name="connsiteX3" fmla="*/ 7144 w 457200"/>
                <a:gd name="connsiteY3" fmla="*/ 22384 h 38100"/>
                <a:gd name="connsiteX4" fmla="*/ 7144 w 457200"/>
                <a:gd name="connsiteY4" fmla="*/ 22384 h 38100"/>
                <a:gd name="connsiteX5" fmla="*/ 22384 w 457200"/>
                <a:gd name="connsiteY5" fmla="*/ 7144 h 38100"/>
                <a:gd name="connsiteX6" fmla="*/ 439579 w 457200"/>
                <a:gd name="connsiteY6" fmla="*/ 7144 h 38100"/>
                <a:gd name="connsiteX7" fmla="*/ 454819 w 457200"/>
                <a:gd name="connsiteY7" fmla="*/ 22384 h 38100"/>
                <a:gd name="connsiteX8" fmla="*/ 454819 w 457200"/>
                <a:gd name="connsiteY8" fmla="*/ 22384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57200" h="38100">
                  <a:moveTo>
                    <a:pt x="454819" y="22384"/>
                  </a:moveTo>
                  <a:cubicBezTo>
                    <a:pt x="454819" y="30956"/>
                    <a:pt x="448151" y="37624"/>
                    <a:pt x="439579" y="37624"/>
                  </a:cubicBezTo>
                  <a:lnTo>
                    <a:pt x="22384" y="37624"/>
                  </a:lnTo>
                  <a:cubicBezTo>
                    <a:pt x="13811" y="37624"/>
                    <a:pt x="7144" y="30956"/>
                    <a:pt x="7144" y="22384"/>
                  </a:cubicBezTo>
                  <a:lnTo>
                    <a:pt x="7144" y="22384"/>
                  </a:lnTo>
                  <a:cubicBezTo>
                    <a:pt x="7144" y="13811"/>
                    <a:pt x="13811" y="7144"/>
                    <a:pt x="22384" y="7144"/>
                  </a:cubicBezTo>
                  <a:lnTo>
                    <a:pt x="439579" y="7144"/>
                  </a:lnTo>
                  <a:cubicBezTo>
                    <a:pt x="448151" y="7144"/>
                    <a:pt x="454819" y="13811"/>
                    <a:pt x="454819" y="22384"/>
                  </a:cubicBezTo>
                  <a:lnTo>
                    <a:pt x="454819" y="22384"/>
                  </a:lnTo>
                  <a:close/>
                </a:path>
              </a:pathLst>
            </a:custGeom>
            <a:solidFill>
              <a:schemeClr val="accent1">
                <a:lumMod val="5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1" name="任意多边形: 形状 40">
              <a:extLst>
                <a:ext uri="{FF2B5EF4-FFF2-40B4-BE49-F238E27FC236}">
                  <a16:creationId xmlns:a16="http://schemas.microsoft.com/office/drawing/2014/main" id="{B93B1301-3955-4DFF-9917-EF69B74A6EC9}"/>
                </a:ext>
              </a:extLst>
            </p:cNvPr>
            <p:cNvSpPr/>
            <p:nvPr/>
          </p:nvSpPr>
          <p:spPr>
            <a:xfrm flipH="1">
              <a:off x="7916760" y="5247727"/>
              <a:ext cx="1653676" cy="381618"/>
            </a:xfrm>
            <a:custGeom>
              <a:avLst/>
              <a:gdLst>
                <a:gd name="connsiteX0" fmla="*/ 490061 w 495300"/>
                <a:gd name="connsiteY0" fmla="*/ 72866 h 114300"/>
                <a:gd name="connsiteX1" fmla="*/ 447199 w 495300"/>
                <a:gd name="connsiteY1" fmla="*/ 111919 h 114300"/>
                <a:gd name="connsiteX2" fmla="*/ 50006 w 495300"/>
                <a:gd name="connsiteY2" fmla="*/ 111919 h 114300"/>
                <a:gd name="connsiteX3" fmla="*/ 7144 w 495300"/>
                <a:gd name="connsiteY3" fmla="*/ 72866 h 114300"/>
                <a:gd name="connsiteX4" fmla="*/ 7144 w 495300"/>
                <a:gd name="connsiteY4" fmla="*/ 46196 h 114300"/>
                <a:gd name="connsiteX5" fmla="*/ 50006 w 495300"/>
                <a:gd name="connsiteY5" fmla="*/ 7144 h 114300"/>
                <a:gd name="connsiteX6" fmla="*/ 447199 w 495300"/>
                <a:gd name="connsiteY6" fmla="*/ 7144 h 114300"/>
                <a:gd name="connsiteX7" fmla="*/ 490061 w 495300"/>
                <a:gd name="connsiteY7" fmla="*/ 46196 h 114300"/>
                <a:gd name="connsiteX8" fmla="*/ 490061 w 495300"/>
                <a:gd name="connsiteY8" fmla="*/ 72866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95300" h="114300">
                  <a:moveTo>
                    <a:pt x="490061" y="72866"/>
                  </a:moveTo>
                  <a:cubicBezTo>
                    <a:pt x="490061" y="94774"/>
                    <a:pt x="471011" y="111919"/>
                    <a:pt x="447199" y="111919"/>
                  </a:cubicBezTo>
                  <a:lnTo>
                    <a:pt x="50006" y="111919"/>
                  </a:lnTo>
                  <a:cubicBezTo>
                    <a:pt x="26194" y="111919"/>
                    <a:pt x="7144" y="94774"/>
                    <a:pt x="7144" y="72866"/>
                  </a:cubicBezTo>
                  <a:lnTo>
                    <a:pt x="7144" y="46196"/>
                  </a:lnTo>
                  <a:cubicBezTo>
                    <a:pt x="7144" y="24289"/>
                    <a:pt x="26194" y="7144"/>
                    <a:pt x="50006" y="7144"/>
                  </a:cubicBezTo>
                  <a:lnTo>
                    <a:pt x="447199" y="7144"/>
                  </a:lnTo>
                  <a:cubicBezTo>
                    <a:pt x="471011" y="7144"/>
                    <a:pt x="490061" y="24289"/>
                    <a:pt x="490061" y="46196"/>
                  </a:cubicBezTo>
                  <a:lnTo>
                    <a:pt x="490061" y="72866"/>
                  </a:lnTo>
                  <a:close/>
                </a:path>
              </a:pathLst>
            </a:custGeom>
            <a:solidFill>
              <a:schemeClr val="tx2">
                <a:lumMod val="20000"/>
                <a:lumOff val="8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2" name="任意多边形: 形状 41">
              <a:extLst>
                <a:ext uri="{FF2B5EF4-FFF2-40B4-BE49-F238E27FC236}">
                  <a16:creationId xmlns:a16="http://schemas.microsoft.com/office/drawing/2014/main" id="{2F146B88-4F20-4E92-A5C1-82E94C297370}"/>
                </a:ext>
              </a:extLst>
            </p:cNvPr>
            <p:cNvSpPr/>
            <p:nvPr/>
          </p:nvSpPr>
          <p:spPr>
            <a:xfrm flipH="1">
              <a:off x="8218874" y="3676732"/>
              <a:ext cx="1049449" cy="1558273"/>
            </a:xfrm>
            <a:custGeom>
              <a:avLst/>
              <a:gdLst>
                <a:gd name="connsiteX0" fmla="*/ 308134 w 314325"/>
                <a:gd name="connsiteY0" fmla="*/ 447199 h 466725"/>
                <a:gd name="connsiteX1" fmla="*/ 280511 w 314325"/>
                <a:gd name="connsiteY1" fmla="*/ 464344 h 466725"/>
                <a:gd name="connsiteX2" fmla="*/ 35719 w 314325"/>
                <a:gd name="connsiteY2" fmla="*/ 464344 h 466725"/>
                <a:gd name="connsiteX3" fmla="*/ 7144 w 314325"/>
                <a:gd name="connsiteY3" fmla="*/ 447199 h 466725"/>
                <a:gd name="connsiteX4" fmla="*/ 7144 w 314325"/>
                <a:gd name="connsiteY4" fmla="*/ 34766 h 466725"/>
                <a:gd name="connsiteX5" fmla="*/ 35719 w 314325"/>
                <a:gd name="connsiteY5" fmla="*/ 7144 h 466725"/>
                <a:gd name="connsiteX6" fmla="*/ 279559 w 314325"/>
                <a:gd name="connsiteY6" fmla="*/ 7144 h 466725"/>
                <a:gd name="connsiteX7" fmla="*/ 307181 w 314325"/>
                <a:gd name="connsiteY7" fmla="*/ 34766 h 466725"/>
                <a:gd name="connsiteX8" fmla="*/ 307181 w 314325"/>
                <a:gd name="connsiteY8" fmla="*/ 447199 h 466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14325" h="466725">
                  <a:moveTo>
                    <a:pt x="308134" y="447199"/>
                  </a:moveTo>
                  <a:cubicBezTo>
                    <a:pt x="308134" y="462439"/>
                    <a:pt x="295751" y="464344"/>
                    <a:pt x="280511" y="464344"/>
                  </a:cubicBezTo>
                  <a:lnTo>
                    <a:pt x="35719" y="464344"/>
                  </a:lnTo>
                  <a:cubicBezTo>
                    <a:pt x="20479" y="464344"/>
                    <a:pt x="7144" y="462439"/>
                    <a:pt x="7144" y="447199"/>
                  </a:cubicBezTo>
                  <a:lnTo>
                    <a:pt x="7144" y="34766"/>
                  </a:lnTo>
                  <a:cubicBezTo>
                    <a:pt x="7144" y="19526"/>
                    <a:pt x="19526" y="7144"/>
                    <a:pt x="35719" y="7144"/>
                  </a:cubicBezTo>
                  <a:lnTo>
                    <a:pt x="279559" y="7144"/>
                  </a:lnTo>
                  <a:cubicBezTo>
                    <a:pt x="294799" y="7144"/>
                    <a:pt x="307181" y="19526"/>
                    <a:pt x="307181" y="34766"/>
                  </a:cubicBezTo>
                  <a:lnTo>
                    <a:pt x="307181" y="447199"/>
                  </a:lnTo>
                  <a:close/>
                </a:path>
              </a:pathLst>
            </a:custGeom>
            <a:solidFill>
              <a:schemeClr val="tx2">
                <a:lumMod val="20000"/>
                <a:lumOff val="8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3" name="任意多边形: 形状 42">
              <a:extLst>
                <a:ext uri="{FF2B5EF4-FFF2-40B4-BE49-F238E27FC236}">
                  <a16:creationId xmlns:a16="http://schemas.microsoft.com/office/drawing/2014/main" id="{4B7948E4-0784-40BF-8907-CD424AD61A7D}"/>
                </a:ext>
              </a:extLst>
            </p:cNvPr>
            <p:cNvSpPr/>
            <p:nvPr/>
          </p:nvSpPr>
          <p:spPr>
            <a:xfrm flipH="1">
              <a:off x="7242569" y="2271108"/>
              <a:ext cx="3084745" cy="1971692"/>
            </a:xfrm>
            <a:custGeom>
              <a:avLst/>
              <a:gdLst>
                <a:gd name="connsiteX0" fmla="*/ 872014 w 923925"/>
                <a:gd name="connsiteY0" fmla="*/ 301466 h 590550"/>
                <a:gd name="connsiteX1" fmla="*/ 767239 w 923925"/>
                <a:gd name="connsiteY1" fmla="*/ 158591 h 590550"/>
                <a:gd name="connsiteX2" fmla="*/ 486251 w 923925"/>
                <a:gd name="connsiteY2" fmla="*/ 7144 h 590550"/>
                <a:gd name="connsiteX3" fmla="*/ 190976 w 923925"/>
                <a:gd name="connsiteY3" fmla="*/ 166211 h 590550"/>
                <a:gd name="connsiteX4" fmla="*/ 46196 w 923925"/>
                <a:gd name="connsiteY4" fmla="*/ 300514 h 590550"/>
                <a:gd name="connsiteX5" fmla="*/ 7144 w 923925"/>
                <a:gd name="connsiteY5" fmla="*/ 586264 h 590550"/>
                <a:gd name="connsiteX6" fmla="*/ 921544 w 923925"/>
                <a:gd name="connsiteY6" fmla="*/ 582454 h 590550"/>
                <a:gd name="connsiteX7" fmla="*/ 872014 w 923925"/>
                <a:gd name="connsiteY7" fmla="*/ 301466 h 590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23925" h="590550">
                  <a:moveTo>
                    <a:pt x="872014" y="301466"/>
                  </a:moveTo>
                  <a:lnTo>
                    <a:pt x="767239" y="158591"/>
                  </a:lnTo>
                  <a:cubicBezTo>
                    <a:pt x="676751" y="33814"/>
                    <a:pt x="570071" y="7144"/>
                    <a:pt x="486251" y="7144"/>
                  </a:cubicBezTo>
                  <a:cubicBezTo>
                    <a:pt x="359569" y="7144"/>
                    <a:pt x="224314" y="110966"/>
                    <a:pt x="190976" y="166211"/>
                  </a:cubicBezTo>
                  <a:lnTo>
                    <a:pt x="46196" y="300514"/>
                  </a:lnTo>
                  <a:lnTo>
                    <a:pt x="7144" y="586264"/>
                  </a:lnTo>
                  <a:lnTo>
                    <a:pt x="921544" y="582454"/>
                  </a:lnTo>
                  <a:lnTo>
                    <a:pt x="872014" y="301466"/>
                  </a:lnTo>
                  <a:close/>
                </a:path>
              </a:pathLst>
            </a:custGeom>
            <a:solidFill>
              <a:schemeClr val="accent6">
                <a:lumMod val="40000"/>
                <a:lumOff val="6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4" name="任意多边形: 形状 43">
              <a:extLst>
                <a:ext uri="{FF2B5EF4-FFF2-40B4-BE49-F238E27FC236}">
                  <a16:creationId xmlns:a16="http://schemas.microsoft.com/office/drawing/2014/main" id="{AB08CD20-3B41-40E6-87E4-E748B71300F7}"/>
                </a:ext>
              </a:extLst>
            </p:cNvPr>
            <p:cNvSpPr/>
            <p:nvPr/>
          </p:nvSpPr>
          <p:spPr>
            <a:xfrm flipH="1">
              <a:off x="7229845" y="3250592"/>
              <a:ext cx="3084745" cy="985847"/>
            </a:xfrm>
            <a:custGeom>
              <a:avLst/>
              <a:gdLst>
                <a:gd name="connsiteX0" fmla="*/ 7144 w 923925"/>
                <a:gd name="connsiteY0" fmla="*/ 292894 h 295275"/>
                <a:gd name="connsiteX1" fmla="*/ 921544 w 923925"/>
                <a:gd name="connsiteY1" fmla="*/ 290036 h 295275"/>
                <a:gd name="connsiteX2" fmla="*/ 875824 w 923925"/>
                <a:gd name="connsiteY2" fmla="*/ 16669 h 295275"/>
                <a:gd name="connsiteX3" fmla="*/ 868204 w 923925"/>
                <a:gd name="connsiteY3" fmla="*/ 7144 h 295275"/>
                <a:gd name="connsiteX4" fmla="*/ 46196 w 923925"/>
                <a:gd name="connsiteY4" fmla="*/ 7144 h 295275"/>
                <a:gd name="connsiteX5" fmla="*/ 40481 w 923925"/>
                <a:gd name="connsiteY5" fmla="*/ 13811 h 295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23925" h="295275">
                  <a:moveTo>
                    <a:pt x="7144" y="292894"/>
                  </a:moveTo>
                  <a:lnTo>
                    <a:pt x="921544" y="290036"/>
                  </a:lnTo>
                  <a:lnTo>
                    <a:pt x="875824" y="16669"/>
                  </a:lnTo>
                  <a:lnTo>
                    <a:pt x="868204" y="7144"/>
                  </a:lnTo>
                  <a:lnTo>
                    <a:pt x="46196" y="7144"/>
                  </a:lnTo>
                  <a:lnTo>
                    <a:pt x="40481" y="13811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5" name="任意多边形: 形状 44">
              <a:extLst>
                <a:ext uri="{FF2B5EF4-FFF2-40B4-BE49-F238E27FC236}">
                  <a16:creationId xmlns:a16="http://schemas.microsoft.com/office/drawing/2014/main" id="{86188DCB-B3E7-4202-8B48-FD0584D898E7}"/>
                </a:ext>
              </a:extLst>
            </p:cNvPr>
            <p:cNvSpPr/>
            <p:nvPr/>
          </p:nvSpPr>
          <p:spPr>
            <a:xfrm flipH="1">
              <a:off x="10041098" y="1561931"/>
              <a:ext cx="922242" cy="2671325"/>
            </a:xfrm>
            <a:custGeom>
              <a:avLst/>
              <a:gdLst>
                <a:gd name="connsiteX0" fmla="*/ 250031 w 276225"/>
                <a:gd name="connsiteY0" fmla="*/ 7144 h 800100"/>
                <a:gd name="connsiteX1" fmla="*/ 109061 w 276225"/>
                <a:gd name="connsiteY1" fmla="*/ 148114 h 800100"/>
                <a:gd name="connsiteX2" fmla="*/ 16669 w 276225"/>
                <a:gd name="connsiteY2" fmla="*/ 516731 h 800100"/>
                <a:gd name="connsiteX3" fmla="*/ 7144 w 276225"/>
                <a:gd name="connsiteY3" fmla="*/ 800576 h 800100"/>
                <a:gd name="connsiteX4" fmla="*/ 146209 w 276225"/>
                <a:gd name="connsiteY4" fmla="*/ 798671 h 800100"/>
                <a:gd name="connsiteX5" fmla="*/ 222409 w 276225"/>
                <a:gd name="connsiteY5" fmla="*/ 140494 h 800100"/>
                <a:gd name="connsiteX6" fmla="*/ 276701 w 276225"/>
                <a:gd name="connsiteY6" fmla="*/ 41434 h 800100"/>
                <a:gd name="connsiteX7" fmla="*/ 250031 w 276225"/>
                <a:gd name="connsiteY7" fmla="*/ 7144 h 80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76225" h="800100">
                  <a:moveTo>
                    <a:pt x="250031" y="7144"/>
                  </a:moveTo>
                  <a:cubicBezTo>
                    <a:pt x="208121" y="31909"/>
                    <a:pt x="156686" y="54769"/>
                    <a:pt x="109061" y="148114"/>
                  </a:cubicBezTo>
                  <a:cubicBezTo>
                    <a:pt x="66199" y="234791"/>
                    <a:pt x="22384" y="396716"/>
                    <a:pt x="16669" y="516731"/>
                  </a:cubicBezTo>
                  <a:cubicBezTo>
                    <a:pt x="11906" y="622459"/>
                    <a:pt x="7144" y="800576"/>
                    <a:pt x="7144" y="800576"/>
                  </a:cubicBezTo>
                  <a:lnTo>
                    <a:pt x="146209" y="798671"/>
                  </a:lnTo>
                  <a:cubicBezTo>
                    <a:pt x="150971" y="455771"/>
                    <a:pt x="210026" y="176689"/>
                    <a:pt x="222409" y="140494"/>
                  </a:cubicBezTo>
                  <a:cubicBezTo>
                    <a:pt x="235744" y="104299"/>
                    <a:pt x="252889" y="60484"/>
                    <a:pt x="276701" y="41434"/>
                  </a:cubicBezTo>
                  <a:cubicBezTo>
                    <a:pt x="250984" y="21431"/>
                    <a:pt x="250031" y="7144"/>
                    <a:pt x="250031" y="7144"/>
                  </a:cubicBezTo>
                  <a:close/>
                </a:path>
              </a:pathLst>
            </a:custGeom>
            <a:solidFill>
              <a:schemeClr val="accent1">
                <a:lumMod val="5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6" name="任意多边形: 形状 45">
              <a:extLst>
                <a:ext uri="{FF2B5EF4-FFF2-40B4-BE49-F238E27FC236}">
                  <a16:creationId xmlns:a16="http://schemas.microsoft.com/office/drawing/2014/main" id="{B8BC5F6B-6F2D-4281-AE4B-456BD89316DB}"/>
                </a:ext>
              </a:extLst>
            </p:cNvPr>
            <p:cNvSpPr/>
            <p:nvPr/>
          </p:nvSpPr>
          <p:spPr>
            <a:xfrm flipH="1">
              <a:off x="8317458" y="2627284"/>
              <a:ext cx="858639" cy="95405"/>
            </a:xfrm>
            <a:custGeom>
              <a:avLst/>
              <a:gdLst>
                <a:gd name="connsiteX0" fmla="*/ 7144 w 257175"/>
                <a:gd name="connsiteY0" fmla="*/ 30004 h 28575"/>
                <a:gd name="connsiteX1" fmla="*/ 255746 w 257175"/>
                <a:gd name="connsiteY1" fmla="*/ 30004 h 28575"/>
                <a:gd name="connsiteX2" fmla="*/ 237649 w 257175"/>
                <a:gd name="connsiteY2" fmla="*/ 7144 h 28575"/>
                <a:gd name="connsiteX3" fmla="*/ 21431 w 257175"/>
                <a:gd name="connsiteY3" fmla="*/ 7144 h 28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7175" h="28575">
                  <a:moveTo>
                    <a:pt x="7144" y="30004"/>
                  </a:moveTo>
                  <a:lnTo>
                    <a:pt x="255746" y="30004"/>
                  </a:lnTo>
                  <a:lnTo>
                    <a:pt x="237649" y="7144"/>
                  </a:lnTo>
                  <a:lnTo>
                    <a:pt x="21431" y="7144"/>
                  </a:lnTo>
                  <a:close/>
                </a:path>
              </a:pathLst>
            </a:custGeom>
            <a:solidFill>
              <a:srgbClr val="A8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7" name="任意多边形: 形状 46">
              <a:extLst>
                <a:ext uri="{FF2B5EF4-FFF2-40B4-BE49-F238E27FC236}">
                  <a16:creationId xmlns:a16="http://schemas.microsoft.com/office/drawing/2014/main" id="{985A86FA-9876-41F6-BB6C-E0D1C5596949}"/>
                </a:ext>
              </a:extLst>
            </p:cNvPr>
            <p:cNvSpPr/>
            <p:nvPr/>
          </p:nvSpPr>
          <p:spPr>
            <a:xfrm flipH="1">
              <a:off x="8858081" y="2271108"/>
              <a:ext cx="1335663" cy="1017648"/>
            </a:xfrm>
            <a:custGeom>
              <a:avLst/>
              <a:gdLst>
                <a:gd name="connsiteX0" fmla="*/ 398621 w 400050"/>
                <a:gd name="connsiteY0" fmla="*/ 7144 h 304800"/>
                <a:gd name="connsiteX1" fmla="*/ 322421 w 400050"/>
                <a:gd name="connsiteY1" fmla="*/ 300514 h 304800"/>
                <a:gd name="connsiteX2" fmla="*/ 7144 w 400050"/>
                <a:gd name="connsiteY2" fmla="*/ 302419 h 304800"/>
                <a:gd name="connsiteX3" fmla="*/ 258604 w 400050"/>
                <a:gd name="connsiteY3" fmla="*/ 70961 h 304800"/>
                <a:gd name="connsiteX4" fmla="*/ 398621 w 400050"/>
                <a:gd name="connsiteY4" fmla="*/ 7144 h 304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0050" h="304800">
                  <a:moveTo>
                    <a:pt x="398621" y="7144"/>
                  </a:moveTo>
                  <a:cubicBezTo>
                    <a:pt x="379571" y="14764"/>
                    <a:pt x="208121" y="57626"/>
                    <a:pt x="322421" y="300514"/>
                  </a:cubicBezTo>
                  <a:cubicBezTo>
                    <a:pt x="208121" y="301466"/>
                    <a:pt x="7144" y="302419"/>
                    <a:pt x="7144" y="302419"/>
                  </a:cubicBezTo>
                  <a:cubicBezTo>
                    <a:pt x="7144" y="302419"/>
                    <a:pt x="201454" y="106204"/>
                    <a:pt x="258604" y="70961"/>
                  </a:cubicBezTo>
                  <a:cubicBezTo>
                    <a:pt x="349091" y="13811"/>
                    <a:pt x="398621" y="7144"/>
                    <a:pt x="398621" y="7144"/>
                  </a:cubicBezTo>
                  <a:close/>
                </a:path>
              </a:pathLst>
            </a:custGeom>
            <a:solidFill>
              <a:schemeClr val="accent6">
                <a:lumMod val="40000"/>
                <a:lumOff val="60000"/>
                <a:alpha val="58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8" name="任意多边形: 形状 47">
              <a:extLst>
                <a:ext uri="{FF2B5EF4-FFF2-40B4-BE49-F238E27FC236}">
                  <a16:creationId xmlns:a16="http://schemas.microsoft.com/office/drawing/2014/main" id="{A17F3E23-D341-448A-BD8C-01755DD17DEA}"/>
                </a:ext>
              </a:extLst>
            </p:cNvPr>
            <p:cNvSpPr/>
            <p:nvPr/>
          </p:nvSpPr>
          <p:spPr>
            <a:xfrm flipH="1">
              <a:off x="7788791" y="2366511"/>
              <a:ext cx="381618" cy="222611"/>
            </a:xfrm>
            <a:custGeom>
              <a:avLst/>
              <a:gdLst>
                <a:gd name="connsiteX0" fmla="*/ 82163 w 114300"/>
                <a:gd name="connsiteY0" fmla="*/ 12859 h 66675"/>
                <a:gd name="connsiteX1" fmla="*/ 41206 w 114300"/>
                <a:gd name="connsiteY1" fmla="*/ 7144 h 66675"/>
                <a:gd name="connsiteX2" fmla="*/ 9774 w 114300"/>
                <a:gd name="connsiteY2" fmla="*/ 10954 h 66675"/>
                <a:gd name="connsiteX3" fmla="*/ 20251 w 114300"/>
                <a:gd name="connsiteY3" fmla="*/ 68104 h 66675"/>
                <a:gd name="connsiteX4" fmla="*/ 60256 w 114300"/>
                <a:gd name="connsiteY4" fmla="*/ 59531 h 66675"/>
                <a:gd name="connsiteX5" fmla="*/ 85974 w 114300"/>
                <a:gd name="connsiteY5" fmla="*/ 55721 h 66675"/>
                <a:gd name="connsiteX6" fmla="*/ 106928 w 114300"/>
                <a:gd name="connsiteY6" fmla="*/ 61436 h 66675"/>
                <a:gd name="connsiteX7" fmla="*/ 108833 w 114300"/>
                <a:gd name="connsiteY7" fmla="*/ 11906 h 66675"/>
                <a:gd name="connsiteX8" fmla="*/ 82163 w 114300"/>
                <a:gd name="connsiteY8" fmla="*/ 12859 h 66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66675">
                  <a:moveTo>
                    <a:pt x="82163" y="12859"/>
                  </a:moveTo>
                  <a:cubicBezTo>
                    <a:pt x="62161" y="16669"/>
                    <a:pt x="51683" y="7144"/>
                    <a:pt x="41206" y="7144"/>
                  </a:cubicBezTo>
                  <a:cubicBezTo>
                    <a:pt x="30728" y="7144"/>
                    <a:pt x="13583" y="9049"/>
                    <a:pt x="9774" y="10954"/>
                  </a:cubicBezTo>
                  <a:cubicBezTo>
                    <a:pt x="5963" y="12859"/>
                    <a:pt x="4058" y="50959"/>
                    <a:pt x="20251" y="68104"/>
                  </a:cubicBezTo>
                  <a:cubicBezTo>
                    <a:pt x="20251" y="68104"/>
                    <a:pt x="48826" y="69056"/>
                    <a:pt x="60256" y="59531"/>
                  </a:cubicBezTo>
                  <a:cubicBezTo>
                    <a:pt x="71686" y="50006"/>
                    <a:pt x="80258" y="55721"/>
                    <a:pt x="85974" y="55721"/>
                  </a:cubicBezTo>
                  <a:cubicBezTo>
                    <a:pt x="91688" y="55721"/>
                    <a:pt x="106928" y="61436"/>
                    <a:pt x="106928" y="61436"/>
                  </a:cubicBezTo>
                  <a:cubicBezTo>
                    <a:pt x="106928" y="61436"/>
                    <a:pt x="117406" y="12859"/>
                    <a:pt x="108833" y="11906"/>
                  </a:cubicBezTo>
                  <a:cubicBezTo>
                    <a:pt x="101213" y="11906"/>
                    <a:pt x="82163" y="12859"/>
                    <a:pt x="82163" y="12859"/>
                  </a:cubicBezTo>
                  <a:close/>
                </a:path>
              </a:pathLst>
            </a:custGeom>
            <a:solidFill>
              <a:schemeClr val="accent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9" name="任意多边形: 形状 48">
              <a:extLst>
                <a:ext uri="{FF2B5EF4-FFF2-40B4-BE49-F238E27FC236}">
                  <a16:creationId xmlns:a16="http://schemas.microsoft.com/office/drawing/2014/main" id="{AC74B25C-720F-4DFE-BA84-A2B21A05DEDB}"/>
                </a:ext>
              </a:extLst>
            </p:cNvPr>
            <p:cNvSpPr/>
            <p:nvPr/>
          </p:nvSpPr>
          <p:spPr>
            <a:xfrm flipH="1">
              <a:off x="8069404" y="2544600"/>
              <a:ext cx="95405" cy="63603"/>
            </a:xfrm>
            <a:custGeom>
              <a:avLst/>
              <a:gdLst>
                <a:gd name="connsiteX0" fmla="*/ 7144 w 28575"/>
                <a:gd name="connsiteY0" fmla="*/ 8096 h 19050"/>
                <a:gd name="connsiteX1" fmla="*/ 18574 w 28575"/>
                <a:gd name="connsiteY1" fmla="*/ 14764 h 19050"/>
                <a:gd name="connsiteX2" fmla="*/ 28099 w 28575"/>
                <a:gd name="connsiteY2" fmla="*/ 13811 h 19050"/>
                <a:gd name="connsiteX3" fmla="*/ 18574 w 28575"/>
                <a:gd name="connsiteY3" fmla="*/ 7144 h 19050"/>
                <a:gd name="connsiteX4" fmla="*/ 12859 w 28575"/>
                <a:gd name="connsiteY4" fmla="*/ 7144 h 19050"/>
                <a:gd name="connsiteX5" fmla="*/ 7144 w 28575"/>
                <a:gd name="connsiteY5" fmla="*/ 8096 h 19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8575" h="19050">
                  <a:moveTo>
                    <a:pt x="7144" y="8096"/>
                  </a:moveTo>
                  <a:cubicBezTo>
                    <a:pt x="8096" y="11906"/>
                    <a:pt x="8096" y="13811"/>
                    <a:pt x="18574" y="14764"/>
                  </a:cubicBezTo>
                  <a:cubicBezTo>
                    <a:pt x="24289" y="15716"/>
                    <a:pt x="25241" y="16669"/>
                    <a:pt x="28099" y="13811"/>
                  </a:cubicBezTo>
                  <a:cubicBezTo>
                    <a:pt x="30004" y="10954"/>
                    <a:pt x="22384" y="7144"/>
                    <a:pt x="18574" y="7144"/>
                  </a:cubicBezTo>
                  <a:cubicBezTo>
                    <a:pt x="14764" y="7144"/>
                    <a:pt x="12859" y="7144"/>
                    <a:pt x="12859" y="7144"/>
                  </a:cubicBezTo>
                  <a:lnTo>
                    <a:pt x="7144" y="8096"/>
                  </a:lnTo>
                  <a:close/>
                </a:path>
              </a:pathLst>
            </a:custGeom>
            <a:solidFill>
              <a:schemeClr val="accent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0" name="任意多边形: 形状 49">
              <a:extLst>
                <a:ext uri="{FF2B5EF4-FFF2-40B4-BE49-F238E27FC236}">
                  <a16:creationId xmlns:a16="http://schemas.microsoft.com/office/drawing/2014/main" id="{22C07D13-EC65-4942-8551-61CD0CC2400D}"/>
                </a:ext>
              </a:extLst>
            </p:cNvPr>
            <p:cNvSpPr/>
            <p:nvPr/>
          </p:nvSpPr>
          <p:spPr>
            <a:xfrm flipH="1">
              <a:off x="7738670" y="2239305"/>
              <a:ext cx="1176655" cy="763235"/>
            </a:xfrm>
            <a:custGeom>
              <a:avLst/>
              <a:gdLst>
                <a:gd name="connsiteX0" fmla="*/ 290036 w 352425"/>
                <a:gd name="connsiteY0" fmla="*/ 190976 h 228600"/>
                <a:gd name="connsiteX1" fmla="*/ 278606 w 352425"/>
                <a:gd name="connsiteY1" fmla="*/ 131921 h 228600"/>
                <a:gd name="connsiteX2" fmla="*/ 278606 w 352425"/>
                <a:gd name="connsiteY2" fmla="*/ 131921 h 228600"/>
                <a:gd name="connsiteX3" fmla="*/ 239554 w 352425"/>
                <a:gd name="connsiteY3" fmla="*/ 56674 h 228600"/>
                <a:gd name="connsiteX4" fmla="*/ 239554 w 352425"/>
                <a:gd name="connsiteY4" fmla="*/ 56674 h 228600"/>
                <a:gd name="connsiteX5" fmla="*/ 200501 w 352425"/>
                <a:gd name="connsiteY5" fmla="*/ 48101 h 228600"/>
                <a:gd name="connsiteX6" fmla="*/ 200501 w 352425"/>
                <a:gd name="connsiteY6" fmla="*/ 48101 h 228600"/>
                <a:gd name="connsiteX7" fmla="*/ 172879 w 352425"/>
                <a:gd name="connsiteY7" fmla="*/ 50959 h 228600"/>
                <a:gd name="connsiteX8" fmla="*/ 172879 w 352425"/>
                <a:gd name="connsiteY8" fmla="*/ 50959 h 228600"/>
                <a:gd name="connsiteX9" fmla="*/ 153829 w 352425"/>
                <a:gd name="connsiteY9" fmla="*/ 45244 h 228600"/>
                <a:gd name="connsiteX10" fmla="*/ 153829 w 352425"/>
                <a:gd name="connsiteY10" fmla="*/ 45244 h 228600"/>
                <a:gd name="connsiteX11" fmla="*/ 64294 w 352425"/>
                <a:gd name="connsiteY11" fmla="*/ 15716 h 228600"/>
                <a:gd name="connsiteX12" fmla="*/ 64294 w 352425"/>
                <a:gd name="connsiteY12" fmla="*/ 15716 h 228600"/>
                <a:gd name="connsiteX13" fmla="*/ 9049 w 352425"/>
                <a:gd name="connsiteY13" fmla="*/ 24289 h 228600"/>
                <a:gd name="connsiteX14" fmla="*/ 9049 w 352425"/>
                <a:gd name="connsiteY14" fmla="*/ 24289 h 228600"/>
                <a:gd name="connsiteX15" fmla="*/ 7144 w 352425"/>
                <a:gd name="connsiteY15" fmla="*/ 16669 h 228600"/>
                <a:gd name="connsiteX16" fmla="*/ 64294 w 352425"/>
                <a:gd name="connsiteY16" fmla="*/ 7144 h 228600"/>
                <a:gd name="connsiteX17" fmla="*/ 64294 w 352425"/>
                <a:gd name="connsiteY17" fmla="*/ 7144 h 228600"/>
                <a:gd name="connsiteX18" fmla="*/ 157639 w 352425"/>
                <a:gd name="connsiteY18" fmla="*/ 37624 h 228600"/>
                <a:gd name="connsiteX19" fmla="*/ 157639 w 352425"/>
                <a:gd name="connsiteY19" fmla="*/ 37624 h 228600"/>
                <a:gd name="connsiteX20" fmla="*/ 172879 w 352425"/>
                <a:gd name="connsiteY20" fmla="*/ 42386 h 228600"/>
                <a:gd name="connsiteX21" fmla="*/ 172879 w 352425"/>
                <a:gd name="connsiteY21" fmla="*/ 42386 h 228600"/>
                <a:gd name="connsiteX22" fmla="*/ 200501 w 352425"/>
                <a:gd name="connsiteY22" fmla="*/ 39529 h 228600"/>
                <a:gd name="connsiteX23" fmla="*/ 200501 w 352425"/>
                <a:gd name="connsiteY23" fmla="*/ 39529 h 228600"/>
                <a:gd name="connsiteX24" fmla="*/ 242411 w 352425"/>
                <a:gd name="connsiteY24" fmla="*/ 49054 h 228600"/>
                <a:gd name="connsiteX25" fmla="*/ 242411 w 352425"/>
                <a:gd name="connsiteY25" fmla="*/ 49054 h 228600"/>
                <a:gd name="connsiteX26" fmla="*/ 286226 w 352425"/>
                <a:gd name="connsiteY26" fmla="*/ 130969 h 228600"/>
                <a:gd name="connsiteX27" fmla="*/ 286226 w 352425"/>
                <a:gd name="connsiteY27" fmla="*/ 130969 h 228600"/>
                <a:gd name="connsiteX28" fmla="*/ 296704 w 352425"/>
                <a:gd name="connsiteY28" fmla="*/ 187166 h 228600"/>
                <a:gd name="connsiteX29" fmla="*/ 296704 w 352425"/>
                <a:gd name="connsiteY29" fmla="*/ 187166 h 228600"/>
                <a:gd name="connsiteX30" fmla="*/ 351949 w 352425"/>
                <a:gd name="connsiteY30" fmla="*/ 221456 h 228600"/>
                <a:gd name="connsiteX31" fmla="*/ 351949 w 352425"/>
                <a:gd name="connsiteY31" fmla="*/ 221456 h 228600"/>
                <a:gd name="connsiteX32" fmla="*/ 351949 w 352425"/>
                <a:gd name="connsiteY32" fmla="*/ 221456 h 228600"/>
                <a:gd name="connsiteX33" fmla="*/ 351949 w 352425"/>
                <a:gd name="connsiteY33" fmla="*/ 229076 h 228600"/>
                <a:gd name="connsiteX34" fmla="*/ 290036 w 352425"/>
                <a:gd name="connsiteY34" fmla="*/ 190976 h 228600"/>
                <a:gd name="connsiteX35" fmla="*/ 290036 w 352425"/>
                <a:gd name="connsiteY35" fmla="*/ 190976 h 228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352425" h="228600">
                  <a:moveTo>
                    <a:pt x="290036" y="190976"/>
                  </a:moveTo>
                  <a:cubicBezTo>
                    <a:pt x="280511" y="170974"/>
                    <a:pt x="279559" y="147161"/>
                    <a:pt x="278606" y="131921"/>
                  </a:cubicBezTo>
                  <a:lnTo>
                    <a:pt x="278606" y="131921"/>
                  </a:lnTo>
                  <a:cubicBezTo>
                    <a:pt x="278606" y="118586"/>
                    <a:pt x="275749" y="70009"/>
                    <a:pt x="239554" y="56674"/>
                  </a:cubicBezTo>
                  <a:lnTo>
                    <a:pt x="239554" y="56674"/>
                  </a:lnTo>
                  <a:cubicBezTo>
                    <a:pt x="222409" y="50006"/>
                    <a:pt x="210026" y="48101"/>
                    <a:pt x="200501" y="48101"/>
                  </a:cubicBezTo>
                  <a:lnTo>
                    <a:pt x="200501" y="48101"/>
                  </a:lnTo>
                  <a:cubicBezTo>
                    <a:pt x="189071" y="48101"/>
                    <a:pt x="181451" y="50006"/>
                    <a:pt x="172879" y="50959"/>
                  </a:cubicBezTo>
                  <a:lnTo>
                    <a:pt x="172879" y="50959"/>
                  </a:lnTo>
                  <a:cubicBezTo>
                    <a:pt x="167164" y="50959"/>
                    <a:pt x="160496" y="50006"/>
                    <a:pt x="153829" y="45244"/>
                  </a:cubicBezTo>
                  <a:lnTo>
                    <a:pt x="153829" y="45244"/>
                  </a:lnTo>
                  <a:cubicBezTo>
                    <a:pt x="139541" y="37624"/>
                    <a:pt x="111919" y="15716"/>
                    <a:pt x="64294" y="15716"/>
                  </a:cubicBezTo>
                  <a:lnTo>
                    <a:pt x="64294" y="15716"/>
                  </a:lnTo>
                  <a:cubicBezTo>
                    <a:pt x="48101" y="15716"/>
                    <a:pt x="30004" y="18574"/>
                    <a:pt x="9049" y="24289"/>
                  </a:cubicBezTo>
                  <a:lnTo>
                    <a:pt x="9049" y="24289"/>
                  </a:lnTo>
                  <a:lnTo>
                    <a:pt x="7144" y="16669"/>
                  </a:lnTo>
                  <a:cubicBezTo>
                    <a:pt x="29051" y="10001"/>
                    <a:pt x="48101" y="7144"/>
                    <a:pt x="64294" y="7144"/>
                  </a:cubicBezTo>
                  <a:lnTo>
                    <a:pt x="64294" y="7144"/>
                  </a:lnTo>
                  <a:cubicBezTo>
                    <a:pt x="113824" y="7144"/>
                    <a:pt x="144304" y="30004"/>
                    <a:pt x="157639" y="37624"/>
                  </a:cubicBezTo>
                  <a:lnTo>
                    <a:pt x="157639" y="37624"/>
                  </a:lnTo>
                  <a:cubicBezTo>
                    <a:pt x="163354" y="41434"/>
                    <a:pt x="168116" y="42386"/>
                    <a:pt x="172879" y="42386"/>
                  </a:cubicBezTo>
                  <a:lnTo>
                    <a:pt x="172879" y="42386"/>
                  </a:lnTo>
                  <a:cubicBezTo>
                    <a:pt x="180499" y="42386"/>
                    <a:pt x="189071" y="40481"/>
                    <a:pt x="200501" y="39529"/>
                  </a:cubicBezTo>
                  <a:lnTo>
                    <a:pt x="200501" y="39529"/>
                  </a:lnTo>
                  <a:cubicBezTo>
                    <a:pt x="210979" y="39529"/>
                    <a:pt x="224314" y="41434"/>
                    <a:pt x="242411" y="49054"/>
                  </a:cubicBezTo>
                  <a:lnTo>
                    <a:pt x="242411" y="49054"/>
                  </a:lnTo>
                  <a:cubicBezTo>
                    <a:pt x="283369" y="66199"/>
                    <a:pt x="285274" y="118586"/>
                    <a:pt x="286226" y="130969"/>
                  </a:cubicBezTo>
                  <a:lnTo>
                    <a:pt x="286226" y="130969"/>
                  </a:lnTo>
                  <a:cubicBezTo>
                    <a:pt x="287179" y="146209"/>
                    <a:pt x="288131" y="168116"/>
                    <a:pt x="296704" y="187166"/>
                  </a:cubicBezTo>
                  <a:lnTo>
                    <a:pt x="296704" y="187166"/>
                  </a:lnTo>
                  <a:cubicBezTo>
                    <a:pt x="305276" y="205264"/>
                    <a:pt x="320516" y="220504"/>
                    <a:pt x="351949" y="221456"/>
                  </a:cubicBezTo>
                  <a:lnTo>
                    <a:pt x="351949" y="221456"/>
                  </a:lnTo>
                  <a:lnTo>
                    <a:pt x="351949" y="221456"/>
                  </a:lnTo>
                  <a:lnTo>
                    <a:pt x="351949" y="229076"/>
                  </a:lnTo>
                  <a:cubicBezTo>
                    <a:pt x="317659" y="229076"/>
                    <a:pt x="298609" y="211931"/>
                    <a:pt x="290036" y="190976"/>
                  </a:cubicBezTo>
                  <a:lnTo>
                    <a:pt x="290036" y="190976"/>
                  </a:lnTo>
                  <a:close/>
                </a:path>
              </a:pathLst>
            </a:custGeom>
            <a:solidFill>
              <a:schemeClr val="accent1">
                <a:lumMod val="5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1" name="任意多边形: 形状 50">
              <a:extLst>
                <a:ext uri="{FF2B5EF4-FFF2-40B4-BE49-F238E27FC236}">
                  <a16:creationId xmlns:a16="http://schemas.microsoft.com/office/drawing/2014/main" id="{6886DCD2-5142-44F1-920A-D4F3FF15196F}"/>
                </a:ext>
              </a:extLst>
            </p:cNvPr>
            <p:cNvSpPr/>
            <p:nvPr/>
          </p:nvSpPr>
          <p:spPr>
            <a:xfrm flipH="1">
              <a:off x="6943633" y="1974915"/>
              <a:ext cx="1049449" cy="985847"/>
            </a:xfrm>
            <a:custGeom>
              <a:avLst/>
              <a:gdLst>
                <a:gd name="connsiteX0" fmla="*/ 238601 w 314325"/>
                <a:gd name="connsiteY0" fmla="*/ 13942 h 295275"/>
                <a:gd name="connsiteX1" fmla="*/ 166211 w 314325"/>
                <a:gd name="connsiteY1" fmla="*/ 180630 h 295275"/>
                <a:gd name="connsiteX2" fmla="*/ 23336 w 314325"/>
                <a:gd name="connsiteY2" fmla="*/ 184440 h 295275"/>
                <a:gd name="connsiteX3" fmla="*/ 7144 w 314325"/>
                <a:gd name="connsiteY3" fmla="*/ 241590 h 295275"/>
                <a:gd name="connsiteX4" fmla="*/ 38576 w 314325"/>
                <a:gd name="connsiteY4" fmla="*/ 280642 h 295275"/>
                <a:gd name="connsiteX5" fmla="*/ 272891 w 314325"/>
                <a:gd name="connsiteY5" fmla="*/ 271117 h 295275"/>
                <a:gd name="connsiteX6" fmla="*/ 297656 w 314325"/>
                <a:gd name="connsiteY6" fmla="*/ 18705 h 295275"/>
                <a:gd name="connsiteX7" fmla="*/ 238601 w 314325"/>
                <a:gd name="connsiteY7" fmla="*/ 13942 h 295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14325" h="295275">
                  <a:moveTo>
                    <a:pt x="238601" y="13942"/>
                  </a:moveTo>
                  <a:cubicBezTo>
                    <a:pt x="220504" y="20610"/>
                    <a:pt x="181451" y="159675"/>
                    <a:pt x="166211" y="180630"/>
                  </a:cubicBezTo>
                  <a:cubicBezTo>
                    <a:pt x="166211" y="180630"/>
                    <a:pt x="43339" y="179677"/>
                    <a:pt x="23336" y="184440"/>
                  </a:cubicBezTo>
                  <a:cubicBezTo>
                    <a:pt x="13811" y="195870"/>
                    <a:pt x="7144" y="241590"/>
                    <a:pt x="7144" y="241590"/>
                  </a:cubicBezTo>
                  <a:cubicBezTo>
                    <a:pt x="7144" y="241590"/>
                    <a:pt x="10001" y="262545"/>
                    <a:pt x="38576" y="280642"/>
                  </a:cubicBezTo>
                  <a:cubicBezTo>
                    <a:pt x="63341" y="296835"/>
                    <a:pt x="236696" y="305407"/>
                    <a:pt x="272891" y="271117"/>
                  </a:cubicBezTo>
                  <a:cubicBezTo>
                    <a:pt x="309086" y="236827"/>
                    <a:pt x="323374" y="41565"/>
                    <a:pt x="297656" y="18705"/>
                  </a:cubicBezTo>
                  <a:cubicBezTo>
                    <a:pt x="272891" y="-4155"/>
                    <a:pt x="238601" y="13942"/>
                    <a:pt x="238601" y="13942"/>
                  </a:cubicBezTo>
                  <a:close/>
                </a:path>
              </a:pathLst>
            </a:custGeom>
            <a:solidFill>
              <a:schemeClr val="accent1">
                <a:lumMod val="5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2" name="任意多边形: 形状 51">
              <a:extLst>
                <a:ext uri="{FF2B5EF4-FFF2-40B4-BE49-F238E27FC236}">
                  <a16:creationId xmlns:a16="http://schemas.microsoft.com/office/drawing/2014/main" id="{0BA818C8-D184-40A7-A9F6-D9E2FAD307A2}"/>
                </a:ext>
              </a:extLst>
            </p:cNvPr>
            <p:cNvSpPr/>
            <p:nvPr/>
          </p:nvSpPr>
          <p:spPr>
            <a:xfrm flipH="1">
              <a:off x="7077200" y="1975529"/>
              <a:ext cx="890441" cy="731434"/>
            </a:xfrm>
            <a:custGeom>
              <a:avLst/>
              <a:gdLst>
                <a:gd name="connsiteX0" fmla="*/ 224314 w 266700"/>
                <a:gd name="connsiteY0" fmla="*/ 13758 h 219075"/>
                <a:gd name="connsiteX1" fmla="*/ 153829 w 266700"/>
                <a:gd name="connsiteY1" fmla="*/ 180446 h 219075"/>
                <a:gd name="connsiteX2" fmla="*/ 17621 w 266700"/>
                <a:gd name="connsiteY2" fmla="*/ 185208 h 219075"/>
                <a:gd name="connsiteX3" fmla="*/ 7144 w 266700"/>
                <a:gd name="connsiteY3" fmla="*/ 213783 h 219075"/>
                <a:gd name="connsiteX4" fmla="*/ 210979 w 266700"/>
                <a:gd name="connsiteY4" fmla="*/ 196638 h 219075"/>
                <a:gd name="connsiteX5" fmla="*/ 268129 w 266700"/>
                <a:gd name="connsiteY5" fmla="*/ 8043 h 219075"/>
                <a:gd name="connsiteX6" fmla="*/ 224314 w 266700"/>
                <a:gd name="connsiteY6" fmla="*/ 13758 h 219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66700" h="219075">
                  <a:moveTo>
                    <a:pt x="224314" y="13758"/>
                  </a:moveTo>
                  <a:cubicBezTo>
                    <a:pt x="206216" y="20426"/>
                    <a:pt x="170021" y="159491"/>
                    <a:pt x="153829" y="180446"/>
                  </a:cubicBezTo>
                  <a:cubicBezTo>
                    <a:pt x="153829" y="180446"/>
                    <a:pt x="37624" y="180446"/>
                    <a:pt x="17621" y="185208"/>
                  </a:cubicBezTo>
                  <a:cubicBezTo>
                    <a:pt x="13811" y="189971"/>
                    <a:pt x="10001" y="202353"/>
                    <a:pt x="7144" y="213783"/>
                  </a:cubicBezTo>
                  <a:cubicBezTo>
                    <a:pt x="44291" y="224261"/>
                    <a:pt x="190976" y="225213"/>
                    <a:pt x="210979" y="196638"/>
                  </a:cubicBezTo>
                  <a:cubicBezTo>
                    <a:pt x="230029" y="169968"/>
                    <a:pt x="244316" y="57573"/>
                    <a:pt x="268129" y="8043"/>
                  </a:cubicBezTo>
                  <a:cubicBezTo>
                    <a:pt x="246221" y="4233"/>
                    <a:pt x="224314" y="13758"/>
                    <a:pt x="224314" y="13758"/>
                  </a:cubicBez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3" name="任意多边形: 形状 52">
              <a:extLst>
                <a:ext uri="{FF2B5EF4-FFF2-40B4-BE49-F238E27FC236}">
                  <a16:creationId xmlns:a16="http://schemas.microsoft.com/office/drawing/2014/main" id="{4DC5F817-5FB9-425B-A162-B5803C006ACE}"/>
                </a:ext>
              </a:extLst>
            </p:cNvPr>
            <p:cNvSpPr/>
            <p:nvPr/>
          </p:nvSpPr>
          <p:spPr>
            <a:xfrm flipH="1">
              <a:off x="7899920" y="2527442"/>
              <a:ext cx="349817" cy="254413"/>
            </a:xfrm>
            <a:custGeom>
              <a:avLst/>
              <a:gdLst>
                <a:gd name="connsiteX0" fmla="*/ 100208 w 104775"/>
                <a:gd name="connsiteY0" fmla="*/ 19903 h 76200"/>
                <a:gd name="connsiteX1" fmla="*/ 72586 w 104775"/>
                <a:gd name="connsiteY1" fmla="*/ 17045 h 76200"/>
                <a:gd name="connsiteX2" fmla="*/ 61156 w 104775"/>
                <a:gd name="connsiteY2" fmla="*/ 7520 h 76200"/>
                <a:gd name="connsiteX3" fmla="*/ 53536 w 104775"/>
                <a:gd name="connsiteY3" fmla="*/ 10378 h 76200"/>
                <a:gd name="connsiteX4" fmla="*/ 22103 w 104775"/>
                <a:gd name="connsiteY4" fmla="*/ 14188 h 76200"/>
                <a:gd name="connsiteX5" fmla="*/ 12578 w 104775"/>
                <a:gd name="connsiteY5" fmla="*/ 22760 h 76200"/>
                <a:gd name="connsiteX6" fmla="*/ 8768 w 104775"/>
                <a:gd name="connsiteY6" fmla="*/ 40858 h 76200"/>
                <a:gd name="connsiteX7" fmla="*/ 9721 w 104775"/>
                <a:gd name="connsiteY7" fmla="*/ 56098 h 76200"/>
                <a:gd name="connsiteX8" fmla="*/ 14483 w 104775"/>
                <a:gd name="connsiteY8" fmla="*/ 66575 h 76200"/>
                <a:gd name="connsiteX9" fmla="*/ 60203 w 104775"/>
                <a:gd name="connsiteY9" fmla="*/ 62765 h 76200"/>
                <a:gd name="connsiteX10" fmla="*/ 84016 w 104775"/>
                <a:gd name="connsiteY10" fmla="*/ 70385 h 76200"/>
                <a:gd name="connsiteX11" fmla="*/ 92588 w 104775"/>
                <a:gd name="connsiteY11" fmla="*/ 37048 h 76200"/>
                <a:gd name="connsiteX12" fmla="*/ 100208 w 104775"/>
                <a:gd name="connsiteY12" fmla="*/ 19903 h 76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04775" h="76200">
                  <a:moveTo>
                    <a:pt x="100208" y="19903"/>
                  </a:moveTo>
                  <a:cubicBezTo>
                    <a:pt x="88778" y="17998"/>
                    <a:pt x="76396" y="17998"/>
                    <a:pt x="72586" y="17045"/>
                  </a:cubicBezTo>
                  <a:cubicBezTo>
                    <a:pt x="68776" y="15140"/>
                    <a:pt x="61156" y="7520"/>
                    <a:pt x="61156" y="7520"/>
                  </a:cubicBezTo>
                  <a:cubicBezTo>
                    <a:pt x="61156" y="7520"/>
                    <a:pt x="59251" y="5615"/>
                    <a:pt x="53536" y="10378"/>
                  </a:cubicBezTo>
                  <a:cubicBezTo>
                    <a:pt x="48773" y="14188"/>
                    <a:pt x="30676" y="12283"/>
                    <a:pt x="22103" y="14188"/>
                  </a:cubicBezTo>
                  <a:cubicBezTo>
                    <a:pt x="14483" y="17045"/>
                    <a:pt x="12578" y="22760"/>
                    <a:pt x="12578" y="22760"/>
                  </a:cubicBezTo>
                  <a:cubicBezTo>
                    <a:pt x="12578" y="22760"/>
                    <a:pt x="4958" y="27523"/>
                    <a:pt x="8768" y="40858"/>
                  </a:cubicBezTo>
                  <a:cubicBezTo>
                    <a:pt x="9721" y="44668"/>
                    <a:pt x="4006" y="48478"/>
                    <a:pt x="9721" y="56098"/>
                  </a:cubicBezTo>
                  <a:cubicBezTo>
                    <a:pt x="11626" y="58955"/>
                    <a:pt x="7816" y="63718"/>
                    <a:pt x="14483" y="66575"/>
                  </a:cubicBezTo>
                  <a:cubicBezTo>
                    <a:pt x="29723" y="74195"/>
                    <a:pt x="49726" y="63718"/>
                    <a:pt x="60203" y="62765"/>
                  </a:cubicBezTo>
                  <a:cubicBezTo>
                    <a:pt x="70681" y="61813"/>
                    <a:pt x="76396" y="68480"/>
                    <a:pt x="84016" y="70385"/>
                  </a:cubicBezTo>
                  <a:cubicBezTo>
                    <a:pt x="91636" y="72290"/>
                    <a:pt x="85921" y="54193"/>
                    <a:pt x="92588" y="37048"/>
                  </a:cubicBezTo>
                  <a:cubicBezTo>
                    <a:pt x="97351" y="29428"/>
                    <a:pt x="100208" y="19903"/>
                    <a:pt x="100208" y="19903"/>
                  </a:cubicBezTo>
                  <a:close/>
                </a:path>
              </a:pathLst>
            </a:custGeom>
            <a:solidFill>
              <a:schemeClr val="accent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4" name="任意多边形: 形状 53">
              <a:extLst>
                <a:ext uri="{FF2B5EF4-FFF2-40B4-BE49-F238E27FC236}">
                  <a16:creationId xmlns:a16="http://schemas.microsoft.com/office/drawing/2014/main" id="{AAABC331-B5C9-450B-A6A5-7C57AF22EDC7}"/>
                </a:ext>
              </a:extLst>
            </p:cNvPr>
            <p:cNvSpPr/>
            <p:nvPr/>
          </p:nvSpPr>
          <p:spPr>
            <a:xfrm flipH="1">
              <a:off x="8072587" y="2461916"/>
              <a:ext cx="127205" cy="95405"/>
            </a:xfrm>
            <a:custGeom>
              <a:avLst/>
              <a:gdLst>
                <a:gd name="connsiteX0" fmla="*/ 7144 w 38100"/>
                <a:gd name="connsiteY0" fmla="*/ 7144 h 28575"/>
                <a:gd name="connsiteX1" fmla="*/ 10954 w 38100"/>
                <a:gd name="connsiteY1" fmla="*/ 22384 h 28575"/>
                <a:gd name="connsiteX2" fmla="*/ 31909 w 38100"/>
                <a:gd name="connsiteY2" fmla="*/ 23336 h 28575"/>
                <a:gd name="connsiteX3" fmla="*/ 27146 w 38100"/>
                <a:gd name="connsiteY3" fmla="*/ 15716 h 28575"/>
                <a:gd name="connsiteX4" fmla="*/ 7144 w 38100"/>
                <a:gd name="connsiteY4" fmla="*/ 7144 h 28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100" h="28575">
                  <a:moveTo>
                    <a:pt x="7144" y="7144"/>
                  </a:moveTo>
                  <a:cubicBezTo>
                    <a:pt x="8096" y="11906"/>
                    <a:pt x="6191" y="20479"/>
                    <a:pt x="10954" y="22384"/>
                  </a:cubicBezTo>
                  <a:cubicBezTo>
                    <a:pt x="15716" y="24289"/>
                    <a:pt x="25241" y="29051"/>
                    <a:pt x="31909" y="23336"/>
                  </a:cubicBezTo>
                  <a:cubicBezTo>
                    <a:pt x="38576" y="17621"/>
                    <a:pt x="32861" y="17621"/>
                    <a:pt x="27146" y="15716"/>
                  </a:cubicBezTo>
                  <a:cubicBezTo>
                    <a:pt x="21431" y="12859"/>
                    <a:pt x="7144" y="7144"/>
                    <a:pt x="7144" y="7144"/>
                  </a:cubicBezTo>
                  <a:close/>
                </a:path>
              </a:pathLst>
            </a:custGeom>
            <a:solidFill>
              <a:schemeClr val="accent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5" name="任意多边形: 形状 54">
              <a:extLst>
                <a:ext uri="{FF2B5EF4-FFF2-40B4-BE49-F238E27FC236}">
                  <a16:creationId xmlns:a16="http://schemas.microsoft.com/office/drawing/2014/main" id="{B3F62AD4-69B2-4400-B056-7BA56A842303}"/>
                </a:ext>
              </a:extLst>
            </p:cNvPr>
            <p:cNvSpPr/>
            <p:nvPr/>
          </p:nvSpPr>
          <p:spPr>
            <a:xfrm flipH="1">
              <a:off x="8106024" y="2395130"/>
              <a:ext cx="95405" cy="127205"/>
            </a:xfrm>
            <a:custGeom>
              <a:avLst/>
              <a:gdLst>
                <a:gd name="connsiteX0" fmla="*/ 16207 w 28575"/>
                <a:gd name="connsiteY0" fmla="*/ 7144 h 38100"/>
                <a:gd name="connsiteX1" fmla="*/ 7634 w 28575"/>
                <a:gd name="connsiteY1" fmla="*/ 28099 h 38100"/>
                <a:gd name="connsiteX2" fmla="*/ 23827 w 28575"/>
                <a:gd name="connsiteY2" fmla="*/ 34766 h 38100"/>
                <a:gd name="connsiteX3" fmla="*/ 27637 w 28575"/>
                <a:gd name="connsiteY3" fmla="*/ 25241 h 38100"/>
                <a:gd name="connsiteX4" fmla="*/ 26684 w 28575"/>
                <a:gd name="connsiteY4" fmla="*/ 14764 h 38100"/>
                <a:gd name="connsiteX5" fmla="*/ 16207 w 28575"/>
                <a:gd name="connsiteY5" fmla="*/ 7144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8575" h="38100">
                  <a:moveTo>
                    <a:pt x="16207" y="7144"/>
                  </a:moveTo>
                  <a:cubicBezTo>
                    <a:pt x="9539" y="10001"/>
                    <a:pt x="5729" y="24289"/>
                    <a:pt x="7634" y="28099"/>
                  </a:cubicBezTo>
                  <a:cubicBezTo>
                    <a:pt x="10492" y="31909"/>
                    <a:pt x="20017" y="35719"/>
                    <a:pt x="23827" y="34766"/>
                  </a:cubicBezTo>
                  <a:cubicBezTo>
                    <a:pt x="27637" y="33814"/>
                    <a:pt x="29542" y="27146"/>
                    <a:pt x="27637" y="25241"/>
                  </a:cubicBezTo>
                  <a:cubicBezTo>
                    <a:pt x="24779" y="23336"/>
                    <a:pt x="26684" y="14764"/>
                    <a:pt x="26684" y="14764"/>
                  </a:cubicBezTo>
                  <a:lnTo>
                    <a:pt x="16207" y="7144"/>
                  </a:lnTo>
                  <a:close/>
                </a:path>
              </a:pathLst>
            </a:custGeom>
            <a:solidFill>
              <a:schemeClr val="accent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6" name="任意多边形: 形状 55">
              <a:extLst>
                <a:ext uri="{FF2B5EF4-FFF2-40B4-BE49-F238E27FC236}">
                  <a16:creationId xmlns:a16="http://schemas.microsoft.com/office/drawing/2014/main" id="{672EDC45-46E8-483D-8C73-F3C410004433}"/>
                </a:ext>
              </a:extLst>
            </p:cNvPr>
            <p:cNvSpPr/>
            <p:nvPr/>
          </p:nvSpPr>
          <p:spPr>
            <a:xfrm flipH="1">
              <a:off x="8086570" y="2512798"/>
              <a:ext cx="95405" cy="63603"/>
            </a:xfrm>
            <a:custGeom>
              <a:avLst/>
              <a:gdLst>
                <a:gd name="connsiteX0" fmla="*/ 7522 w 28575"/>
                <a:gd name="connsiteY0" fmla="*/ 7144 h 19050"/>
                <a:gd name="connsiteX1" fmla="*/ 15142 w 28575"/>
                <a:gd name="connsiteY1" fmla="*/ 18574 h 19050"/>
                <a:gd name="connsiteX2" fmla="*/ 29430 w 28575"/>
                <a:gd name="connsiteY2" fmla="*/ 16669 h 19050"/>
                <a:gd name="connsiteX3" fmla="*/ 22762 w 28575"/>
                <a:gd name="connsiteY3" fmla="*/ 10001 h 19050"/>
                <a:gd name="connsiteX4" fmla="*/ 7522 w 28575"/>
                <a:gd name="connsiteY4" fmla="*/ 7144 h 19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8575" h="19050">
                  <a:moveTo>
                    <a:pt x="7522" y="7144"/>
                  </a:moveTo>
                  <a:cubicBezTo>
                    <a:pt x="5617" y="14764"/>
                    <a:pt x="11332" y="18574"/>
                    <a:pt x="15142" y="18574"/>
                  </a:cubicBezTo>
                  <a:cubicBezTo>
                    <a:pt x="18952" y="18574"/>
                    <a:pt x="29430" y="20479"/>
                    <a:pt x="29430" y="16669"/>
                  </a:cubicBezTo>
                  <a:cubicBezTo>
                    <a:pt x="30382" y="12859"/>
                    <a:pt x="22762" y="10001"/>
                    <a:pt x="22762" y="10001"/>
                  </a:cubicBezTo>
                  <a:lnTo>
                    <a:pt x="7522" y="7144"/>
                  </a:lnTo>
                  <a:close/>
                </a:path>
              </a:pathLst>
            </a:custGeom>
            <a:solidFill>
              <a:schemeClr val="accent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7" name="任意多边形: 形状 56">
              <a:extLst>
                <a:ext uri="{FF2B5EF4-FFF2-40B4-BE49-F238E27FC236}">
                  <a16:creationId xmlns:a16="http://schemas.microsoft.com/office/drawing/2014/main" id="{AA44E0B7-319A-4554-95DC-77DE8E1C0815}"/>
                </a:ext>
              </a:extLst>
            </p:cNvPr>
            <p:cNvSpPr/>
            <p:nvPr/>
          </p:nvSpPr>
          <p:spPr>
            <a:xfrm flipH="1">
              <a:off x="7926608" y="2393883"/>
              <a:ext cx="222611" cy="95405"/>
            </a:xfrm>
            <a:custGeom>
              <a:avLst/>
              <a:gdLst>
                <a:gd name="connsiteX0" fmla="*/ 60576 w 66675"/>
                <a:gd name="connsiteY0" fmla="*/ 17996 h 28575"/>
                <a:gd name="connsiteX1" fmla="*/ 37716 w 66675"/>
                <a:gd name="connsiteY1" fmla="*/ 24663 h 28575"/>
                <a:gd name="connsiteX2" fmla="*/ 12951 w 66675"/>
                <a:gd name="connsiteY2" fmla="*/ 24663 h 28575"/>
                <a:gd name="connsiteX3" fmla="*/ 9141 w 66675"/>
                <a:gd name="connsiteY3" fmla="*/ 17996 h 28575"/>
                <a:gd name="connsiteX4" fmla="*/ 27239 w 66675"/>
                <a:gd name="connsiteY4" fmla="*/ 8471 h 28575"/>
                <a:gd name="connsiteX5" fmla="*/ 56766 w 66675"/>
                <a:gd name="connsiteY5" fmla="*/ 9423 h 28575"/>
                <a:gd name="connsiteX6" fmla="*/ 60576 w 66675"/>
                <a:gd name="connsiteY6" fmla="*/ 17996 h 28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6675" h="28575">
                  <a:moveTo>
                    <a:pt x="60576" y="17996"/>
                  </a:moveTo>
                  <a:cubicBezTo>
                    <a:pt x="54861" y="22758"/>
                    <a:pt x="46289" y="26568"/>
                    <a:pt x="37716" y="24663"/>
                  </a:cubicBezTo>
                  <a:cubicBezTo>
                    <a:pt x="29144" y="22758"/>
                    <a:pt x="16761" y="24663"/>
                    <a:pt x="12951" y="24663"/>
                  </a:cubicBezTo>
                  <a:cubicBezTo>
                    <a:pt x="9141" y="24663"/>
                    <a:pt x="4379" y="20853"/>
                    <a:pt x="9141" y="17996"/>
                  </a:cubicBezTo>
                  <a:cubicBezTo>
                    <a:pt x="14856" y="15138"/>
                    <a:pt x="23429" y="10376"/>
                    <a:pt x="27239" y="8471"/>
                  </a:cubicBezTo>
                  <a:cubicBezTo>
                    <a:pt x="31049" y="7518"/>
                    <a:pt x="52956" y="5613"/>
                    <a:pt x="56766" y="9423"/>
                  </a:cubicBezTo>
                  <a:cubicBezTo>
                    <a:pt x="60576" y="12281"/>
                    <a:pt x="60576" y="17996"/>
                    <a:pt x="60576" y="17996"/>
                  </a:cubicBezTo>
                  <a:close/>
                </a:path>
              </a:pathLst>
            </a:custGeom>
            <a:solidFill>
              <a:schemeClr val="accent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8" name="任意多边形: 形状 57">
              <a:extLst>
                <a:ext uri="{FF2B5EF4-FFF2-40B4-BE49-F238E27FC236}">
                  <a16:creationId xmlns:a16="http://schemas.microsoft.com/office/drawing/2014/main" id="{9190AF8F-59B3-47E0-A47A-AD0E4C2452A2}"/>
                </a:ext>
              </a:extLst>
            </p:cNvPr>
            <p:cNvSpPr/>
            <p:nvPr/>
          </p:nvSpPr>
          <p:spPr>
            <a:xfrm flipH="1">
              <a:off x="7250123" y="1612815"/>
              <a:ext cx="381618" cy="318015"/>
            </a:xfrm>
            <a:custGeom>
              <a:avLst/>
              <a:gdLst>
                <a:gd name="connsiteX0" fmla="*/ 9406 w 114300"/>
                <a:gd name="connsiteY0" fmla="*/ 11906 h 95250"/>
                <a:gd name="connsiteX1" fmla="*/ 17026 w 114300"/>
                <a:gd name="connsiteY1" fmla="*/ 63341 h 95250"/>
                <a:gd name="connsiteX2" fmla="*/ 56079 w 114300"/>
                <a:gd name="connsiteY2" fmla="*/ 90011 h 95250"/>
                <a:gd name="connsiteX3" fmla="*/ 114181 w 114300"/>
                <a:gd name="connsiteY3" fmla="*/ 67151 h 95250"/>
                <a:gd name="connsiteX4" fmla="*/ 82749 w 114300"/>
                <a:gd name="connsiteY4" fmla="*/ 7144 h 95250"/>
                <a:gd name="connsiteX5" fmla="*/ 9406 w 114300"/>
                <a:gd name="connsiteY5" fmla="*/ 11906 h 9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4300" h="95250">
                  <a:moveTo>
                    <a:pt x="9406" y="11906"/>
                  </a:moveTo>
                  <a:cubicBezTo>
                    <a:pt x="4644" y="28099"/>
                    <a:pt x="7501" y="53816"/>
                    <a:pt x="17026" y="63341"/>
                  </a:cubicBezTo>
                  <a:cubicBezTo>
                    <a:pt x="26551" y="72866"/>
                    <a:pt x="37981" y="88106"/>
                    <a:pt x="56079" y="90011"/>
                  </a:cubicBezTo>
                  <a:cubicBezTo>
                    <a:pt x="74176" y="91916"/>
                    <a:pt x="114181" y="67151"/>
                    <a:pt x="114181" y="67151"/>
                  </a:cubicBezTo>
                  <a:cubicBezTo>
                    <a:pt x="114181" y="67151"/>
                    <a:pt x="82749" y="28099"/>
                    <a:pt x="82749" y="7144"/>
                  </a:cubicBezTo>
                  <a:cubicBezTo>
                    <a:pt x="39886" y="9049"/>
                    <a:pt x="9406" y="11906"/>
                    <a:pt x="9406" y="11906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9" name="任意多边形: 形状 58">
              <a:extLst>
                <a:ext uri="{FF2B5EF4-FFF2-40B4-BE49-F238E27FC236}">
                  <a16:creationId xmlns:a16="http://schemas.microsoft.com/office/drawing/2014/main" id="{CAA457A7-1983-4BAA-B469-F8ED118C7DC5}"/>
                </a:ext>
              </a:extLst>
            </p:cNvPr>
            <p:cNvSpPr/>
            <p:nvPr/>
          </p:nvSpPr>
          <p:spPr>
            <a:xfrm flipH="1">
              <a:off x="7035859" y="1275719"/>
              <a:ext cx="413420" cy="381618"/>
            </a:xfrm>
            <a:custGeom>
              <a:avLst/>
              <a:gdLst>
                <a:gd name="connsiteX0" fmla="*/ 23336 w 123825"/>
                <a:gd name="connsiteY0" fmla="*/ 113824 h 114300"/>
                <a:gd name="connsiteX1" fmla="*/ 125254 w 123825"/>
                <a:gd name="connsiteY1" fmla="*/ 10954 h 114300"/>
                <a:gd name="connsiteX2" fmla="*/ 119539 w 123825"/>
                <a:gd name="connsiteY2" fmla="*/ 7144 h 114300"/>
                <a:gd name="connsiteX3" fmla="*/ 7144 w 123825"/>
                <a:gd name="connsiteY3" fmla="*/ 112871 h 114300"/>
                <a:gd name="connsiteX4" fmla="*/ 23336 w 123825"/>
                <a:gd name="connsiteY4" fmla="*/ 113824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3825" h="114300">
                  <a:moveTo>
                    <a:pt x="23336" y="113824"/>
                  </a:moveTo>
                  <a:cubicBezTo>
                    <a:pt x="42386" y="102394"/>
                    <a:pt x="125254" y="13811"/>
                    <a:pt x="125254" y="10954"/>
                  </a:cubicBezTo>
                  <a:cubicBezTo>
                    <a:pt x="125254" y="7144"/>
                    <a:pt x="119539" y="7144"/>
                    <a:pt x="119539" y="7144"/>
                  </a:cubicBezTo>
                  <a:lnTo>
                    <a:pt x="7144" y="112871"/>
                  </a:lnTo>
                  <a:lnTo>
                    <a:pt x="23336" y="113824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0" name="任意多边形: 形状 59">
              <a:extLst>
                <a:ext uri="{FF2B5EF4-FFF2-40B4-BE49-F238E27FC236}">
                  <a16:creationId xmlns:a16="http://schemas.microsoft.com/office/drawing/2014/main" id="{30E1734B-C6C1-44FB-8A07-210F77BF3B5F}"/>
                </a:ext>
              </a:extLst>
            </p:cNvPr>
            <p:cNvSpPr/>
            <p:nvPr/>
          </p:nvSpPr>
          <p:spPr>
            <a:xfrm flipH="1">
              <a:off x="7083559" y="1711401"/>
              <a:ext cx="254413" cy="159007"/>
            </a:xfrm>
            <a:custGeom>
              <a:avLst/>
              <a:gdLst>
                <a:gd name="connsiteX0" fmla="*/ 11906 w 76200"/>
                <a:gd name="connsiteY0" fmla="*/ 31909 h 47625"/>
                <a:gd name="connsiteX1" fmla="*/ 69056 w 76200"/>
                <a:gd name="connsiteY1" fmla="*/ 7144 h 47625"/>
                <a:gd name="connsiteX2" fmla="*/ 70961 w 76200"/>
                <a:gd name="connsiteY2" fmla="*/ 19526 h 47625"/>
                <a:gd name="connsiteX3" fmla="*/ 7144 w 76200"/>
                <a:gd name="connsiteY3" fmla="*/ 44291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6200" h="47625">
                  <a:moveTo>
                    <a:pt x="11906" y="31909"/>
                  </a:moveTo>
                  <a:lnTo>
                    <a:pt x="69056" y="7144"/>
                  </a:lnTo>
                  <a:lnTo>
                    <a:pt x="70961" y="19526"/>
                  </a:lnTo>
                  <a:lnTo>
                    <a:pt x="7144" y="44291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1" name="任意多边形: 形状 60">
              <a:extLst>
                <a:ext uri="{FF2B5EF4-FFF2-40B4-BE49-F238E27FC236}">
                  <a16:creationId xmlns:a16="http://schemas.microsoft.com/office/drawing/2014/main" id="{8A6EAB49-5571-451B-B338-134BC8D1E861}"/>
                </a:ext>
              </a:extLst>
            </p:cNvPr>
            <p:cNvSpPr/>
            <p:nvPr/>
          </p:nvSpPr>
          <p:spPr>
            <a:xfrm flipH="1">
              <a:off x="6990859" y="1201462"/>
              <a:ext cx="95405" cy="127205"/>
            </a:xfrm>
            <a:custGeom>
              <a:avLst/>
              <a:gdLst>
                <a:gd name="connsiteX0" fmla="*/ 10811 w 28575"/>
                <a:gd name="connsiteY0" fmla="*/ 29385 h 38100"/>
                <a:gd name="connsiteX1" fmla="*/ 13668 w 28575"/>
                <a:gd name="connsiteY1" fmla="*/ 7477 h 38100"/>
                <a:gd name="connsiteX2" fmla="*/ 23193 w 28575"/>
                <a:gd name="connsiteY2" fmla="*/ 28432 h 38100"/>
                <a:gd name="connsiteX3" fmla="*/ 10811 w 28575"/>
                <a:gd name="connsiteY3" fmla="*/ 29385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575" h="38100">
                  <a:moveTo>
                    <a:pt x="10811" y="29385"/>
                  </a:moveTo>
                  <a:cubicBezTo>
                    <a:pt x="8906" y="20812"/>
                    <a:pt x="2238" y="4620"/>
                    <a:pt x="13668" y="7477"/>
                  </a:cubicBezTo>
                  <a:cubicBezTo>
                    <a:pt x="25098" y="9382"/>
                    <a:pt x="30813" y="20812"/>
                    <a:pt x="23193" y="28432"/>
                  </a:cubicBezTo>
                  <a:cubicBezTo>
                    <a:pt x="14620" y="36052"/>
                    <a:pt x="10811" y="29385"/>
                    <a:pt x="10811" y="29385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2" name="任意多边形: 形状 61">
              <a:extLst>
                <a:ext uri="{FF2B5EF4-FFF2-40B4-BE49-F238E27FC236}">
                  <a16:creationId xmlns:a16="http://schemas.microsoft.com/office/drawing/2014/main" id="{BCC242E2-8FE0-4370-8136-2F7636744846}"/>
                </a:ext>
              </a:extLst>
            </p:cNvPr>
            <p:cNvSpPr/>
            <p:nvPr/>
          </p:nvSpPr>
          <p:spPr>
            <a:xfrm flipH="1">
              <a:off x="6943633" y="1275719"/>
              <a:ext cx="127205" cy="95405"/>
            </a:xfrm>
            <a:custGeom>
              <a:avLst/>
              <a:gdLst>
                <a:gd name="connsiteX0" fmla="*/ 9049 w 38100"/>
                <a:gd name="connsiteY0" fmla="*/ 7144 h 28575"/>
                <a:gd name="connsiteX1" fmla="*/ 34766 w 38100"/>
                <a:gd name="connsiteY1" fmla="*/ 28099 h 28575"/>
                <a:gd name="connsiteX2" fmla="*/ 25241 w 38100"/>
                <a:gd name="connsiteY2" fmla="*/ 28099 h 28575"/>
                <a:gd name="connsiteX3" fmla="*/ 7144 w 38100"/>
                <a:gd name="connsiteY3" fmla="*/ 10954 h 28575"/>
                <a:gd name="connsiteX4" fmla="*/ 9049 w 38100"/>
                <a:gd name="connsiteY4" fmla="*/ 7144 h 28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100" h="28575">
                  <a:moveTo>
                    <a:pt x="9049" y="7144"/>
                  </a:moveTo>
                  <a:cubicBezTo>
                    <a:pt x="15716" y="10001"/>
                    <a:pt x="28099" y="18574"/>
                    <a:pt x="34766" y="28099"/>
                  </a:cubicBezTo>
                  <a:cubicBezTo>
                    <a:pt x="32861" y="32861"/>
                    <a:pt x="25241" y="28099"/>
                    <a:pt x="25241" y="28099"/>
                  </a:cubicBezTo>
                  <a:lnTo>
                    <a:pt x="7144" y="10954"/>
                  </a:lnTo>
                  <a:lnTo>
                    <a:pt x="9049" y="7144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3" name="任意多边形: 形状 62">
              <a:extLst>
                <a:ext uri="{FF2B5EF4-FFF2-40B4-BE49-F238E27FC236}">
                  <a16:creationId xmlns:a16="http://schemas.microsoft.com/office/drawing/2014/main" id="{338473EE-54D1-4D03-8965-760CF08AA763}"/>
                </a:ext>
              </a:extLst>
            </p:cNvPr>
            <p:cNvSpPr/>
            <p:nvPr/>
          </p:nvSpPr>
          <p:spPr>
            <a:xfrm flipH="1">
              <a:off x="9303303" y="1097052"/>
              <a:ext cx="826839" cy="763235"/>
            </a:xfrm>
            <a:custGeom>
              <a:avLst/>
              <a:gdLst>
                <a:gd name="connsiteX0" fmla="*/ 124301 w 247650"/>
                <a:gd name="connsiteY0" fmla="*/ 16842 h 228600"/>
                <a:gd name="connsiteX1" fmla="*/ 112871 w 247650"/>
                <a:gd name="connsiteY1" fmla="*/ 25415 h 228600"/>
                <a:gd name="connsiteX2" fmla="*/ 67151 w 247650"/>
                <a:gd name="connsiteY2" fmla="*/ 101615 h 228600"/>
                <a:gd name="connsiteX3" fmla="*/ 25241 w 247650"/>
                <a:gd name="connsiteY3" fmla="*/ 148287 h 228600"/>
                <a:gd name="connsiteX4" fmla="*/ 7144 w 247650"/>
                <a:gd name="connsiteY4" fmla="*/ 157812 h 228600"/>
                <a:gd name="connsiteX5" fmla="*/ 89059 w 247650"/>
                <a:gd name="connsiteY5" fmla="*/ 227345 h 228600"/>
                <a:gd name="connsiteX6" fmla="*/ 90964 w 247650"/>
                <a:gd name="connsiteY6" fmla="*/ 224487 h 228600"/>
                <a:gd name="connsiteX7" fmla="*/ 110966 w 247650"/>
                <a:gd name="connsiteY7" fmla="*/ 209247 h 228600"/>
                <a:gd name="connsiteX8" fmla="*/ 111919 w 247650"/>
                <a:gd name="connsiteY8" fmla="*/ 210200 h 228600"/>
                <a:gd name="connsiteX9" fmla="*/ 111919 w 247650"/>
                <a:gd name="connsiteY9" fmla="*/ 210200 h 228600"/>
                <a:gd name="connsiteX10" fmla="*/ 135731 w 247650"/>
                <a:gd name="connsiteY10" fmla="*/ 218772 h 228600"/>
                <a:gd name="connsiteX11" fmla="*/ 175736 w 247650"/>
                <a:gd name="connsiteY11" fmla="*/ 199722 h 228600"/>
                <a:gd name="connsiteX12" fmla="*/ 195739 w 247650"/>
                <a:gd name="connsiteY12" fmla="*/ 202580 h 228600"/>
                <a:gd name="connsiteX13" fmla="*/ 205264 w 247650"/>
                <a:gd name="connsiteY13" fmla="*/ 172100 h 228600"/>
                <a:gd name="connsiteX14" fmla="*/ 242411 w 247650"/>
                <a:gd name="connsiteY14" fmla="*/ 101615 h 228600"/>
                <a:gd name="connsiteX15" fmla="*/ 124301 w 247650"/>
                <a:gd name="connsiteY15" fmla="*/ 16842 h 228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47650" h="228600">
                  <a:moveTo>
                    <a:pt x="124301" y="16842"/>
                  </a:moveTo>
                  <a:cubicBezTo>
                    <a:pt x="120491" y="18747"/>
                    <a:pt x="115729" y="21605"/>
                    <a:pt x="112871" y="25415"/>
                  </a:cubicBezTo>
                  <a:cubicBezTo>
                    <a:pt x="87154" y="53990"/>
                    <a:pt x="73819" y="79707"/>
                    <a:pt x="67151" y="101615"/>
                  </a:cubicBezTo>
                  <a:cubicBezTo>
                    <a:pt x="57626" y="115902"/>
                    <a:pt x="48101" y="135905"/>
                    <a:pt x="25241" y="148287"/>
                  </a:cubicBezTo>
                  <a:cubicBezTo>
                    <a:pt x="15716" y="153050"/>
                    <a:pt x="7144" y="157812"/>
                    <a:pt x="7144" y="157812"/>
                  </a:cubicBezTo>
                  <a:cubicBezTo>
                    <a:pt x="8096" y="163527"/>
                    <a:pt x="74771" y="236870"/>
                    <a:pt x="89059" y="227345"/>
                  </a:cubicBezTo>
                  <a:cubicBezTo>
                    <a:pt x="90011" y="226392"/>
                    <a:pt x="90964" y="225440"/>
                    <a:pt x="90964" y="224487"/>
                  </a:cubicBezTo>
                  <a:cubicBezTo>
                    <a:pt x="92869" y="221630"/>
                    <a:pt x="98584" y="215915"/>
                    <a:pt x="110966" y="209247"/>
                  </a:cubicBezTo>
                  <a:cubicBezTo>
                    <a:pt x="110966" y="209247"/>
                    <a:pt x="111919" y="210200"/>
                    <a:pt x="111919" y="210200"/>
                  </a:cubicBezTo>
                  <a:lnTo>
                    <a:pt x="111919" y="210200"/>
                  </a:lnTo>
                  <a:cubicBezTo>
                    <a:pt x="118586" y="214010"/>
                    <a:pt x="125254" y="216867"/>
                    <a:pt x="135731" y="218772"/>
                  </a:cubicBezTo>
                  <a:cubicBezTo>
                    <a:pt x="146209" y="220677"/>
                    <a:pt x="159544" y="212105"/>
                    <a:pt x="175736" y="199722"/>
                  </a:cubicBezTo>
                  <a:cubicBezTo>
                    <a:pt x="184309" y="202580"/>
                    <a:pt x="192881" y="208295"/>
                    <a:pt x="195739" y="202580"/>
                  </a:cubicBezTo>
                  <a:cubicBezTo>
                    <a:pt x="196691" y="193055"/>
                    <a:pt x="204311" y="178767"/>
                    <a:pt x="205264" y="172100"/>
                  </a:cubicBezTo>
                  <a:cubicBezTo>
                    <a:pt x="225266" y="149240"/>
                    <a:pt x="239554" y="124475"/>
                    <a:pt x="242411" y="101615"/>
                  </a:cubicBezTo>
                  <a:cubicBezTo>
                    <a:pt x="248126" y="53990"/>
                    <a:pt x="174784" y="-19353"/>
                    <a:pt x="124301" y="16842"/>
                  </a:cubicBezTo>
                  <a:close/>
                </a:path>
              </a:pathLst>
            </a:custGeom>
            <a:solidFill>
              <a:srgbClr val="EAB6AC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4" name="任意多边形: 形状 63">
              <a:extLst>
                <a:ext uri="{FF2B5EF4-FFF2-40B4-BE49-F238E27FC236}">
                  <a16:creationId xmlns:a16="http://schemas.microsoft.com/office/drawing/2014/main" id="{38F1B9B4-1074-441D-B67F-B616A689B865}"/>
                </a:ext>
              </a:extLst>
            </p:cNvPr>
            <p:cNvSpPr/>
            <p:nvPr/>
          </p:nvSpPr>
          <p:spPr>
            <a:xfrm flipH="1">
              <a:off x="9277862" y="1059195"/>
              <a:ext cx="731434" cy="445221"/>
            </a:xfrm>
            <a:custGeom>
              <a:avLst/>
              <a:gdLst>
                <a:gd name="connsiteX0" fmla="*/ 108109 w 219075"/>
                <a:gd name="connsiteY0" fmla="*/ 10083 h 133350"/>
                <a:gd name="connsiteX1" fmla="*/ 180499 w 219075"/>
                <a:gd name="connsiteY1" fmla="*/ 28181 h 133350"/>
                <a:gd name="connsiteX2" fmla="*/ 215741 w 219075"/>
                <a:gd name="connsiteY2" fmla="*/ 95808 h 133350"/>
                <a:gd name="connsiteX3" fmla="*/ 200501 w 219075"/>
                <a:gd name="connsiteY3" fmla="*/ 132956 h 133350"/>
                <a:gd name="connsiteX4" fmla="*/ 183356 w 219075"/>
                <a:gd name="connsiteY4" fmla="*/ 118668 h 133350"/>
                <a:gd name="connsiteX5" fmla="*/ 150971 w 219075"/>
                <a:gd name="connsiteY5" fmla="*/ 110096 h 133350"/>
                <a:gd name="connsiteX6" fmla="*/ 124301 w 219075"/>
                <a:gd name="connsiteY6" fmla="*/ 124383 h 133350"/>
                <a:gd name="connsiteX7" fmla="*/ 80486 w 219075"/>
                <a:gd name="connsiteY7" fmla="*/ 121526 h 133350"/>
                <a:gd name="connsiteX8" fmla="*/ 7144 w 219075"/>
                <a:gd name="connsiteY8" fmla="*/ 132956 h 133350"/>
                <a:gd name="connsiteX9" fmla="*/ 34766 w 219075"/>
                <a:gd name="connsiteY9" fmla="*/ 56756 h 133350"/>
                <a:gd name="connsiteX10" fmla="*/ 108109 w 219075"/>
                <a:gd name="connsiteY10" fmla="*/ 10083 h 133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19075" h="133350">
                  <a:moveTo>
                    <a:pt x="108109" y="10083"/>
                  </a:moveTo>
                  <a:cubicBezTo>
                    <a:pt x="123349" y="4368"/>
                    <a:pt x="152876" y="5321"/>
                    <a:pt x="180499" y="28181"/>
                  </a:cubicBezTo>
                  <a:cubicBezTo>
                    <a:pt x="208121" y="50088"/>
                    <a:pt x="212884" y="63423"/>
                    <a:pt x="215741" y="95808"/>
                  </a:cubicBezTo>
                  <a:cubicBezTo>
                    <a:pt x="217646" y="112953"/>
                    <a:pt x="200501" y="132956"/>
                    <a:pt x="200501" y="132956"/>
                  </a:cubicBezTo>
                  <a:cubicBezTo>
                    <a:pt x="200501" y="132956"/>
                    <a:pt x="191929" y="122478"/>
                    <a:pt x="183356" y="118668"/>
                  </a:cubicBezTo>
                  <a:cubicBezTo>
                    <a:pt x="175736" y="114858"/>
                    <a:pt x="169069" y="104381"/>
                    <a:pt x="150971" y="110096"/>
                  </a:cubicBezTo>
                  <a:cubicBezTo>
                    <a:pt x="135731" y="114858"/>
                    <a:pt x="124301" y="124383"/>
                    <a:pt x="124301" y="124383"/>
                  </a:cubicBezTo>
                  <a:cubicBezTo>
                    <a:pt x="124301" y="124383"/>
                    <a:pt x="88106" y="112953"/>
                    <a:pt x="80486" y="121526"/>
                  </a:cubicBezTo>
                  <a:cubicBezTo>
                    <a:pt x="72866" y="130098"/>
                    <a:pt x="7144" y="132956"/>
                    <a:pt x="7144" y="132956"/>
                  </a:cubicBezTo>
                  <a:cubicBezTo>
                    <a:pt x="7144" y="132956"/>
                    <a:pt x="23336" y="81521"/>
                    <a:pt x="34766" y="56756"/>
                  </a:cubicBezTo>
                  <a:cubicBezTo>
                    <a:pt x="62389" y="-394"/>
                    <a:pt x="104299" y="11988"/>
                    <a:pt x="108109" y="10083"/>
                  </a:cubicBezTo>
                  <a:close/>
                </a:path>
              </a:pathLst>
            </a:custGeom>
            <a:solidFill>
              <a:schemeClr val="accent1">
                <a:lumMod val="5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5" name="任意多边形: 形状 64">
              <a:extLst>
                <a:ext uri="{FF2B5EF4-FFF2-40B4-BE49-F238E27FC236}">
                  <a16:creationId xmlns:a16="http://schemas.microsoft.com/office/drawing/2014/main" id="{C20F3153-935D-496F-8CDF-D2474E79C968}"/>
                </a:ext>
              </a:extLst>
            </p:cNvPr>
            <p:cNvSpPr/>
            <p:nvPr/>
          </p:nvSpPr>
          <p:spPr>
            <a:xfrm flipH="1">
              <a:off x="9252420" y="1078550"/>
              <a:ext cx="381618" cy="477021"/>
            </a:xfrm>
            <a:custGeom>
              <a:avLst/>
              <a:gdLst>
                <a:gd name="connsiteX0" fmla="*/ 40481 w 114300"/>
                <a:gd name="connsiteY0" fmla="*/ 105251 h 142875"/>
                <a:gd name="connsiteX1" fmla="*/ 72866 w 114300"/>
                <a:gd name="connsiteY1" fmla="*/ 113824 h 142875"/>
                <a:gd name="connsiteX2" fmla="*/ 91916 w 114300"/>
                <a:gd name="connsiteY2" fmla="*/ 138589 h 142875"/>
                <a:gd name="connsiteX3" fmla="*/ 114776 w 114300"/>
                <a:gd name="connsiteY3" fmla="*/ 111919 h 142875"/>
                <a:gd name="connsiteX4" fmla="*/ 69056 w 114300"/>
                <a:gd name="connsiteY4" fmla="*/ 24289 h 142875"/>
                <a:gd name="connsiteX5" fmla="*/ 36671 w 114300"/>
                <a:gd name="connsiteY5" fmla="*/ 7144 h 142875"/>
                <a:gd name="connsiteX6" fmla="*/ 7144 w 114300"/>
                <a:gd name="connsiteY6" fmla="*/ 118586 h 142875"/>
                <a:gd name="connsiteX7" fmla="*/ 13811 w 114300"/>
                <a:gd name="connsiteY7" fmla="*/ 120491 h 142875"/>
                <a:gd name="connsiteX8" fmla="*/ 40481 w 114300"/>
                <a:gd name="connsiteY8" fmla="*/ 105251 h 14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42875">
                  <a:moveTo>
                    <a:pt x="40481" y="105251"/>
                  </a:moveTo>
                  <a:cubicBezTo>
                    <a:pt x="58579" y="99536"/>
                    <a:pt x="64294" y="110966"/>
                    <a:pt x="72866" y="113824"/>
                  </a:cubicBezTo>
                  <a:cubicBezTo>
                    <a:pt x="80486" y="117634"/>
                    <a:pt x="91916" y="138589"/>
                    <a:pt x="91916" y="138589"/>
                  </a:cubicBezTo>
                  <a:cubicBezTo>
                    <a:pt x="91916" y="138589"/>
                    <a:pt x="116681" y="128111"/>
                    <a:pt x="114776" y="111919"/>
                  </a:cubicBezTo>
                  <a:cubicBezTo>
                    <a:pt x="111919" y="78581"/>
                    <a:pt x="96679" y="46196"/>
                    <a:pt x="69056" y="24289"/>
                  </a:cubicBezTo>
                  <a:cubicBezTo>
                    <a:pt x="57626" y="15716"/>
                    <a:pt x="47149" y="10001"/>
                    <a:pt x="36671" y="7144"/>
                  </a:cubicBezTo>
                  <a:cubicBezTo>
                    <a:pt x="46196" y="22384"/>
                    <a:pt x="59531" y="56674"/>
                    <a:pt x="7144" y="118586"/>
                  </a:cubicBezTo>
                  <a:cubicBezTo>
                    <a:pt x="17621" y="120491"/>
                    <a:pt x="13811" y="120491"/>
                    <a:pt x="13811" y="120491"/>
                  </a:cubicBezTo>
                  <a:cubicBezTo>
                    <a:pt x="13811" y="120491"/>
                    <a:pt x="24289" y="109061"/>
                    <a:pt x="40481" y="105251"/>
                  </a:cubicBezTo>
                  <a:close/>
                </a:path>
              </a:pathLst>
            </a:custGeom>
            <a:solidFill>
              <a:srgbClr val="5E1C1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6" name="任意多边形: 形状 65">
              <a:extLst>
                <a:ext uri="{FF2B5EF4-FFF2-40B4-BE49-F238E27FC236}">
                  <a16:creationId xmlns:a16="http://schemas.microsoft.com/office/drawing/2014/main" id="{68292E4C-710E-4562-A374-9CB1087E7604}"/>
                </a:ext>
              </a:extLst>
            </p:cNvPr>
            <p:cNvSpPr/>
            <p:nvPr/>
          </p:nvSpPr>
          <p:spPr>
            <a:xfrm flipH="1">
              <a:off x="9199565" y="1028174"/>
              <a:ext cx="763235" cy="572427"/>
            </a:xfrm>
            <a:custGeom>
              <a:avLst/>
              <a:gdLst>
                <a:gd name="connsiteX0" fmla="*/ 181812 w 228600"/>
                <a:gd name="connsiteY0" fmla="*/ 166060 h 171450"/>
                <a:gd name="connsiteX1" fmla="*/ 97039 w 228600"/>
                <a:gd name="connsiteY1" fmla="*/ 114625 h 171450"/>
                <a:gd name="connsiteX2" fmla="*/ 17029 w 228600"/>
                <a:gd name="connsiteY2" fmla="*/ 100337 h 171450"/>
                <a:gd name="connsiteX3" fmla="*/ 15125 w 228600"/>
                <a:gd name="connsiteY3" fmla="*/ 77477 h 171450"/>
                <a:gd name="connsiteX4" fmla="*/ 96087 w 228600"/>
                <a:gd name="connsiteY4" fmla="*/ 7945 h 171450"/>
                <a:gd name="connsiteX5" fmla="*/ 224675 w 228600"/>
                <a:gd name="connsiteY5" fmla="*/ 112720 h 171450"/>
                <a:gd name="connsiteX6" fmla="*/ 181812 w 228600"/>
                <a:gd name="connsiteY6" fmla="*/ 166060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28600" h="171450">
                  <a:moveTo>
                    <a:pt x="181812" y="166060"/>
                  </a:moveTo>
                  <a:cubicBezTo>
                    <a:pt x="147522" y="135580"/>
                    <a:pt x="97039" y="114625"/>
                    <a:pt x="97039" y="114625"/>
                  </a:cubicBezTo>
                  <a:cubicBezTo>
                    <a:pt x="97039" y="114625"/>
                    <a:pt x="30364" y="108910"/>
                    <a:pt x="17029" y="100337"/>
                  </a:cubicBezTo>
                  <a:cubicBezTo>
                    <a:pt x="3695" y="91765"/>
                    <a:pt x="4647" y="76525"/>
                    <a:pt x="15125" y="77477"/>
                  </a:cubicBezTo>
                  <a:cubicBezTo>
                    <a:pt x="25602" y="78430"/>
                    <a:pt x="16077" y="19375"/>
                    <a:pt x="96087" y="7945"/>
                  </a:cubicBezTo>
                  <a:cubicBezTo>
                    <a:pt x="157047" y="-628"/>
                    <a:pt x="242772" y="61285"/>
                    <a:pt x="224675" y="112720"/>
                  </a:cubicBezTo>
                  <a:cubicBezTo>
                    <a:pt x="205625" y="164155"/>
                    <a:pt x="181812" y="166060"/>
                    <a:pt x="181812" y="166060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7" name="任意多边形: 形状 66">
              <a:extLst>
                <a:ext uri="{FF2B5EF4-FFF2-40B4-BE49-F238E27FC236}">
                  <a16:creationId xmlns:a16="http://schemas.microsoft.com/office/drawing/2014/main" id="{B3532A5E-44D3-4D62-BCE8-41975C661685}"/>
                </a:ext>
              </a:extLst>
            </p:cNvPr>
            <p:cNvSpPr/>
            <p:nvPr/>
          </p:nvSpPr>
          <p:spPr>
            <a:xfrm flipH="1">
              <a:off x="9648035" y="1380119"/>
              <a:ext cx="159007" cy="190810"/>
            </a:xfrm>
            <a:custGeom>
              <a:avLst/>
              <a:gdLst>
                <a:gd name="connsiteX0" fmla="*/ 48483 w 47625"/>
                <a:gd name="connsiteY0" fmla="*/ 28262 h 57150"/>
                <a:gd name="connsiteX1" fmla="*/ 31338 w 47625"/>
                <a:gd name="connsiteY1" fmla="*/ 7307 h 57150"/>
                <a:gd name="connsiteX2" fmla="*/ 8478 w 47625"/>
                <a:gd name="connsiteY2" fmla="*/ 48265 h 57150"/>
                <a:gd name="connsiteX3" fmla="*/ 48483 w 47625"/>
                <a:gd name="connsiteY3" fmla="*/ 28262 h 57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625" h="57150">
                  <a:moveTo>
                    <a:pt x="48483" y="28262"/>
                  </a:moveTo>
                  <a:cubicBezTo>
                    <a:pt x="46578" y="20642"/>
                    <a:pt x="40863" y="5402"/>
                    <a:pt x="31338" y="7307"/>
                  </a:cubicBezTo>
                  <a:cubicBezTo>
                    <a:pt x="21813" y="10165"/>
                    <a:pt x="1811" y="33025"/>
                    <a:pt x="8478" y="48265"/>
                  </a:cubicBezTo>
                  <a:cubicBezTo>
                    <a:pt x="15146" y="64457"/>
                    <a:pt x="48483" y="28262"/>
                    <a:pt x="48483" y="28262"/>
                  </a:cubicBezTo>
                  <a:close/>
                </a:path>
              </a:pathLst>
            </a:custGeom>
            <a:solidFill>
              <a:srgbClr val="EAB6AC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8" name="任意多边形: 形状 67">
              <a:extLst>
                <a:ext uri="{FF2B5EF4-FFF2-40B4-BE49-F238E27FC236}">
                  <a16:creationId xmlns:a16="http://schemas.microsoft.com/office/drawing/2014/main" id="{CFD7D986-4D1A-49B3-9CEB-BF835DB7FAC7}"/>
                </a:ext>
              </a:extLst>
            </p:cNvPr>
            <p:cNvSpPr/>
            <p:nvPr/>
          </p:nvSpPr>
          <p:spPr>
            <a:xfrm flipH="1">
              <a:off x="9510699" y="1021400"/>
              <a:ext cx="445221" cy="413420"/>
            </a:xfrm>
            <a:custGeom>
              <a:avLst/>
              <a:gdLst>
                <a:gd name="connsiteX0" fmla="*/ 88311 w 133350"/>
                <a:gd name="connsiteY0" fmla="*/ 9021 h 123825"/>
                <a:gd name="connsiteX1" fmla="*/ 132126 w 133350"/>
                <a:gd name="connsiteY1" fmla="*/ 11878 h 123825"/>
                <a:gd name="connsiteX2" fmla="*/ 127364 w 133350"/>
                <a:gd name="connsiteY2" fmla="*/ 119511 h 123825"/>
                <a:gd name="connsiteX3" fmla="*/ 39734 w 133350"/>
                <a:gd name="connsiteY3" fmla="*/ 99508 h 123825"/>
                <a:gd name="connsiteX4" fmla="*/ 7349 w 133350"/>
                <a:gd name="connsiteY4" fmla="*/ 78553 h 123825"/>
                <a:gd name="connsiteX5" fmla="*/ 88311 w 133350"/>
                <a:gd name="connsiteY5" fmla="*/ 9021 h 1238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33350" h="123825">
                  <a:moveTo>
                    <a:pt x="88311" y="9021"/>
                  </a:moveTo>
                  <a:cubicBezTo>
                    <a:pt x="107361" y="6163"/>
                    <a:pt x="108314" y="6163"/>
                    <a:pt x="132126" y="11878"/>
                  </a:cubicBezTo>
                  <a:cubicBezTo>
                    <a:pt x="123554" y="45216"/>
                    <a:pt x="120696" y="111891"/>
                    <a:pt x="127364" y="119511"/>
                  </a:cubicBezTo>
                  <a:cubicBezTo>
                    <a:pt x="83549" y="98556"/>
                    <a:pt x="58784" y="102366"/>
                    <a:pt x="39734" y="99508"/>
                  </a:cubicBezTo>
                  <a:cubicBezTo>
                    <a:pt x="16874" y="95698"/>
                    <a:pt x="5444" y="91888"/>
                    <a:pt x="7349" y="78553"/>
                  </a:cubicBezTo>
                  <a:cubicBezTo>
                    <a:pt x="18779" y="79506"/>
                    <a:pt x="9254" y="20451"/>
                    <a:pt x="88311" y="9021"/>
                  </a:cubicBezTo>
                  <a:close/>
                </a:path>
              </a:pathLst>
            </a:custGeom>
            <a:solidFill>
              <a:schemeClr val="accent6">
                <a:lumMod val="40000"/>
                <a:lumOff val="6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9" name="任意多边形: 形状 68">
              <a:extLst>
                <a:ext uri="{FF2B5EF4-FFF2-40B4-BE49-F238E27FC236}">
                  <a16:creationId xmlns:a16="http://schemas.microsoft.com/office/drawing/2014/main" id="{16311B6D-8E35-4AD8-8CA3-660C1DBBD1DD}"/>
                </a:ext>
              </a:extLst>
            </p:cNvPr>
            <p:cNvSpPr/>
            <p:nvPr/>
          </p:nvSpPr>
          <p:spPr>
            <a:xfrm flipH="1">
              <a:off x="9420970" y="1514232"/>
              <a:ext cx="413420" cy="349817"/>
            </a:xfrm>
            <a:custGeom>
              <a:avLst/>
              <a:gdLst>
                <a:gd name="connsiteX0" fmla="*/ 122396 w 123825"/>
                <a:gd name="connsiteY0" fmla="*/ 41434 h 104775"/>
                <a:gd name="connsiteX1" fmla="*/ 71914 w 123825"/>
                <a:gd name="connsiteY1" fmla="*/ 7144 h 104775"/>
                <a:gd name="connsiteX2" fmla="*/ 42386 w 123825"/>
                <a:gd name="connsiteY2" fmla="*/ 39529 h 104775"/>
                <a:gd name="connsiteX3" fmla="*/ 7144 w 123825"/>
                <a:gd name="connsiteY3" fmla="*/ 37624 h 104775"/>
                <a:gd name="connsiteX4" fmla="*/ 22384 w 123825"/>
                <a:gd name="connsiteY4" fmla="*/ 84296 h 104775"/>
                <a:gd name="connsiteX5" fmla="*/ 95726 w 123825"/>
                <a:gd name="connsiteY5" fmla="*/ 101441 h 104775"/>
                <a:gd name="connsiteX6" fmla="*/ 122396 w 123825"/>
                <a:gd name="connsiteY6" fmla="*/ 41434 h 104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3825" h="104775">
                  <a:moveTo>
                    <a:pt x="122396" y="41434"/>
                  </a:moveTo>
                  <a:cubicBezTo>
                    <a:pt x="122396" y="41434"/>
                    <a:pt x="76676" y="14764"/>
                    <a:pt x="71914" y="7144"/>
                  </a:cubicBezTo>
                  <a:cubicBezTo>
                    <a:pt x="55721" y="11906"/>
                    <a:pt x="58579" y="35719"/>
                    <a:pt x="42386" y="39529"/>
                  </a:cubicBezTo>
                  <a:cubicBezTo>
                    <a:pt x="26194" y="44291"/>
                    <a:pt x="7144" y="37624"/>
                    <a:pt x="7144" y="37624"/>
                  </a:cubicBezTo>
                  <a:cubicBezTo>
                    <a:pt x="7144" y="37624"/>
                    <a:pt x="13811" y="67151"/>
                    <a:pt x="22384" y="84296"/>
                  </a:cubicBezTo>
                  <a:cubicBezTo>
                    <a:pt x="30956" y="101441"/>
                    <a:pt x="71914" y="110966"/>
                    <a:pt x="95726" y="101441"/>
                  </a:cubicBezTo>
                  <a:cubicBezTo>
                    <a:pt x="118586" y="91916"/>
                    <a:pt x="122396" y="41434"/>
                    <a:pt x="122396" y="41434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0" name="任意多边形: 形状 69">
              <a:extLst>
                <a:ext uri="{FF2B5EF4-FFF2-40B4-BE49-F238E27FC236}">
                  <a16:creationId xmlns:a16="http://schemas.microsoft.com/office/drawing/2014/main" id="{6B4945FD-32A2-4A23-873C-3B63767ACBF8}"/>
                </a:ext>
              </a:extLst>
            </p:cNvPr>
            <p:cNvSpPr/>
            <p:nvPr/>
          </p:nvSpPr>
          <p:spPr>
            <a:xfrm flipH="1">
              <a:off x="9757701" y="1197458"/>
              <a:ext cx="190810" cy="540624"/>
            </a:xfrm>
            <a:custGeom>
              <a:avLst/>
              <a:gdLst>
                <a:gd name="connsiteX0" fmla="*/ 48945 w 57150"/>
                <a:gd name="connsiteY0" fmla="*/ 136312 h 161925"/>
                <a:gd name="connsiteX1" fmla="*/ 12750 w 57150"/>
                <a:gd name="connsiteY1" fmla="*/ 7724 h 161925"/>
                <a:gd name="connsiteX2" fmla="*/ 7987 w 57150"/>
                <a:gd name="connsiteY2" fmla="*/ 20107 h 161925"/>
                <a:gd name="connsiteX3" fmla="*/ 48945 w 57150"/>
                <a:gd name="connsiteY3" fmla="*/ 155362 h 161925"/>
                <a:gd name="connsiteX4" fmla="*/ 48945 w 57150"/>
                <a:gd name="connsiteY4" fmla="*/ 136312 h 161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161925">
                  <a:moveTo>
                    <a:pt x="48945" y="136312"/>
                  </a:moveTo>
                  <a:cubicBezTo>
                    <a:pt x="49897" y="127739"/>
                    <a:pt x="13703" y="26774"/>
                    <a:pt x="12750" y="7724"/>
                  </a:cubicBezTo>
                  <a:cubicBezTo>
                    <a:pt x="4178" y="3914"/>
                    <a:pt x="7987" y="20107"/>
                    <a:pt x="7987" y="20107"/>
                  </a:cubicBezTo>
                  <a:cubicBezTo>
                    <a:pt x="7987" y="20107"/>
                    <a:pt x="40372" y="150599"/>
                    <a:pt x="48945" y="155362"/>
                  </a:cubicBezTo>
                  <a:cubicBezTo>
                    <a:pt x="56565" y="160124"/>
                    <a:pt x="48945" y="136312"/>
                    <a:pt x="48945" y="136312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1" name="任意多边形: 形状 70">
              <a:extLst>
                <a:ext uri="{FF2B5EF4-FFF2-40B4-BE49-F238E27FC236}">
                  <a16:creationId xmlns:a16="http://schemas.microsoft.com/office/drawing/2014/main" id="{1A16EB28-BD6F-48AF-8049-13EEB9ED86E1}"/>
                </a:ext>
              </a:extLst>
            </p:cNvPr>
            <p:cNvSpPr/>
            <p:nvPr/>
          </p:nvSpPr>
          <p:spPr>
            <a:xfrm flipH="1">
              <a:off x="9589516" y="1013647"/>
              <a:ext cx="95405" cy="572427"/>
            </a:xfrm>
            <a:custGeom>
              <a:avLst/>
              <a:gdLst>
                <a:gd name="connsiteX0" fmla="*/ 27146 w 28575"/>
                <a:gd name="connsiteY0" fmla="*/ 157075 h 171450"/>
                <a:gd name="connsiteX1" fmla="*/ 14764 w 28575"/>
                <a:gd name="connsiteY1" fmla="*/ 7533 h 171450"/>
                <a:gd name="connsiteX2" fmla="*/ 7144 w 28575"/>
                <a:gd name="connsiteY2" fmla="*/ 11343 h 171450"/>
                <a:gd name="connsiteX3" fmla="*/ 21431 w 28575"/>
                <a:gd name="connsiteY3" fmla="*/ 167553 h 171450"/>
                <a:gd name="connsiteX4" fmla="*/ 27146 w 28575"/>
                <a:gd name="connsiteY4" fmla="*/ 157075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8575" h="171450">
                  <a:moveTo>
                    <a:pt x="27146" y="157075"/>
                  </a:moveTo>
                  <a:cubicBezTo>
                    <a:pt x="26194" y="149455"/>
                    <a:pt x="17621" y="8485"/>
                    <a:pt x="14764" y="7533"/>
                  </a:cubicBezTo>
                  <a:cubicBezTo>
                    <a:pt x="12859" y="5628"/>
                    <a:pt x="7144" y="11343"/>
                    <a:pt x="7144" y="11343"/>
                  </a:cubicBezTo>
                  <a:cubicBezTo>
                    <a:pt x="7144" y="11343"/>
                    <a:pt x="19526" y="163743"/>
                    <a:pt x="21431" y="167553"/>
                  </a:cubicBezTo>
                  <a:cubicBezTo>
                    <a:pt x="24289" y="171363"/>
                    <a:pt x="27146" y="157075"/>
                    <a:pt x="27146" y="157075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2" name="任意多边形: 形状 71">
              <a:extLst>
                <a:ext uri="{FF2B5EF4-FFF2-40B4-BE49-F238E27FC236}">
                  <a16:creationId xmlns:a16="http://schemas.microsoft.com/office/drawing/2014/main" id="{E3DE055A-4652-44B3-A643-04B72D61FDEA}"/>
                </a:ext>
              </a:extLst>
            </p:cNvPr>
            <p:cNvSpPr/>
            <p:nvPr/>
          </p:nvSpPr>
          <p:spPr>
            <a:xfrm flipH="1">
              <a:off x="9336426" y="1444268"/>
              <a:ext cx="254413" cy="222611"/>
            </a:xfrm>
            <a:custGeom>
              <a:avLst/>
              <a:gdLst>
                <a:gd name="connsiteX0" fmla="*/ 15159 w 76200"/>
                <a:gd name="connsiteY0" fmla="*/ 7144 h 66675"/>
                <a:gd name="connsiteX1" fmla="*/ 14206 w 76200"/>
                <a:gd name="connsiteY1" fmla="*/ 47149 h 66675"/>
                <a:gd name="connsiteX2" fmla="*/ 47544 w 76200"/>
                <a:gd name="connsiteY2" fmla="*/ 47149 h 66675"/>
                <a:gd name="connsiteX3" fmla="*/ 46592 w 76200"/>
                <a:gd name="connsiteY3" fmla="*/ 67151 h 66675"/>
                <a:gd name="connsiteX4" fmla="*/ 73262 w 76200"/>
                <a:gd name="connsiteY4" fmla="*/ 48101 h 66675"/>
                <a:gd name="connsiteX5" fmla="*/ 15159 w 76200"/>
                <a:gd name="connsiteY5" fmla="*/ 7144 h 66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6200" h="66675">
                  <a:moveTo>
                    <a:pt x="15159" y="7144"/>
                  </a:moveTo>
                  <a:cubicBezTo>
                    <a:pt x="5634" y="13811"/>
                    <a:pt x="3729" y="37624"/>
                    <a:pt x="14206" y="47149"/>
                  </a:cubicBezTo>
                  <a:cubicBezTo>
                    <a:pt x="28494" y="61436"/>
                    <a:pt x="47544" y="47149"/>
                    <a:pt x="47544" y="47149"/>
                  </a:cubicBezTo>
                  <a:cubicBezTo>
                    <a:pt x="47544" y="47149"/>
                    <a:pt x="40877" y="62389"/>
                    <a:pt x="46592" y="67151"/>
                  </a:cubicBezTo>
                  <a:cubicBezTo>
                    <a:pt x="57069" y="75724"/>
                    <a:pt x="73262" y="48101"/>
                    <a:pt x="73262" y="48101"/>
                  </a:cubicBezTo>
                  <a:lnTo>
                    <a:pt x="15159" y="7144"/>
                  </a:lnTo>
                  <a:close/>
                </a:path>
              </a:pathLst>
            </a:custGeom>
            <a:solidFill>
              <a:srgbClr val="FFFFFF">
                <a:alpha val="55000"/>
              </a:srgb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3" name="任意多边形: 形状 72">
              <a:extLst>
                <a:ext uri="{FF2B5EF4-FFF2-40B4-BE49-F238E27FC236}">
                  <a16:creationId xmlns:a16="http://schemas.microsoft.com/office/drawing/2014/main" id="{973ABAC7-2AA9-47E3-97C0-E0661A43309A}"/>
                </a:ext>
              </a:extLst>
            </p:cNvPr>
            <p:cNvSpPr/>
            <p:nvPr/>
          </p:nvSpPr>
          <p:spPr>
            <a:xfrm flipH="1">
              <a:off x="9294608" y="1367945"/>
              <a:ext cx="445221" cy="254413"/>
            </a:xfrm>
            <a:custGeom>
              <a:avLst/>
              <a:gdLst>
                <a:gd name="connsiteX0" fmla="*/ 122650 w 133350"/>
                <a:gd name="connsiteY0" fmla="*/ 74771 h 76200"/>
                <a:gd name="connsiteX1" fmla="*/ 64547 w 133350"/>
                <a:gd name="connsiteY1" fmla="*/ 32861 h 76200"/>
                <a:gd name="connsiteX2" fmla="*/ 64547 w 133350"/>
                <a:gd name="connsiteY2" fmla="*/ 32861 h 76200"/>
                <a:gd name="connsiteX3" fmla="*/ 15017 w 133350"/>
                <a:gd name="connsiteY3" fmla="*/ 14764 h 76200"/>
                <a:gd name="connsiteX4" fmla="*/ 15017 w 133350"/>
                <a:gd name="connsiteY4" fmla="*/ 14764 h 76200"/>
                <a:gd name="connsiteX5" fmla="*/ 12160 w 133350"/>
                <a:gd name="connsiteY5" fmla="*/ 14764 h 76200"/>
                <a:gd name="connsiteX6" fmla="*/ 12160 w 133350"/>
                <a:gd name="connsiteY6" fmla="*/ 14764 h 76200"/>
                <a:gd name="connsiteX7" fmla="*/ 12160 w 133350"/>
                <a:gd name="connsiteY7" fmla="*/ 14764 h 76200"/>
                <a:gd name="connsiteX8" fmla="*/ 7397 w 133350"/>
                <a:gd name="connsiteY8" fmla="*/ 11906 h 76200"/>
                <a:gd name="connsiteX9" fmla="*/ 7397 w 133350"/>
                <a:gd name="connsiteY9" fmla="*/ 11906 h 76200"/>
                <a:gd name="connsiteX10" fmla="*/ 10255 w 133350"/>
                <a:gd name="connsiteY10" fmla="*/ 7144 h 76200"/>
                <a:gd name="connsiteX11" fmla="*/ 10255 w 133350"/>
                <a:gd name="connsiteY11" fmla="*/ 7144 h 76200"/>
                <a:gd name="connsiteX12" fmla="*/ 14065 w 133350"/>
                <a:gd name="connsiteY12" fmla="*/ 7144 h 76200"/>
                <a:gd name="connsiteX13" fmla="*/ 14065 w 133350"/>
                <a:gd name="connsiteY13" fmla="*/ 7144 h 76200"/>
                <a:gd name="connsiteX14" fmla="*/ 68357 w 133350"/>
                <a:gd name="connsiteY14" fmla="*/ 27146 h 76200"/>
                <a:gd name="connsiteX15" fmla="*/ 68357 w 133350"/>
                <a:gd name="connsiteY15" fmla="*/ 27146 h 76200"/>
                <a:gd name="connsiteX16" fmla="*/ 126460 w 133350"/>
                <a:gd name="connsiteY16" fmla="*/ 69056 h 76200"/>
                <a:gd name="connsiteX17" fmla="*/ 126460 w 133350"/>
                <a:gd name="connsiteY17" fmla="*/ 69056 h 76200"/>
                <a:gd name="connsiteX18" fmla="*/ 127412 w 133350"/>
                <a:gd name="connsiteY18" fmla="*/ 73819 h 76200"/>
                <a:gd name="connsiteX19" fmla="*/ 127412 w 133350"/>
                <a:gd name="connsiteY19" fmla="*/ 73819 h 76200"/>
                <a:gd name="connsiteX20" fmla="*/ 124555 w 133350"/>
                <a:gd name="connsiteY20" fmla="*/ 75724 h 76200"/>
                <a:gd name="connsiteX21" fmla="*/ 124555 w 133350"/>
                <a:gd name="connsiteY21" fmla="*/ 75724 h 76200"/>
                <a:gd name="connsiteX22" fmla="*/ 122650 w 133350"/>
                <a:gd name="connsiteY22" fmla="*/ 74771 h 76200"/>
                <a:gd name="connsiteX23" fmla="*/ 122650 w 133350"/>
                <a:gd name="connsiteY23" fmla="*/ 74771 h 76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33350" h="76200">
                  <a:moveTo>
                    <a:pt x="122650" y="74771"/>
                  </a:moveTo>
                  <a:cubicBezTo>
                    <a:pt x="110267" y="67151"/>
                    <a:pt x="75977" y="42386"/>
                    <a:pt x="64547" y="32861"/>
                  </a:cubicBezTo>
                  <a:lnTo>
                    <a:pt x="64547" y="32861"/>
                  </a:lnTo>
                  <a:cubicBezTo>
                    <a:pt x="55022" y="25241"/>
                    <a:pt x="26447" y="14764"/>
                    <a:pt x="15017" y="14764"/>
                  </a:cubicBezTo>
                  <a:lnTo>
                    <a:pt x="15017" y="14764"/>
                  </a:lnTo>
                  <a:cubicBezTo>
                    <a:pt x="14065" y="14764"/>
                    <a:pt x="13112" y="14764"/>
                    <a:pt x="12160" y="14764"/>
                  </a:cubicBezTo>
                  <a:lnTo>
                    <a:pt x="12160" y="14764"/>
                  </a:lnTo>
                  <a:lnTo>
                    <a:pt x="12160" y="14764"/>
                  </a:lnTo>
                  <a:cubicBezTo>
                    <a:pt x="10255" y="14764"/>
                    <a:pt x="8350" y="13811"/>
                    <a:pt x="7397" y="11906"/>
                  </a:cubicBezTo>
                  <a:lnTo>
                    <a:pt x="7397" y="11906"/>
                  </a:lnTo>
                  <a:cubicBezTo>
                    <a:pt x="6445" y="10001"/>
                    <a:pt x="8350" y="8096"/>
                    <a:pt x="10255" y="7144"/>
                  </a:cubicBezTo>
                  <a:lnTo>
                    <a:pt x="10255" y="7144"/>
                  </a:lnTo>
                  <a:cubicBezTo>
                    <a:pt x="11207" y="7144"/>
                    <a:pt x="13112" y="7144"/>
                    <a:pt x="14065" y="7144"/>
                  </a:cubicBezTo>
                  <a:lnTo>
                    <a:pt x="14065" y="7144"/>
                  </a:lnTo>
                  <a:cubicBezTo>
                    <a:pt x="28352" y="7144"/>
                    <a:pt x="55975" y="17621"/>
                    <a:pt x="68357" y="27146"/>
                  </a:cubicBezTo>
                  <a:lnTo>
                    <a:pt x="68357" y="27146"/>
                  </a:lnTo>
                  <a:cubicBezTo>
                    <a:pt x="79787" y="36671"/>
                    <a:pt x="115030" y="61436"/>
                    <a:pt x="126460" y="69056"/>
                  </a:cubicBezTo>
                  <a:lnTo>
                    <a:pt x="126460" y="69056"/>
                  </a:lnTo>
                  <a:cubicBezTo>
                    <a:pt x="128365" y="70009"/>
                    <a:pt x="129317" y="72866"/>
                    <a:pt x="127412" y="73819"/>
                  </a:cubicBezTo>
                  <a:lnTo>
                    <a:pt x="127412" y="73819"/>
                  </a:lnTo>
                  <a:cubicBezTo>
                    <a:pt x="126460" y="74771"/>
                    <a:pt x="125507" y="75724"/>
                    <a:pt x="124555" y="75724"/>
                  </a:cubicBezTo>
                  <a:lnTo>
                    <a:pt x="124555" y="75724"/>
                  </a:lnTo>
                  <a:cubicBezTo>
                    <a:pt x="123602" y="75724"/>
                    <a:pt x="122650" y="75724"/>
                    <a:pt x="122650" y="74771"/>
                  </a:cubicBezTo>
                  <a:lnTo>
                    <a:pt x="122650" y="74771"/>
                  </a:ln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4" name="任意多边形: 形状 73">
              <a:extLst>
                <a:ext uri="{FF2B5EF4-FFF2-40B4-BE49-F238E27FC236}">
                  <a16:creationId xmlns:a16="http://schemas.microsoft.com/office/drawing/2014/main" id="{CA2750F4-F51F-4D73-A5DD-0B051E7D1CC8}"/>
                </a:ext>
              </a:extLst>
            </p:cNvPr>
            <p:cNvSpPr/>
            <p:nvPr/>
          </p:nvSpPr>
          <p:spPr>
            <a:xfrm flipH="1">
              <a:off x="9326585" y="1588769"/>
              <a:ext cx="190810" cy="127205"/>
            </a:xfrm>
            <a:custGeom>
              <a:avLst/>
              <a:gdLst>
                <a:gd name="connsiteX0" fmla="*/ 7449 w 57150"/>
                <a:gd name="connsiteY0" fmla="*/ 14346 h 38100"/>
                <a:gd name="connsiteX1" fmla="*/ 19831 w 57150"/>
                <a:gd name="connsiteY1" fmla="*/ 7679 h 38100"/>
                <a:gd name="connsiteX2" fmla="*/ 52216 w 57150"/>
                <a:gd name="connsiteY2" fmla="*/ 23871 h 38100"/>
                <a:gd name="connsiteX3" fmla="*/ 52216 w 57150"/>
                <a:gd name="connsiteY3" fmla="*/ 34349 h 38100"/>
                <a:gd name="connsiteX4" fmla="*/ 32214 w 57150"/>
                <a:gd name="connsiteY4" fmla="*/ 26729 h 38100"/>
                <a:gd name="connsiteX5" fmla="*/ 11259 w 57150"/>
                <a:gd name="connsiteY5" fmla="*/ 22919 h 38100"/>
                <a:gd name="connsiteX6" fmla="*/ 7449 w 57150"/>
                <a:gd name="connsiteY6" fmla="*/ 14346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7150" h="38100">
                  <a:moveTo>
                    <a:pt x="7449" y="14346"/>
                  </a:moveTo>
                  <a:cubicBezTo>
                    <a:pt x="7449" y="14346"/>
                    <a:pt x="16021" y="4821"/>
                    <a:pt x="19831" y="7679"/>
                  </a:cubicBezTo>
                  <a:cubicBezTo>
                    <a:pt x="23641" y="9583"/>
                    <a:pt x="48406" y="21966"/>
                    <a:pt x="52216" y="23871"/>
                  </a:cubicBezTo>
                  <a:cubicBezTo>
                    <a:pt x="56026" y="25776"/>
                    <a:pt x="56026" y="33396"/>
                    <a:pt x="52216" y="34349"/>
                  </a:cubicBezTo>
                  <a:cubicBezTo>
                    <a:pt x="48406" y="35301"/>
                    <a:pt x="37929" y="29586"/>
                    <a:pt x="32214" y="26729"/>
                  </a:cubicBezTo>
                  <a:cubicBezTo>
                    <a:pt x="26499" y="23871"/>
                    <a:pt x="17926" y="25776"/>
                    <a:pt x="11259" y="22919"/>
                  </a:cubicBezTo>
                  <a:cubicBezTo>
                    <a:pt x="5544" y="20061"/>
                    <a:pt x="7449" y="14346"/>
                    <a:pt x="7449" y="14346"/>
                  </a:cubicBezTo>
                  <a:close/>
                </a:path>
              </a:pathLst>
            </a:custGeom>
            <a:solidFill>
              <a:schemeClr val="accent1">
                <a:lumMod val="5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5" name="任意多边形: 形状 74">
              <a:extLst>
                <a:ext uri="{FF2B5EF4-FFF2-40B4-BE49-F238E27FC236}">
                  <a16:creationId xmlns:a16="http://schemas.microsoft.com/office/drawing/2014/main" id="{DA6B1B6A-B87B-4970-9BA1-DD9A0078599F}"/>
                </a:ext>
              </a:extLst>
            </p:cNvPr>
            <p:cNvSpPr/>
            <p:nvPr/>
          </p:nvSpPr>
          <p:spPr>
            <a:xfrm flipH="1">
              <a:off x="9360677" y="1615866"/>
              <a:ext cx="159007" cy="190810"/>
            </a:xfrm>
            <a:custGeom>
              <a:avLst/>
              <a:gdLst>
                <a:gd name="connsiteX0" fmla="*/ 38615 w 47625"/>
                <a:gd name="connsiteY0" fmla="*/ 53855 h 57150"/>
                <a:gd name="connsiteX1" fmla="*/ 29090 w 47625"/>
                <a:gd name="connsiteY1" fmla="*/ 51950 h 57150"/>
                <a:gd name="connsiteX2" fmla="*/ 8135 w 47625"/>
                <a:gd name="connsiteY2" fmla="*/ 21470 h 57150"/>
                <a:gd name="connsiteX3" fmla="*/ 10040 w 47625"/>
                <a:gd name="connsiteY3" fmla="*/ 11945 h 57150"/>
                <a:gd name="connsiteX4" fmla="*/ 15755 w 47625"/>
                <a:gd name="connsiteY4" fmla="*/ 8135 h 57150"/>
                <a:gd name="connsiteX5" fmla="*/ 25280 w 47625"/>
                <a:gd name="connsiteY5" fmla="*/ 10040 h 57150"/>
                <a:gd name="connsiteX6" fmla="*/ 46235 w 47625"/>
                <a:gd name="connsiteY6" fmla="*/ 40520 h 57150"/>
                <a:gd name="connsiteX7" fmla="*/ 44330 w 47625"/>
                <a:gd name="connsiteY7" fmla="*/ 50045 h 57150"/>
                <a:gd name="connsiteX8" fmla="*/ 38615 w 47625"/>
                <a:gd name="connsiteY8" fmla="*/ 53855 h 57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7625" h="57150">
                  <a:moveTo>
                    <a:pt x="38615" y="53855"/>
                  </a:moveTo>
                  <a:cubicBezTo>
                    <a:pt x="35757" y="55760"/>
                    <a:pt x="30995" y="54807"/>
                    <a:pt x="29090" y="51950"/>
                  </a:cubicBezTo>
                  <a:lnTo>
                    <a:pt x="8135" y="21470"/>
                  </a:lnTo>
                  <a:cubicBezTo>
                    <a:pt x="6230" y="18612"/>
                    <a:pt x="7182" y="13850"/>
                    <a:pt x="10040" y="11945"/>
                  </a:cubicBezTo>
                  <a:lnTo>
                    <a:pt x="15755" y="8135"/>
                  </a:lnTo>
                  <a:cubicBezTo>
                    <a:pt x="18612" y="6230"/>
                    <a:pt x="23375" y="7182"/>
                    <a:pt x="25280" y="10040"/>
                  </a:cubicBezTo>
                  <a:lnTo>
                    <a:pt x="46235" y="40520"/>
                  </a:lnTo>
                  <a:cubicBezTo>
                    <a:pt x="48140" y="43377"/>
                    <a:pt x="47187" y="48140"/>
                    <a:pt x="44330" y="50045"/>
                  </a:cubicBezTo>
                  <a:lnTo>
                    <a:pt x="38615" y="53855"/>
                  </a:lnTo>
                  <a:close/>
                </a:path>
              </a:pathLst>
            </a:custGeom>
            <a:solidFill>
              <a:srgbClr val="858B9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6" name="任意多边形: 形状 75">
              <a:extLst>
                <a:ext uri="{FF2B5EF4-FFF2-40B4-BE49-F238E27FC236}">
                  <a16:creationId xmlns:a16="http://schemas.microsoft.com/office/drawing/2014/main" id="{C131767D-8BD0-4B30-8D3C-7105619353B4}"/>
                </a:ext>
              </a:extLst>
            </p:cNvPr>
            <p:cNvSpPr/>
            <p:nvPr/>
          </p:nvSpPr>
          <p:spPr>
            <a:xfrm flipH="1">
              <a:off x="9236649" y="1654028"/>
              <a:ext cx="159007" cy="159007"/>
            </a:xfrm>
            <a:custGeom>
              <a:avLst/>
              <a:gdLst>
                <a:gd name="connsiteX0" fmla="*/ 32900 w 47625"/>
                <a:gd name="connsiteY0" fmla="*/ 45282 h 47625"/>
                <a:gd name="connsiteX1" fmla="*/ 25280 w 47625"/>
                <a:gd name="connsiteY1" fmla="*/ 43377 h 47625"/>
                <a:gd name="connsiteX2" fmla="*/ 8135 w 47625"/>
                <a:gd name="connsiteY2" fmla="*/ 18612 h 47625"/>
                <a:gd name="connsiteX3" fmla="*/ 10040 w 47625"/>
                <a:gd name="connsiteY3" fmla="*/ 10992 h 47625"/>
                <a:gd name="connsiteX4" fmla="*/ 14802 w 47625"/>
                <a:gd name="connsiteY4" fmla="*/ 8135 h 47625"/>
                <a:gd name="connsiteX5" fmla="*/ 22422 w 47625"/>
                <a:gd name="connsiteY5" fmla="*/ 10040 h 47625"/>
                <a:gd name="connsiteX6" fmla="*/ 39567 w 47625"/>
                <a:gd name="connsiteY6" fmla="*/ 34805 h 47625"/>
                <a:gd name="connsiteX7" fmla="*/ 37662 w 47625"/>
                <a:gd name="connsiteY7" fmla="*/ 42425 h 47625"/>
                <a:gd name="connsiteX8" fmla="*/ 32900 w 47625"/>
                <a:gd name="connsiteY8" fmla="*/ 45282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7625" h="47625">
                  <a:moveTo>
                    <a:pt x="32900" y="45282"/>
                  </a:moveTo>
                  <a:cubicBezTo>
                    <a:pt x="30042" y="47187"/>
                    <a:pt x="26232" y="46235"/>
                    <a:pt x="25280" y="43377"/>
                  </a:cubicBezTo>
                  <a:lnTo>
                    <a:pt x="8135" y="18612"/>
                  </a:lnTo>
                  <a:cubicBezTo>
                    <a:pt x="6230" y="15755"/>
                    <a:pt x="7182" y="12897"/>
                    <a:pt x="10040" y="10992"/>
                  </a:cubicBezTo>
                  <a:lnTo>
                    <a:pt x="14802" y="8135"/>
                  </a:lnTo>
                  <a:cubicBezTo>
                    <a:pt x="17660" y="6230"/>
                    <a:pt x="21470" y="7182"/>
                    <a:pt x="22422" y="10040"/>
                  </a:cubicBezTo>
                  <a:lnTo>
                    <a:pt x="39567" y="34805"/>
                  </a:lnTo>
                  <a:cubicBezTo>
                    <a:pt x="41472" y="37662"/>
                    <a:pt x="40520" y="41472"/>
                    <a:pt x="37662" y="42425"/>
                  </a:cubicBezTo>
                  <a:lnTo>
                    <a:pt x="32900" y="45282"/>
                  </a:lnTo>
                  <a:close/>
                </a:path>
              </a:pathLst>
            </a:custGeom>
            <a:solidFill>
              <a:srgbClr val="A8ACB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7" name="任意多边形: 形状 76">
              <a:extLst>
                <a:ext uri="{FF2B5EF4-FFF2-40B4-BE49-F238E27FC236}">
                  <a16:creationId xmlns:a16="http://schemas.microsoft.com/office/drawing/2014/main" id="{CFF24CB5-3293-4EEC-B4E9-BDEF9E670255}"/>
                </a:ext>
              </a:extLst>
            </p:cNvPr>
            <p:cNvSpPr/>
            <p:nvPr/>
          </p:nvSpPr>
          <p:spPr>
            <a:xfrm flipH="1">
              <a:off x="9274082" y="1527549"/>
              <a:ext cx="159007" cy="159007"/>
            </a:xfrm>
            <a:custGeom>
              <a:avLst/>
              <a:gdLst>
                <a:gd name="connsiteX0" fmla="*/ 32682 w 47625"/>
                <a:gd name="connsiteY0" fmla="*/ 42207 h 47625"/>
                <a:gd name="connsiteX1" fmla="*/ 23157 w 47625"/>
                <a:gd name="connsiteY1" fmla="*/ 41254 h 47625"/>
                <a:gd name="connsiteX2" fmla="*/ 8869 w 47625"/>
                <a:gd name="connsiteY2" fmla="*/ 26014 h 47625"/>
                <a:gd name="connsiteX3" fmla="*/ 9822 w 47625"/>
                <a:gd name="connsiteY3" fmla="*/ 16489 h 47625"/>
                <a:gd name="connsiteX4" fmla="*/ 19347 w 47625"/>
                <a:gd name="connsiteY4" fmla="*/ 8869 h 47625"/>
                <a:gd name="connsiteX5" fmla="*/ 28872 w 47625"/>
                <a:gd name="connsiteY5" fmla="*/ 9822 h 47625"/>
                <a:gd name="connsiteX6" fmla="*/ 42207 w 47625"/>
                <a:gd name="connsiteY6" fmla="*/ 26014 h 47625"/>
                <a:gd name="connsiteX7" fmla="*/ 41254 w 47625"/>
                <a:gd name="connsiteY7" fmla="*/ 35539 h 47625"/>
                <a:gd name="connsiteX8" fmla="*/ 32682 w 47625"/>
                <a:gd name="connsiteY8" fmla="*/ 42207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7625" h="47625">
                  <a:moveTo>
                    <a:pt x="32682" y="42207"/>
                  </a:moveTo>
                  <a:cubicBezTo>
                    <a:pt x="29824" y="45064"/>
                    <a:pt x="25062" y="44112"/>
                    <a:pt x="23157" y="41254"/>
                  </a:cubicBezTo>
                  <a:lnTo>
                    <a:pt x="8869" y="26014"/>
                  </a:lnTo>
                  <a:cubicBezTo>
                    <a:pt x="6012" y="23157"/>
                    <a:pt x="6964" y="18394"/>
                    <a:pt x="9822" y="16489"/>
                  </a:cubicBezTo>
                  <a:lnTo>
                    <a:pt x="19347" y="8869"/>
                  </a:lnTo>
                  <a:cubicBezTo>
                    <a:pt x="22204" y="6012"/>
                    <a:pt x="26967" y="6964"/>
                    <a:pt x="28872" y="9822"/>
                  </a:cubicBezTo>
                  <a:lnTo>
                    <a:pt x="42207" y="26014"/>
                  </a:lnTo>
                  <a:cubicBezTo>
                    <a:pt x="45064" y="28872"/>
                    <a:pt x="44112" y="33634"/>
                    <a:pt x="41254" y="35539"/>
                  </a:cubicBezTo>
                  <a:lnTo>
                    <a:pt x="32682" y="42207"/>
                  </a:lnTo>
                  <a:close/>
                </a:path>
              </a:pathLst>
            </a:custGeom>
            <a:solidFill>
              <a:schemeClr val="accent1">
                <a:lumMod val="5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8" name="任意多边形: 形状 77">
              <a:extLst>
                <a:ext uri="{FF2B5EF4-FFF2-40B4-BE49-F238E27FC236}">
                  <a16:creationId xmlns:a16="http://schemas.microsoft.com/office/drawing/2014/main" id="{1931A255-F50F-435F-8B4F-A8CCD90FE006}"/>
                </a:ext>
              </a:extLst>
            </p:cNvPr>
            <p:cNvSpPr/>
            <p:nvPr/>
          </p:nvSpPr>
          <p:spPr>
            <a:xfrm flipH="1">
              <a:off x="9277862" y="1525699"/>
              <a:ext cx="127205" cy="127205"/>
            </a:xfrm>
            <a:custGeom>
              <a:avLst/>
              <a:gdLst>
                <a:gd name="connsiteX0" fmla="*/ 33814 w 38100"/>
                <a:gd name="connsiteY0" fmla="*/ 25616 h 38100"/>
                <a:gd name="connsiteX1" fmla="*/ 20479 w 38100"/>
                <a:gd name="connsiteY1" fmla="*/ 9424 h 38100"/>
                <a:gd name="connsiteX2" fmla="*/ 10954 w 38100"/>
                <a:gd name="connsiteY2" fmla="*/ 8471 h 38100"/>
                <a:gd name="connsiteX3" fmla="*/ 7144 w 38100"/>
                <a:gd name="connsiteY3" fmla="*/ 11329 h 38100"/>
                <a:gd name="connsiteX4" fmla="*/ 30004 w 38100"/>
                <a:gd name="connsiteY4" fmla="*/ 37046 h 38100"/>
                <a:gd name="connsiteX5" fmla="*/ 32861 w 38100"/>
                <a:gd name="connsiteY5" fmla="*/ 34189 h 38100"/>
                <a:gd name="connsiteX6" fmla="*/ 33814 w 38100"/>
                <a:gd name="connsiteY6" fmla="*/ 25616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8100" h="38100">
                  <a:moveTo>
                    <a:pt x="33814" y="25616"/>
                  </a:moveTo>
                  <a:lnTo>
                    <a:pt x="20479" y="9424"/>
                  </a:lnTo>
                  <a:cubicBezTo>
                    <a:pt x="17621" y="6566"/>
                    <a:pt x="13811" y="6566"/>
                    <a:pt x="10954" y="8471"/>
                  </a:cubicBezTo>
                  <a:lnTo>
                    <a:pt x="7144" y="11329"/>
                  </a:lnTo>
                  <a:lnTo>
                    <a:pt x="30004" y="37046"/>
                  </a:lnTo>
                  <a:lnTo>
                    <a:pt x="32861" y="34189"/>
                  </a:lnTo>
                  <a:cubicBezTo>
                    <a:pt x="36671" y="32284"/>
                    <a:pt x="36671" y="28474"/>
                    <a:pt x="33814" y="25616"/>
                  </a:cubicBezTo>
                  <a:close/>
                </a:path>
              </a:pathLst>
            </a:custGeom>
            <a:solidFill>
              <a:srgbClr val="21212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9" name="任意多边形: 形状 78">
              <a:extLst>
                <a:ext uri="{FF2B5EF4-FFF2-40B4-BE49-F238E27FC236}">
                  <a16:creationId xmlns:a16="http://schemas.microsoft.com/office/drawing/2014/main" id="{7DB4CFDA-830A-456D-8627-92C7E385A187}"/>
                </a:ext>
              </a:extLst>
            </p:cNvPr>
            <p:cNvSpPr/>
            <p:nvPr/>
          </p:nvSpPr>
          <p:spPr>
            <a:xfrm flipH="1">
              <a:off x="9272119" y="1596297"/>
              <a:ext cx="95405" cy="95405"/>
            </a:xfrm>
            <a:custGeom>
              <a:avLst/>
              <a:gdLst>
                <a:gd name="connsiteX0" fmla="*/ 13043 w 28575"/>
                <a:gd name="connsiteY0" fmla="*/ 13043 h 28575"/>
                <a:gd name="connsiteX1" fmla="*/ 7328 w 28575"/>
                <a:gd name="connsiteY1" fmla="*/ 21616 h 28575"/>
                <a:gd name="connsiteX2" fmla="*/ 15901 w 28575"/>
                <a:gd name="connsiteY2" fmla="*/ 15901 h 28575"/>
                <a:gd name="connsiteX3" fmla="*/ 21616 w 28575"/>
                <a:gd name="connsiteY3" fmla="*/ 7328 h 28575"/>
                <a:gd name="connsiteX4" fmla="*/ 13043 w 28575"/>
                <a:gd name="connsiteY4" fmla="*/ 13043 h 28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8575" h="28575">
                  <a:moveTo>
                    <a:pt x="13043" y="13043"/>
                  </a:moveTo>
                  <a:cubicBezTo>
                    <a:pt x="9233" y="16853"/>
                    <a:pt x="6376" y="20663"/>
                    <a:pt x="7328" y="21616"/>
                  </a:cubicBezTo>
                  <a:cubicBezTo>
                    <a:pt x="8281" y="22568"/>
                    <a:pt x="12091" y="19711"/>
                    <a:pt x="15901" y="15901"/>
                  </a:cubicBezTo>
                  <a:cubicBezTo>
                    <a:pt x="19711" y="12091"/>
                    <a:pt x="22568" y="8281"/>
                    <a:pt x="21616" y="7328"/>
                  </a:cubicBezTo>
                  <a:cubicBezTo>
                    <a:pt x="21616" y="6376"/>
                    <a:pt x="17806" y="9233"/>
                    <a:pt x="13043" y="13043"/>
                  </a:cubicBezTo>
                  <a:close/>
                </a:path>
              </a:pathLst>
            </a:custGeom>
            <a:solidFill>
              <a:srgbClr val="E4E8E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0" name="任意多边形: 形状 79">
              <a:extLst>
                <a:ext uri="{FF2B5EF4-FFF2-40B4-BE49-F238E27FC236}">
                  <a16:creationId xmlns:a16="http://schemas.microsoft.com/office/drawing/2014/main" id="{6370A070-0285-4FA2-BB13-FF41C3EBB576}"/>
                </a:ext>
              </a:extLst>
            </p:cNvPr>
            <p:cNvSpPr/>
            <p:nvPr/>
          </p:nvSpPr>
          <p:spPr>
            <a:xfrm flipH="1">
              <a:off x="9367734" y="1738829"/>
              <a:ext cx="63603" cy="63603"/>
            </a:xfrm>
            <a:custGeom>
              <a:avLst/>
              <a:gdLst>
                <a:gd name="connsiteX0" fmla="*/ 11202 w 19050"/>
                <a:gd name="connsiteY0" fmla="*/ 10358 h 19050"/>
                <a:gd name="connsiteX1" fmla="*/ 7392 w 19050"/>
                <a:gd name="connsiteY1" fmla="*/ 16073 h 19050"/>
                <a:gd name="connsiteX2" fmla="*/ 14059 w 19050"/>
                <a:gd name="connsiteY2" fmla="*/ 13216 h 19050"/>
                <a:gd name="connsiteX3" fmla="*/ 17869 w 19050"/>
                <a:gd name="connsiteY3" fmla="*/ 7501 h 19050"/>
                <a:gd name="connsiteX4" fmla="*/ 11202 w 19050"/>
                <a:gd name="connsiteY4" fmla="*/ 10358 h 19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050" h="19050">
                  <a:moveTo>
                    <a:pt x="11202" y="10358"/>
                  </a:moveTo>
                  <a:cubicBezTo>
                    <a:pt x="8344" y="12263"/>
                    <a:pt x="6439" y="15121"/>
                    <a:pt x="7392" y="16073"/>
                  </a:cubicBezTo>
                  <a:cubicBezTo>
                    <a:pt x="8344" y="17026"/>
                    <a:pt x="11202" y="16073"/>
                    <a:pt x="14059" y="13216"/>
                  </a:cubicBezTo>
                  <a:cubicBezTo>
                    <a:pt x="16917" y="11311"/>
                    <a:pt x="18821" y="8453"/>
                    <a:pt x="17869" y="7501"/>
                  </a:cubicBezTo>
                  <a:cubicBezTo>
                    <a:pt x="16917" y="6548"/>
                    <a:pt x="14059" y="7501"/>
                    <a:pt x="11202" y="10358"/>
                  </a:cubicBezTo>
                  <a:close/>
                </a:path>
              </a:pathLst>
            </a:custGeom>
            <a:solidFill>
              <a:schemeClr val="accent1">
                <a:lumMod val="5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1" name="任意多边形: 形状 80">
              <a:extLst>
                <a:ext uri="{FF2B5EF4-FFF2-40B4-BE49-F238E27FC236}">
                  <a16:creationId xmlns:a16="http://schemas.microsoft.com/office/drawing/2014/main" id="{B9378D64-0E65-4718-A2AA-89A57DDCB9EE}"/>
                </a:ext>
              </a:extLst>
            </p:cNvPr>
            <p:cNvSpPr/>
            <p:nvPr/>
          </p:nvSpPr>
          <p:spPr>
            <a:xfrm flipH="1">
              <a:off x="9259610" y="1749562"/>
              <a:ext cx="63603" cy="63603"/>
            </a:xfrm>
            <a:custGeom>
              <a:avLst/>
              <a:gdLst>
                <a:gd name="connsiteX0" fmla="*/ 11201 w 19050"/>
                <a:gd name="connsiteY0" fmla="*/ 10001 h 19050"/>
                <a:gd name="connsiteX1" fmla="*/ 7392 w 19050"/>
                <a:gd name="connsiteY1" fmla="*/ 15716 h 19050"/>
                <a:gd name="connsiteX2" fmla="*/ 14059 w 19050"/>
                <a:gd name="connsiteY2" fmla="*/ 12859 h 19050"/>
                <a:gd name="connsiteX3" fmla="*/ 17869 w 19050"/>
                <a:gd name="connsiteY3" fmla="*/ 7144 h 19050"/>
                <a:gd name="connsiteX4" fmla="*/ 11201 w 19050"/>
                <a:gd name="connsiteY4" fmla="*/ 10001 h 19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050" h="19050">
                  <a:moveTo>
                    <a:pt x="11201" y="10001"/>
                  </a:moveTo>
                  <a:cubicBezTo>
                    <a:pt x="8344" y="11906"/>
                    <a:pt x="6439" y="14764"/>
                    <a:pt x="7392" y="15716"/>
                  </a:cubicBezTo>
                  <a:cubicBezTo>
                    <a:pt x="8344" y="16669"/>
                    <a:pt x="11201" y="15716"/>
                    <a:pt x="14059" y="12859"/>
                  </a:cubicBezTo>
                  <a:cubicBezTo>
                    <a:pt x="16917" y="10954"/>
                    <a:pt x="18822" y="8096"/>
                    <a:pt x="17869" y="7144"/>
                  </a:cubicBezTo>
                  <a:cubicBezTo>
                    <a:pt x="16917" y="7144"/>
                    <a:pt x="14059" y="8096"/>
                    <a:pt x="11201" y="10001"/>
                  </a:cubicBezTo>
                  <a:close/>
                </a:path>
              </a:pathLst>
            </a:custGeom>
            <a:solidFill>
              <a:schemeClr val="accent1">
                <a:lumMod val="5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2" name="任意多边形: 形状 81">
              <a:extLst>
                <a:ext uri="{FF2B5EF4-FFF2-40B4-BE49-F238E27FC236}">
                  <a16:creationId xmlns:a16="http://schemas.microsoft.com/office/drawing/2014/main" id="{D78CE00F-460A-40AE-9521-B6F77C43FF3E}"/>
                </a:ext>
              </a:extLst>
            </p:cNvPr>
            <p:cNvSpPr/>
            <p:nvPr/>
          </p:nvSpPr>
          <p:spPr>
            <a:xfrm flipH="1">
              <a:off x="8253854" y="1596915"/>
              <a:ext cx="1113052" cy="1462868"/>
            </a:xfrm>
            <a:custGeom>
              <a:avLst/>
              <a:gdLst>
                <a:gd name="connsiteX0" fmla="*/ 7144 w 333375"/>
                <a:gd name="connsiteY0" fmla="*/ 21431 h 438150"/>
                <a:gd name="connsiteX1" fmla="*/ 39529 w 333375"/>
                <a:gd name="connsiteY1" fmla="*/ 431959 h 438150"/>
                <a:gd name="connsiteX2" fmla="*/ 334804 w 333375"/>
                <a:gd name="connsiteY2" fmla="*/ 320516 h 438150"/>
                <a:gd name="connsiteX3" fmla="*/ 22384 w 333375"/>
                <a:gd name="connsiteY3" fmla="*/ 7144 h 438150"/>
                <a:gd name="connsiteX4" fmla="*/ 7144 w 333375"/>
                <a:gd name="connsiteY4" fmla="*/ 21431 h 438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3375" h="438150">
                  <a:moveTo>
                    <a:pt x="7144" y="21431"/>
                  </a:moveTo>
                  <a:cubicBezTo>
                    <a:pt x="7144" y="21431"/>
                    <a:pt x="35719" y="323374"/>
                    <a:pt x="39529" y="431959"/>
                  </a:cubicBezTo>
                  <a:cubicBezTo>
                    <a:pt x="227171" y="476726"/>
                    <a:pt x="334804" y="320516"/>
                    <a:pt x="334804" y="320516"/>
                  </a:cubicBezTo>
                  <a:lnTo>
                    <a:pt x="22384" y="7144"/>
                  </a:lnTo>
                  <a:lnTo>
                    <a:pt x="7144" y="21431"/>
                  </a:lnTo>
                  <a:close/>
                </a:path>
              </a:pathLst>
            </a:custGeom>
            <a:solidFill>
              <a:schemeClr val="bg1">
                <a:alpha val="64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3" name="任意多边形: 形状 82">
              <a:extLst>
                <a:ext uri="{FF2B5EF4-FFF2-40B4-BE49-F238E27FC236}">
                  <a16:creationId xmlns:a16="http://schemas.microsoft.com/office/drawing/2014/main" id="{FE51906E-F888-428C-9A7C-2B601F9E207E}"/>
                </a:ext>
              </a:extLst>
            </p:cNvPr>
            <p:cNvSpPr/>
            <p:nvPr/>
          </p:nvSpPr>
          <p:spPr>
            <a:xfrm flipH="1">
              <a:off x="9255603" y="2372871"/>
              <a:ext cx="95405" cy="95405"/>
            </a:xfrm>
            <a:custGeom>
              <a:avLst/>
              <a:gdLst>
                <a:gd name="connsiteX0" fmla="*/ 7144 w 28575"/>
                <a:gd name="connsiteY0" fmla="*/ 19526 h 28575"/>
                <a:gd name="connsiteX1" fmla="*/ 12859 w 28575"/>
                <a:gd name="connsiteY1" fmla="*/ 10001 h 28575"/>
                <a:gd name="connsiteX2" fmla="*/ 12859 w 28575"/>
                <a:gd name="connsiteY2" fmla="*/ 10001 h 28575"/>
                <a:gd name="connsiteX3" fmla="*/ 20479 w 28575"/>
                <a:gd name="connsiteY3" fmla="*/ 7144 h 28575"/>
                <a:gd name="connsiteX4" fmla="*/ 20479 w 28575"/>
                <a:gd name="connsiteY4" fmla="*/ 7144 h 28575"/>
                <a:gd name="connsiteX5" fmla="*/ 28099 w 28575"/>
                <a:gd name="connsiteY5" fmla="*/ 10954 h 28575"/>
                <a:gd name="connsiteX6" fmla="*/ 28099 w 28575"/>
                <a:gd name="connsiteY6" fmla="*/ 10954 h 28575"/>
                <a:gd name="connsiteX7" fmla="*/ 25241 w 28575"/>
                <a:gd name="connsiteY7" fmla="*/ 12859 h 28575"/>
                <a:gd name="connsiteX8" fmla="*/ 21431 w 28575"/>
                <a:gd name="connsiteY8" fmla="*/ 10954 h 28575"/>
                <a:gd name="connsiteX9" fmla="*/ 21431 w 28575"/>
                <a:gd name="connsiteY9" fmla="*/ 10954 h 28575"/>
                <a:gd name="connsiteX10" fmla="*/ 15716 w 28575"/>
                <a:gd name="connsiteY10" fmla="*/ 12859 h 28575"/>
                <a:gd name="connsiteX11" fmla="*/ 15716 w 28575"/>
                <a:gd name="connsiteY11" fmla="*/ 12859 h 28575"/>
                <a:gd name="connsiteX12" fmla="*/ 11906 w 28575"/>
                <a:gd name="connsiteY12" fmla="*/ 19526 h 28575"/>
                <a:gd name="connsiteX13" fmla="*/ 11906 w 28575"/>
                <a:gd name="connsiteY13" fmla="*/ 19526 h 28575"/>
                <a:gd name="connsiteX14" fmla="*/ 12859 w 28575"/>
                <a:gd name="connsiteY14" fmla="*/ 21431 h 28575"/>
                <a:gd name="connsiteX15" fmla="*/ 12859 w 28575"/>
                <a:gd name="connsiteY15" fmla="*/ 21431 h 28575"/>
                <a:gd name="connsiteX16" fmla="*/ 10001 w 28575"/>
                <a:gd name="connsiteY16" fmla="*/ 23336 h 28575"/>
                <a:gd name="connsiteX17" fmla="*/ 7144 w 28575"/>
                <a:gd name="connsiteY17" fmla="*/ 19526 h 28575"/>
                <a:gd name="connsiteX18" fmla="*/ 7144 w 28575"/>
                <a:gd name="connsiteY18" fmla="*/ 19526 h 28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8575" h="28575">
                  <a:moveTo>
                    <a:pt x="7144" y="19526"/>
                  </a:moveTo>
                  <a:cubicBezTo>
                    <a:pt x="7144" y="15716"/>
                    <a:pt x="9049" y="11906"/>
                    <a:pt x="12859" y="10001"/>
                  </a:cubicBezTo>
                  <a:lnTo>
                    <a:pt x="12859" y="10001"/>
                  </a:lnTo>
                  <a:cubicBezTo>
                    <a:pt x="15716" y="8096"/>
                    <a:pt x="17621" y="7144"/>
                    <a:pt x="20479" y="7144"/>
                  </a:cubicBezTo>
                  <a:lnTo>
                    <a:pt x="20479" y="7144"/>
                  </a:lnTo>
                  <a:cubicBezTo>
                    <a:pt x="23336" y="7144"/>
                    <a:pt x="26194" y="8096"/>
                    <a:pt x="28099" y="10954"/>
                  </a:cubicBezTo>
                  <a:lnTo>
                    <a:pt x="28099" y="10954"/>
                  </a:lnTo>
                  <a:lnTo>
                    <a:pt x="25241" y="12859"/>
                  </a:lnTo>
                  <a:cubicBezTo>
                    <a:pt x="24289" y="11906"/>
                    <a:pt x="23336" y="10954"/>
                    <a:pt x="21431" y="10954"/>
                  </a:cubicBezTo>
                  <a:lnTo>
                    <a:pt x="21431" y="10954"/>
                  </a:lnTo>
                  <a:cubicBezTo>
                    <a:pt x="19526" y="10954"/>
                    <a:pt x="17621" y="11906"/>
                    <a:pt x="15716" y="12859"/>
                  </a:cubicBezTo>
                  <a:lnTo>
                    <a:pt x="15716" y="12859"/>
                  </a:lnTo>
                  <a:cubicBezTo>
                    <a:pt x="12859" y="14764"/>
                    <a:pt x="11906" y="17621"/>
                    <a:pt x="11906" y="19526"/>
                  </a:cubicBezTo>
                  <a:lnTo>
                    <a:pt x="11906" y="19526"/>
                  </a:lnTo>
                  <a:cubicBezTo>
                    <a:pt x="11906" y="20479"/>
                    <a:pt x="11906" y="21431"/>
                    <a:pt x="12859" y="21431"/>
                  </a:cubicBezTo>
                  <a:lnTo>
                    <a:pt x="12859" y="21431"/>
                  </a:lnTo>
                  <a:lnTo>
                    <a:pt x="10001" y="23336"/>
                  </a:lnTo>
                  <a:cubicBezTo>
                    <a:pt x="8096" y="23336"/>
                    <a:pt x="7144" y="21431"/>
                    <a:pt x="7144" y="19526"/>
                  </a:cubicBezTo>
                  <a:lnTo>
                    <a:pt x="7144" y="19526"/>
                  </a:lnTo>
                  <a:close/>
                </a:path>
              </a:pathLst>
            </a:custGeom>
            <a:solidFill>
              <a:srgbClr val="7287A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4" name="任意多边形: 形状 83">
              <a:extLst>
                <a:ext uri="{FF2B5EF4-FFF2-40B4-BE49-F238E27FC236}">
                  <a16:creationId xmlns:a16="http://schemas.microsoft.com/office/drawing/2014/main" id="{63D997B7-4970-4EC5-A221-5B414EC6EC70}"/>
                </a:ext>
              </a:extLst>
            </p:cNvPr>
            <p:cNvSpPr/>
            <p:nvPr/>
          </p:nvSpPr>
          <p:spPr>
            <a:xfrm flipH="1">
              <a:off x="9172918" y="2337888"/>
              <a:ext cx="95405" cy="95405"/>
            </a:xfrm>
            <a:custGeom>
              <a:avLst/>
              <a:gdLst>
                <a:gd name="connsiteX0" fmla="*/ 7144 w 28575"/>
                <a:gd name="connsiteY0" fmla="*/ 17621 h 28575"/>
                <a:gd name="connsiteX1" fmla="*/ 11906 w 28575"/>
                <a:gd name="connsiteY1" fmla="*/ 9049 h 28575"/>
                <a:gd name="connsiteX2" fmla="*/ 11906 w 28575"/>
                <a:gd name="connsiteY2" fmla="*/ 9049 h 28575"/>
                <a:gd name="connsiteX3" fmla="*/ 18574 w 28575"/>
                <a:gd name="connsiteY3" fmla="*/ 7144 h 28575"/>
                <a:gd name="connsiteX4" fmla="*/ 18574 w 28575"/>
                <a:gd name="connsiteY4" fmla="*/ 7144 h 28575"/>
                <a:gd name="connsiteX5" fmla="*/ 26194 w 28575"/>
                <a:gd name="connsiteY5" fmla="*/ 10954 h 28575"/>
                <a:gd name="connsiteX6" fmla="*/ 26194 w 28575"/>
                <a:gd name="connsiteY6" fmla="*/ 10954 h 28575"/>
                <a:gd name="connsiteX7" fmla="*/ 23336 w 28575"/>
                <a:gd name="connsiteY7" fmla="*/ 12859 h 28575"/>
                <a:gd name="connsiteX8" fmla="*/ 19526 w 28575"/>
                <a:gd name="connsiteY8" fmla="*/ 10954 h 28575"/>
                <a:gd name="connsiteX9" fmla="*/ 19526 w 28575"/>
                <a:gd name="connsiteY9" fmla="*/ 10954 h 28575"/>
                <a:gd name="connsiteX10" fmla="*/ 14764 w 28575"/>
                <a:gd name="connsiteY10" fmla="*/ 11906 h 28575"/>
                <a:gd name="connsiteX11" fmla="*/ 14764 w 28575"/>
                <a:gd name="connsiteY11" fmla="*/ 11906 h 28575"/>
                <a:gd name="connsiteX12" fmla="*/ 11906 w 28575"/>
                <a:gd name="connsiteY12" fmla="*/ 17621 h 28575"/>
                <a:gd name="connsiteX13" fmla="*/ 11906 w 28575"/>
                <a:gd name="connsiteY13" fmla="*/ 17621 h 28575"/>
                <a:gd name="connsiteX14" fmla="*/ 12859 w 28575"/>
                <a:gd name="connsiteY14" fmla="*/ 19526 h 28575"/>
                <a:gd name="connsiteX15" fmla="*/ 12859 w 28575"/>
                <a:gd name="connsiteY15" fmla="*/ 19526 h 28575"/>
                <a:gd name="connsiteX16" fmla="*/ 9049 w 28575"/>
                <a:gd name="connsiteY16" fmla="*/ 22384 h 28575"/>
                <a:gd name="connsiteX17" fmla="*/ 7144 w 28575"/>
                <a:gd name="connsiteY17" fmla="*/ 17621 h 28575"/>
                <a:gd name="connsiteX18" fmla="*/ 7144 w 28575"/>
                <a:gd name="connsiteY18" fmla="*/ 17621 h 28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8575" h="28575">
                  <a:moveTo>
                    <a:pt x="7144" y="17621"/>
                  </a:moveTo>
                  <a:cubicBezTo>
                    <a:pt x="7144" y="14764"/>
                    <a:pt x="9049" y="10954"/>
                    <a:pt x="11906" y="9049"/>
                  </a:cubicBezTo>
                  <a:lnTo>
                    <a:pt x="11906" y="9049"/>
                  </a:lnTo>
                  <a:cubicBezTo>
                    <a:pt x="13811" y="8096"/>
                    <a:pt x="15716" y="7144"/>
                    <a:pt x="18574" y="7144"/>
                  </a:cubicBezTo>
                  <a:lnTo>
                    <a:pt x="18574" y="7144"/>
                  </a:lnTo>
                  <a:cubicBezTo>
                    <a:pt x="21431" y="7144"/>
                    <a:pt x="24289" y="8096"/>
                    <a:pt x="26194" y="10954"/>
                  </a:cubicBezTo>
                  <a:lnTo>
                    <a:pt x="26194" y="10954"/>
                  </a:lnTo>
                  <a:lnTo>
                    <a:pt x="23336" y="12859"/>
                  </a:lnTo>
                  <a:cubicBezTo>
                    <a:pt x="22384" y="11906"/>
                    <a:pt x="21431" y="10954"/>
                    <a:pt x="19526" y="10954"/>
                  </a:cubicBezTo>
                  <a:lnTo>
                    <a:pt x="19526" y="10954"/>
                  </a:lnTo>
                  <a:cubicBezTo>
                    <a:pt x="18574" y="10954"/>
                    <a:pt x="16669" y="10954"/>
                    <a:pt x="14764" y="11906"/>
                  </a:cubicBezTo>
                  <a:lnTo>
                    <a:pt x="14764" y="11906"/>
                  </a:lnTo>
                  <a:cubicBezTo>
                    <a:pt x="12859" y="12859"/>
                    <a:pt x="11906" y="15716"/>
                    <a:pt x="11906" y="17621"/>
                  </a:cubicBezTo>
                  <a:lnTo>
                    <a:pt x="11906" y="17621"/>
                  </a:lnTo>
                  <a:cubicBezTo>
                    <a:pt x="11906" y="18574"/>
                    <a:pt x="11906" y="19526"/>
                    <a:pt x="12859" y="19526"/>
                  </a:cubicBezTo>
                  <a:lnTo>
                    <a:pt x="12859" y="19526"/>
                  </a:lnTo>
                  <a:lnTo>
                    <a:pt x="9049" y="22384"/>
                  </a:lnTo>
                  <a:cubicBezTo>
                    <a:pt x="8096" y="20479"/>
                    <a:pt x="7144" y="19526"/>
                    <a:pt x="7144" y="17621"/>
                  </a:cubicBezTo>
                  <a:lnTo>
                    <a:pt x="7144" y="17621"/>
                  </a:lnTo>
                  <a:close/>
                </a:path>
              </a:pathLst>
            </a:custGeom>
            <a:solidFill>
              <a:srgbClr val="7287A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5" name="任意多边形: 形状 84">
              <a:extLst>
                <a:ext uri="{FF2B5EF4-FFF2-40B4-BE49-F238E27FC236}">
                  <a16:creationId xmlns:a16="http://schemas.microsoft.com/office/drawing/2014/main" id="{C0EA513A-C188-47BA-8077-AF356513C5A7}"/>
                </a:ext>
              </a:extLst>
            </p:cNvPr>
            <p:cNvSpPr/>
            <p:nvPr/>
          </p:nvSpPr>
          <p:spPr>
            <a:xfrm flipH="1">
              <a:off x="9130296" y="2196570"/>
              <a:ext cx="413420" cy="286214"/>
            </a:xfrm>
            <a:custGeom>
              <a:avLst/>
              <a:gdLst>
                <a:gd name="connsiteX0" fmla="*/ 43908 w 123825"/>
                <a:gd name="connsiteY0" fmla="*/ 49471 h 85725"/>
                <a:gd name="connsiteX1" fmla="*/ 59148 w 123825"/>
                <a:gd name="connsiteY1" fmla="*/ 61853 h 85725"/>
                <a:gd name="connsiteX2" fmla="*/ 84866 w 123825"/>
                <a:gd name="connsiteY2" fmla="*/ 79951 h 85725"/>
                <a:gd name="connsiteX3" fmla="*/ 70578 w 123825"/>
                <a:gd name="connsiteY3" fmla="*/ 54233 h 85725"/>
                <a:gd name="connsiteX4" fmla="*/ 89628 w 123825"/>
                <a:gd name="connsiteY4" fmla="*/ 50423 h 85725"/>
                <a:gd name="connsiteX5" fmla="*/ 102011 w 123825"/>
                <a:gd name="connsiteY5" fmla="*/ 78046 h 85725"/>
                <a:gd name="connsiteX6" fmla="*/ 107726 w 123825"/>
                <a:gd name="connsiteY6" fmla="*/ 78046 h 85725"/>
                <a:gd name="connsiteX7" fmla="*/ 103916 w 123825"/>
                <a:gd name="connsiteY7" fmla="*/ 50423 h 85725"/>
                <a:gd name="connsiteX8" fmla="*/ 92486 w 123825"/>
                <a:gd name="connsiteY8" fmla="*/ 37088 h 85725"/>
                <a:gd name="connsiteX9" fmla="*/ 107726 w 123825"/>
                <a:gd name="connsiteY9" fmla="*/ 54233 h 85725"/>
                <a:gd name="connsiteX10" fmla="*/ 111536 w 123825"/>
                <a:gd name="connsiteY10" fmla="*/ 77093 h 85725"/>
                <a:gd name="connsiteX11" fmla="*/ 114393 w 123825"/>
                <a:gd name="connsiteY11" fmla="*/ 44708 h 85725"/>
                <a:gd name="connsiteX12" fmla="*/ 104868 w 123825"/>
                <a:gd name="connsiteY12" fmla="*/ 36136 h 85725"/>
                <a:gd name="connsiteX13" fmla="*/ 114393 w 123825"/>
                <a:gd name="connsiteY13" fmla="*/ 52328 h 85725"/>
                <a:gd name="connsiteX14" fmla="*/ 118203 w 123825"/>
                <a:gd name="connsiteY14" fmla="*/ 62806 h 85725"/>
                <a:gd name="connsiteX15" fmla="*/ 121061 w 123825"/>
                <a:gd name="connsiteY15" fmla="*/ 46613 h 85725"/>
                <a:gd name="connsiteX16" fmla="*/ 104868 w 123825"/>
                <a:gd name="connsiteY16" fmla="*/ 23753 h 85725"/>
                <a:gd name="connsiteX17" fmla="*/ 53433 w 123825"/>
                <a:gd name="connsiteY17" fmla="*/ 7561 h 85725"/>
                <a:gd name="connsiteX18" fmla="*/ 9618 w 123825"/>
                <a:gd name="connsiteY18" fmla="*/ 18991 h 85725"/>
                <a:gd name="connsiteX19" fmla="*/ 16286 w 123825"/>
                <a:gd name="connsiteY19" fmla="*/ 63758 h 85725"/>
                <a:gd name="connsiteX20" fmla="*/ 43908 w 123825"/>
                <a:gd name="connsiteY20" fmla="*/ 49471 h 85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23825" h="85725">
                  <a:moveTo>
                    <a:pt x="43908" y="49471"/>
                  </a:moveTo>
                  <a:cubicBezTo>
                    <a:pt x="45813" y="52328"/>
                    <a:pt x="50576" y="57091"/>
                    <a:pt x="59148" y="61853"/>
                  </a:cubicBezTo>
                  <a:cubicBezTo>
                    <a:pt x="67721" y="66616"/>
                    <a:pt x="77246" y="78998"/>
                    <a:pt x="84866" y="79951"/>
                  </a:cubicBezTo>
                  <a:cubicBezTo>
                    <a:pt x="92486" y="79951"/>
                    <a:pt x="75341" y="59948"/>
                    <a:pt x="70578" y="54233"/>
                  </a:cubicBezTo>
                  <a:cubicBezTo>
                    <a:pt x="66768" y="48518"/>
                    <a:pt x="82961" y="44708"/>
                    <a:pt x="89628" y="50423"/>
                  </a:cubicBezTo>
                  <a:cubicBezTo>
                    <a:pt x="96296" y="56138"/>
                    <a:pt x="102011" y="78046"/>
                    <a:pt x="102011" y="78046"/>
                  </a:cubicBezTo>
                  <a:cubicBezTo>
                    <a:pt x="102011" y="78046"/>
                    <a:pt x="105821" y="83761"/>
                    <a:pt x="107726" y="78046"/>
                  </a:cubicBezTo>
                  <a:cubicBezTo>
                    <a:pt x="108678" y="72331"/>
                    <a:pt x="106773" y="56138"/>
                    <a:pt x="103916" y="50423"/>
                  </a:cubicBezTo>
                  <a:cubicBezTo>
                    <a:pt x="101058" y="44708"/>
                    <a:pt x="92486" y="37088"/>
                    <a:pt x="92486" y="37088"/>
                  </a:cubicBezTo>
                  <a:cubicBezTo>
                    <a:pt x="92486" y="37088"/>
                    <a:pt x="106773" y="48518"/>
                    <a:pt x="107726" y="54233"/>
                  </a:cubicBezTo>
                  <a:cubicBezTo>
                    <a:pt x="108678" y="59948"/>
                    <a:pt x="105821" y="78046"/>
                    <a:pt x="111536" y="77093"/>
                  </a:cubicBezTo>
                  <a:cubicBezTo>
                    <a:pt x="117251" y="76141"/>
                    <a:pt x="116298" y="48518"/>
                    <a:pt x="114393" y="44708"/>
                  </a:cubicBezTo>
                  <a:cubicBezTo>
                    <a:pt x="112488" y="40898"/>
                    <a:pt x="104868" y="36136"/>
                    <a:pt x="104868" y="36136"/>
                  </a:cubicBezTo>
                  <a:cubicBezTo>
                    <a:pt x="104868" y="36136"/>
                    <a:pt x="115346" y="42803"/>
                    <a:pt x="114393" y="52328"/>
                  </a:cubicBezTo>
                  <a:cubicBezTo>
                    <a:pt x="113441" y="61853"/>
                    <a:pt x="115346" y="66616"/>
                    <a:pt x="118203" y="62806"/>
                  </a:cubicBezTo>
                  <a:cubicBezTo>
                    <a:pt x="121061" y="59948"/>
                    <a:pt x="122966" y="59948"/>
                    <a:pt x="121061" y="46613"/>
                  </a:cubicBezTo>
                  <a:cubicBezTo>
                    <a:pt x="120108" y="38993"/>
                    <a:pt x="109631" y="26611"/>
                    <a:pt x="104868" y="23753"/>
                  </a:cubicBezTo>
                  <a:cubicBezTo>
                    <a:pt x="96296" y="17086"/>
                    <a:pt x="61053" y="8513"/>
                    <a:pt x="53433" y="7561"/>
                  </a:cubicBezTo>
                  <a:cubicBezTo>
                    <a:pt x="39146" y="5656"/>
                    <a:pt x="26763" y="10418"/>
                    <a:pt x="9618" y="18991"/>
                  </a:cubicBezTo>
                  <a:cubicBezTo>
                    <a:pt x="6761" y="20896"/>
                    <a:pt x="3903" y="46613"/>
                    <a:pt x="16286" y="63758"/>
                  </a:cubicBezTo>
                  <a:cubicBezTo>
                    <a:pt x="20096" y="68521"/>
                    <a:pt x="40098" y="44708"/>
                    <a:pt x="43908" y="49471"/>
                  </a:cubicBezTo>
                  <a:close/>
                </a:path>
              </a:pathLst>
            </a:custGeom>
            <a:solidFill>
              <a:schemeClr val="accent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6" name="任意多边形: 形状 85">
              <a:extLst>
                <a:ext uri="{FF2B5EF4-FFF2-40B4-BE49-F238E27FC236}">
                  <a16:creationId xmlns:a16="http://schemas.microsoft.com/office/drawing/2014/main" id="{DDE3D7E0-3DFA-450C-929B-AF5E9FE581FA}"/>
                </a:ext>
              </a:extLst>
            </p:cNvPr>
            <p:cNvSpPr/>
            <p:nvPr/>
          </p:nvSpPr>
          <p:spPr>
            <a:xfrm flipH="1">
              <a:off x="9169737" y="2350609"/>
              <a:ext cx="95405" cy="95405"/>
            </a:xfrm>
            <a:custGeom>
              <a:avLst/>
              <a:gdLst>
                <a:gd name="connsiteX0" fmla="*/ 7144 w 28575"/>
                <a:gd name="connsiteY0" fmla="*/ 17621 h 28575"/>
                <a:gd name="connsiteX1" fmla="*/ 10001 w 28575"/>
                <a:gd name="connsiteY1" fmla="*/ 15716 h 28575"/>
                <a:gd name="connsiteX2" fmla="*/ 13811 w 28575"/>
                <a:gd name="connsiteY2" fmla="*/ 17621 h 28575"/>
                <a:gd name="connsiteX3" fmla="*/ 13811 w 28575"/>
                <a:gd name="connsiteY3" fmla="*/ 17621 h 28575"/>
                <a:gd name="connsiteX4" fmla="*/ 18574 w 28575"/>
                <a:gd name="connsiteY4" fmla="*/ 16669 h 28575"/>
                <a:gd name="connsiteX5" fmla="*/ 18574 w 28575"/>
                <a:gd name="connsiteY5" fmla="*/ 16669 h 28575"/>
                <a:gd name="connsiteX6" fmla="*/ 22384 w 28575"/>
                <a:gd name="connsiteY6" fmla="*/ 10954 h 28575"/>
                <a:gd name="connsiteX7" fmla="*/ 22384 w 28575"/>
                <a:gd name="connsiteY7" fmla="*/ 10954 h 28575"/>
                <a:gd name="connsiteX8" fmla="*/ 21431 w 28575"/>
                <a:gd name="connsiteY8" fmla="*/ 9049 h 28575"/>
                <a:gd name="connsiteX9" fmla="*/ 21431 w 28575"/>
                <a:gd name="connsiteY9" fmla="*/ 9049 h 28575"/>
                <a:gd name="connsiteX10" fmla="*/ 21431 w 28575"/>
                <a:gd name="connsiteY10" fmla="*/ 9049 h 28575"/>
                <a:gd name="connsiteX11" fmla="*/ 24289 w 28575"/>
                <a:gd name="connsiteY11" fmla="*/ 7144 h 28575"/>
                <a:gd name="connsiteX12" fmla="*/ 25241 w 28575"/>
                <a:gd name="connsiteY12" fmla="*/ 11906 h 28575"/>
                <a:gd name="connsiteX13" fmla="*/ 25241 w 28575"/>
                <a:gd name="connsiteY13" fmla="*/ 11906 h 28575"/>
                <a:gd name="connsiteX14" fmla="*/ 20479 w 28575"/>
                <a:gd name="connsiteY14" fmla="*/ 20479 h 28575"/>
                <a:gd name="connsiteX15" fmla="*/ 20479 w 28575"/>
                <a:gd name="connsiteY15" fmla="*/ 20479 h 28575"/>
                <a:gd name="connsiteX16" fmla="*/ 13811 w 28575"/>
                <a:gd name="connsiteY16" fmla="*/ 22384 h 28575"/>
                <a:gd name="connsiteX17" fmla="*/ 13811 w 28575"/>
                <a:gd name="connsiteY17" fmla="*/ 22384 h 28575"/>
                <a:gd name="connsiteX18" fmla="*/ 7144 w 28575"/>
                <a:gd name="connsiteY18" fmla="*/ 17621 h 28575"/>
                <a:gd name="connsiteX19" fmla="*/ 7144 w 28575"/>
                <a:gd name="connsiteY19" fmla="*/ 17621 h 28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28575" h="28575">
                  <a:moveTo>
                    <a:pt x="7144" y="17621"/>
                  </a:moveTo>
                  <a:lnTo>
                    <a:pt x="10001" y="15716"/>
                  </a:lnTo>
                  <a:cubicBezTo>
                    <a:pt x="10954" y="16669"/>
                    <a:pt x="11906" y="17621"/>
                    <a:pt x="13811" y="17621"/>
                  </a:cubicBezTo>
                  <a:lnTo>
                    <a:pt x="13811" y="17621"/>
                  </a:lnTo>
                  <a:cubicBezTo>
                    <a:pt x="14764" y="17621"/>
                    <a:pt x="16669" y="17621"/>
                    <a:pt x="18574" y="16669"/>
                  </a:cubicBezTo>
                  <a:lnTo>
                    <a:pt x="18574" y="16669"/>
                  </a:lnTo>
                  <a:cubicBezTo>
                    <a:pt x="20479" y="14764"/>
                    <a:pt x="22384" y="12859"/>
                    <a:pt x="22384" y="10954"/>
                  </a:cubicBezTo>
                  <a:lnTo>
                    <a:pt x="22384" y="10954"/>
                  </a:lnTo>
                  <a:cubicBezTo>
                    <a:pt x="22384" y="10001"/>
                    <a:pt x="22384" y="9049"/>
                    <a:pt x="21431" y="9049"/>
                  </a:cubicBezTo>
                  <a:lnTo>
                    <a:pt x="21431" y="9049"/>
                  </a:lnTo>
                  <a:lnTo>
                    <a:pt x="21431" y="9049"/>
                  </a:lnTo>
                  <a:lnTo>
                    <a:pt x="24289" y="7144"/>
                  </a:lnTo>
                  <a:cubicBezTo>
                    <a:pt x="25241" y="8096"/>
                    <a:pt x="25241" y="10001"/>
                    <a:pt x="25241" y="11906"/>
                  </a:cubicBezTo>
                  <a:lnTo>
                    <a:pt x="25241" y="11906"/>
                  </a:lnTo>
                  <a:cubicBezTo>
                    <a:pt x="25241" y="15716"/>
                    <a:pt x="23336" y="18574"/>
                    <a:pt x="20479" y="20479"/>
                  </a:cubicBezTo>
                  <a:lnTo>
                    <a:pt x="20479" y="20479"/>
                  </a:lnTo>
                  <a:cubicBezTo>
                    <a:pt x="18574" y="21431"/>
                    <a:pt x="16669" y="22384"/>
                    <a:pt x="13811" y="22384"/>
                  </a:cubicBezTo>
                  <a:lnTo>
                    <a:pt x="13811" y="22384"/>
                  </a:lnTo>
                  <a:cubicBezTo>
                    <a:pt x="11906" y="21431"/>
                    <a:pt x="9049" y="20479"/>
                    <a:pt x="7144" y="17621"/>
                  </a:cubicBezTo>
                  <a:lnTo>
                    <a:pt x="7144" y="17621"/>
                  </a:lnTo>
                  <a:close/>
                </a:path>
              </a:pathLst>
            </a:custGeom>
            <a:solidFill>
              <a:srgbClr val="7287A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7" name="任意多边形: 形状 86">
              <a:extLst>
                <a:ext uri="{FF2B5EF4-FFF2-40B4-BE49-F238E27FC236}">
                  <a16:creationId xmlns:a16="http://schemas.microsoft.com/office/drawing/2014/main" id="{FBFDC0EF-D886-4BBB-A115-671AAD2364B6}"/>
                </a:ext>
              </a:extLst>
            </p:cNvPr>
            <p:cNvSpPr/>
            <p:nvPr/>
          </p:nvSpPr>
          <p:spPr>
            <a:xfrm flipH="1">
              <a:off x="9252420" y="2388771"/>
              <a:ext cx="95405" cy="95405"/>
            </a:xfrm>
            <a:custGeom>
              <a:avLst/>
              <a:gdLst>
                <a:gd name="connsiteX0" fmla="*/ 7144 w 28575"/>
                <a:gd name="connsiteY0" fmla="*/ 19526 h 28575"/>
                <a:gd name="connsiteX1" fmla="*/ 10001 w 28575"/>
                <a:gd name="connsiteY1" fmla="*/ 17621 h 28575"/>
                <a:gd name="connsiteX2" fmla="*/ 13811 w 28575"/>
                <a:gd name="connsiteY2" fmla="*/ 19526 h 28575"/>
                <a:gd name="connsiteX3" fmla="*/ 13811 w 28575"/>
                <a:gd name="connsiteY3" fmla="*/ 19526 h 28575"/>
                <a:gd name="connsiteX4" fmla="*/ 19526 w 28575"/>
                <a:gd name="connsiteY4" fmla="*/ 17621 h 28575"/>
                <a:gd name="connsiteX5" fmla="*/ 19526 w 28575"/>
                <a:gd name="connsiteY5" fmla="*/ 17621 h 28575"/>
                <a:gd name="connsiteX6" fmla="*/ 23336 w 28575"/>
                <a:gd name="connsiteY6" fmla="*/ 10954 h 28575"/>
                <a:gd name="connsiteX7" fmla="*/ 23336 w 28575"/>
                <a:gd name="connsiteY7" fmla="*/ 10954 h 28575"/>
                <a:gd name="connsiteX8" fmla="*/ 22384 w 28575"/>
                <a:gd name="connsiteY8" fmla="*/ 9049 h 28575"/>
                <a:gd name="connsiteX9" fmla="*/ 22384 w 28575"/>
                <a:gd name="connsiteY9" fmla="*/ 9049 h 28575"/>
                <a:gd name="connsiteX10" fmla="*/ 25241 w 28575"/>
                <a:gd name="connsiteY10" fmla="*/ 7144 h 28575"/>
                <a:gd name="connsiteX11" fmla="*/ 26194 w 28575"/>
                <a:gd name="connsiteY11" fmla="*/ 11906 h 28575"/>
                <a:gd name="connsiteX12" fmla="*/ 26194 w 28575"/>
                <a:gd name="connsiteY12" fmla="*/ 11906 h 28575"/>
                <a:gd name="connsiteX13" fmla="*/ 20479 w 28575"/>
                <a:gd name="connsiteY13" fmla="*/ 21431 h 28575"/>
                <a:gd name="connsiteX14" fmla="*/ 20479 w 28575"/>
                <a:gd name="connsiteY14" fmla="*/ 21431 h 28575"/>
                <a:gd name="connsiteX15" fmla="*/ 12859 w 28575"/>
                <a:gd name="connsiteY15" fmla="*/ 24289 h 28575"/>
                <a:gd name="connsiteX16" fmla="*/ 12859 w 28575"/>
                <a:gd name="connsiteY16" fmla="*/ 24289 h 28575"/>
                <a:gd name="connsiteX17" fmla="*/ 12859 w 28575"/>
                <a:gd name="connsiteY17" fmla="*/ 24289 h 28575"/>
                <a:gd name="connsiteX18" fmla="*/ 12859 w 28575"/>
                <a:gd name="connsiteY18" fmla="*/ 24289 h 28575"/>
                <a:gd name="connsiteX19" fmla="*/ 7144 w 28575"/>
                <a:gd name="connsiteY19" fmla="*/ 19526 h 28575"/>
                <a:gd name="connsiteX20" fmla="*/ 7144 w 28575"/>
                <a:gd name="connsiteY20" fmla="*/ 19526 h 28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8575" h="28575">
                  <a:moveTo>
                    <a:pt x="7144" y="19526"/>
                  </a:moveTo>
                  <a:lnTo>
                    <a:pt x="10001" y="17621"/>
                  </a:lnTo>
                  <a:cubicBezTo>
                    <a:pt x="10954" y="18574"/>
                    <a:pt x="11906" y="19526"/>
                    <a:pt x="13811" y="19526"/>
                  </a:cubicBezTo>
                  <a:lnTo>
                    <a:pt x="13811" y="19526"/>
                  </a:lnTo>
                  <a:cubicBezTo>
                    <a:pt x="15716" y="19526"/>
                    <a:pt x="17621" y="18574"/>
                    <a:pt x="19526" y="17621"/>
                  </a:cubicBezTo>
                  <a:lnTo>
                    <a:pt x="19526" y="17621"/>
                  </a:lnTo>
                  <a:cubicBezTo>
                    <a:pt x="22384" y="15716"/>
                    <a:pt x="23336" y="12859"/>
                    <a:pt x="23336" y="10954"/>
                  </a:cubicBezTo>
                  <a:lnTo>
                    <a:pt x="23336" y="10954"/>
                  </a:lnTo>
                  <a:cubicBezTo>
                    <a:pt x="23336" y="10001"/>
                    <a:pt x="23336" y="9049"/>
                    <a:pt x="22384" y="9049"/>
                  </a:cubicBezTo>
                  <a:lnTo>
                    <a:pt x="22384" y="9049"/>
                  </a:lnTo>
                  <a:lnTo>
                    <a:pt x="25241" y="7144"/>
                  </a:lnTo>
                  <a:cubicBezTo>
                    <a:pt x="26194" y="8096"/>
                    <a:pt x="26194" y="10001"/>
                    <a:pt x="26194" y="11906"/>
                  </a:cubicBezTo>
                  <a:lnTo>
                    <a:pt x="26194" y="11906"/>
                  </a:lnTo>
                  <a:cubicBezTo>
                    <a:pt x="26194" y="15716"/>
                    <a:pt x="24289" y="19526"/>
                    <a:pt x="20479" y="21431"/>
                  </a:cubicBezTo>
                  <a:lnTo>
                    <a:pt x="20479" y="21431"/>
                  </a:lnTo>
                  <a:cubicBezTo>
                    <a:pt x="17621" y="23336"/>
                    <a:pt x="15716" y="24289"/>
                    <a:pt x="12859" y="24289"/>
                  </a:cubicBezTo>
                  <a:lnTo>
                    <a:pt x="12859" y="24289"/>
                  </a:lnTo>
                  <a:cubicBezTo>
                    <a:pt x="12859" y="24289"/>
                    <a:pt x="12859" y="24289"/>
                    <a:pt x="12859" y="24289"/>
                  </a:cubicBezTo>
                  <a:lnTo>
                    <a:pt x="12859" y="24289"/>
                  </a:lnTo>
                  <a:cubicBezTo>
                    <a:pt x="11906" y="22384"/>
                    <a:pt x="9049" y="21431"/>
                    <a:pt x="7144" y="19526"/>
                  </a:cubicBezTo>
                  <a:lnTo>
                    <a:pt x="7144" y="19526"/>
                  </a:lnTo>
                  <a:close/>
                </a:path>
              </a:pathLst>
            </a:custGeom>
            <a:solidFill>
              <a:srgbClr val="7287A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8" name="任意多边形: 形状 87">
              <a:extLst>
                <a:ext uri="{FF2B5EF4-FFF2-40B4-BE49-F238E27FC236}">
                  <a16:creationId xmlns:a16="http://schemas.microsoft.com/office/drawing/2014/main" id="{3D2AA557-3164-4E1A-9F88-08DEF2DF2729}"/>
                </a:ext>
              </a:extLst>
            </p:cNvPr>
            <p:cNvSpPr/>
            <p:nvPr/>
          </p:nvSpPr>
          <p:spPr>
            <a:xfrm flipH="1">
              <a:off x="9096595" y="2395130"/>
              <a:ext cx="190810" cy="254413"/>
            </a:xfrm>
            <a:custGeom>
              <a:avLst/>
              <a:gdLst>
                <a:gd name="connsiteX0" fmla="*/ 9049 w 57150"/>
                <a:gd name="connsiteY0" fmla="*/ 7144 h 76200"/>
                <a:gd name="connsiteX1" fmla="*/ 51911 w 57150"/>
                <a:gd name="connsiteY1" fmla="*/ 70009 h 76200"/>
                <a:gd name="connsiteX2" fmla="*/ 49054 w 57150"/>
                <a:gd name="connsiteY2" fmla="*/ 70961 h 76200"/>
                <a:gd name="connsiteX3" fmla="*/ 7144 w 57150"/>
                <a:gd name="connsiteY3" fmla="*/ 15716 h 76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7150" h="76200">
                  <a:moveTo>
                    <a:pt x="9049" y="7144"/>
                  </a:moveTo>
                  <a:lnTo>
                    <a:pt x="51911" y="70009"/>
                  </a:lnTo>
                  <a:lnTo>
                    <a:pt x="49054" y="70961"/>
                  </a:lnTo>
                  <a:lnTo>
                    <a:pt x="7144" y="15716"/>
                  </a:lnTo>
                  <a:close/>
                </a:path>
              </a:pathLst>
            </a:custGeom>
            <a:solidFill>
              <a:srgbClr val="7287A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9" name="任意多边形: 形状 88">
              <a:extLst>
                <a:ext uri="{FF2B5EF4-FFF2-40B4-BE49-F238E27FC236}">
                  <a16:creationId xmlns:a16="http://schemas.microsoft.com/office/drawing/2014/main" id="{B181B6D6-B82B-42B7-9098-C1BBD2F09E41}"/>
                </a:ext>
              </a:extLst>
            </p:cNvPr>
            <p:cNvSpPr/>
            <p:nvPr/>
          </p:nvSpPr>
          <p:spPr>
            <a:xfrm flipH="1">
              <a:off x="9099773" y="2385592"/>
              <a:ext cx="159007" cy="254413"/>
            </a:xfrm>
            <a:custGeom>
              <a:avLst/>
              <a:gdLst>
                <a:gd name="connsiteX0" fmla="*/ 7144 w 47625"/>
                <a:gd name="connsiteY0" fmla="*/ 7144 h 76200"/>
                <a:gd name="connsiteX1" fmla="*/ 42386 w 47625"/>
                <a:gd name="connsiteY1" fmla="*/ 73819 h 76200"/>
                <a:gd name="connsiteX2" fmla="*/ 44291 w 47625"/>
                <a:gd name="connsiteY2" fmla="*/ 72866 h 76200"/>
                <a:gd name="connsiteX3" fmla="*/ 14764 w 47625"/>
                <a:gd name="connsiteY3" fmla="*/ 10001 h 76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625" h="76200">
                  <a:moveTo>
                    <a:pt x="7144" y="7144"/>
                  </a:moveTo>
                  <a:lnTo>
                    <a:pt x="42386" y="73819"/>
                  </a:lnTo>
                  <a:lnTo>
                    <a:pt x="44291" y="72866"/>
                  </a:lnTo>
                  <a:lnTo>
                    <a:pt x="14764" y="10001"/>
                  </a:lnTo>
                  <a:close/>
                </a:path>
              </a:pathLst>
            </a:custGeom>
            <a:solidFill>
              <a:srgbClr val="7287A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0" name="任意多边形: 形状 89">
              <a:extLst>
                <a:ext uri="{FF2B5EF4-FFF2-40B4-BE49-F238E27FC236}">
                  <a16:creationId xmlns:a16="http://schemas.microsoft.com/office/drawing/2014/main" id="{F097D94C-51EE-456A-872E-9066F9867236}"/>
                </a:ext>
              </a:extLst>
            </p:cNvPr>
            <p:cNvSpPr/>
            <p:nvPr/>
          </p:nvSpPr>
          <p:spPr>
            <a:xfrm flipH="1">
              <a:off x="9055839" y="2478990"/>
              <a:ext cx="540624" cy="222611"/>
            </a:xfrm>
            <a:custGeom>
              <a:avLst/>
              <a:gdLst>
                <a:gd name="connsiteX0" fmla="*/ 14940 w 161925"/>
                <a:gd name="connsiteY0" fmla="*/ 20127 h 66675"/>
                <a:gd name="connsiteX1" fmla="*/ 68280 w 161925"/>
                <a:gd name="connsiteY1" fmla="*/ 18222 h 66675"/>
                <a:gd name="connsiteX2" fmla="*/ 129240 w 161925"/>
                <a:gd name="connsiteY2" fmla="*/ 8697 h 66675"/>
                <a:gd name="connsiteX3" fmla="*/ 148290 w 161925"/>
                <a:gd name="connsiteY3" fmla="*/ 24890 h 66675"/>
                <a:gd name="connsiteX4" fmla="*/ 154957 w 161925"/>
                <a:gd name="connsiteY4" fmla="*/ 45845 h 66675"/>
                <a:gd name="connsiteX5" fmla="*/ 140670 w 161925"/>
                <a:gd name="connsiteY5" fmla="*/ 29652 h 66675"/>
                <a:gd name="connsiteX6" fmla="*/ 130192 w 161925"/>
                <a:gd name="connsiteY6" fmla="*/ 23937 h 66675"/>
                <a:gd name="connsiteX7" fmla="*/ 154957 w 161925"/>
                <a:gd name="connsiteY7" fmla="*/ 56322 h 66675"/>
                <a:gd name="connsiteX8" fmla="*/ 138765 w 161925"/>
                <a:gd name="connsiteY8" fmla="*/ 42035 h 66675"/>
                <a:gd name="connsiteX9" fmla="*/ 124477 w 161925"/>
                <a:gd name="connsiteY9" fmla="*/ 33462 h 66675"/>
                <a:gd name="connsiteX10" fmla="*/ 146385 w 161925"/>
                <a:gd name="connsiteY10" fmla="*/ 62037 h 66675"/>
                <a:gd name="connsiteX11" fmla="*/ 131145 w 161925"/>
                <a:gd name="connsiteY11" fmla="*/ 49655 h 66675"/>
                <a:gd name="connsiteX12" fmla="*/ 118762 w 161925"/>
                <a:gd name="connsiteY12" fmla="*/ 42035 h 66675"/>
                <a:gd name="connsiteX13" fmla="*/ 139717 w 161925"/>
                <a:gd name="connsiteY13" fmla="*/ 66800 h 66675"/>
                <a:gd name="connsiteX14" fmla="*/ 122572 w 161925"/>
                <a:gd name="connsiteY14" fmla="*/ 56322 h 66675"/>
                <a:gd name="connsiteX15" fmla="*/ 108285 w 161925"/>
                <a:gd name="connsiteY15" fmla="*/ 53465 h 66675"/>
                <a:gd name="connsiteX16" fmla="*/ 67327 w 161925"/>
                <a:gd name="connsiteY16" fmla="*/ 59180 h 66675"/>
                <a:gd name="connsiteX17" fmla="*/ 13035 w 161925"/>
                <a:gd name="connsiteY17" fmla="*/ 64895 h 66675"/>
                <a:gd name="connsiteX18" fmla="*/ 14940 w 161925"/>
                <a:gd name="connsiteY18" fmla="*/ 20127 h 66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61925" h="66675">
                  <a:moveTo>
                    <a:pt x="14940" y="20127"/>
                  </a:moveTo>
                  <a:cubicBezTo>
                    <a:pt x="26370" y="20127"/>
                    <a:pt x="58755" y="21080"/>
                    <a:pt x="68280" y="18222"/>
                  </a:cubicBezTo>
                  <a:cubicBezTo>
                    <a:pt x="103522" y="5840"/>
                    <a:pt x="120667" y="5840"/>
                    <a:pt x="129240" y="8697"/>
                  </a:cubicBezTo>
                  <a:cubicBezTo>
                    <a:pt x="138765" y="11555"/>
                    <a:pt x="148290" y="24890"/>
                    <a:pt x="148290" y="24890"/>
                  </a:cubicBezTo>
                  <a:cubicBezTo>
                    <a:pt x="148290" y="24890"/>
                    <a:pt x="161625" y="46797"/>
                    <a:pt x="154957" y="45845"/>
                  </a:cubicBezTo>
                  <a:cubicBezTo>
                    <a:pt x="148290" y="45845"/>
                    <a:pt x="147337" y="34415"/>
                    <a:pt x="140670" y="29652"/>
                  </a:cubicBezTo>
                  <a:cubicBezTo>
                    <a:pt x="134002" y="24890"/>
                    <a:pt x="130192" y="23937"/>
                    <a:pt x="130192" y="23937"/>
                  </a:cubicBezTo>
                  <a:cubicBezTo>
                    <a:pt x="130192" y="23937"/>
                    <a:pt x="163530" y="49655"/>
                    <a:pt x="154957" y="56322"/>
                  </a:cubicBezTo>
                  <a:cubicBezTo>
                    <a:pt x="152100" y="59180"/>
                    <a:pt x="146385" y="48702"/>
                    <a:pt x="138765" y="42035"/>
                  </a:cubicBezTo>
                  <a:cubicBezTo>
                    <a:pt x="134002" y="37272"/>
                    <a:pt x="127335" y="34415"/>
                    <a:pt x="124477" y="33462"/>
                  </a:cubicBezTo>
                  <a:cubicBezTo>
                    <a:pt x="117810" y="30605"/>
                    <a:pt x="162577" y="62037"/>
                    <a:pt x="146385" y="62037"/>
                  </a:cubicBezTo>
                  <a:cubicBezTo>
                    <a:pt x="142575" y="62037"/>
                    <a:pt x="136860" y="54417"/>
                    <a:pt x="131145" y="49655"/>
                  </a:cubicBezTo>
                  <a:cubicBezTo>
                    <a:pt x="124477" y="43940"/>
                    <a:pt x="118762" y="42035"/>
                    <a:pt x="118762" y="42035"/>
                  </a:cubicBezTo>
                  <a:cubicBezTo>
                    <a:pt x="118762" y="42035"/>
                    <a:pt x="149242" y="64895"/>
                    <a:pt x="139717" y="66800"/>
                  </a:cubicBezTo>
                  <a:cubicBezTo>
                    <a:pt x="134955" y="67752"/>
                    <a:pt x="128287" y="60132"/>
                    <a:pt x="122572" y="56322"/>
                  </a:cubicBezTo>
                  <a:cubicBezTo>
                    <a:pt x="115905" y="52512"/>
                    <a:pt x="110190" y="53465"/>
                    <a:pt x="108285" y="53465"/>
                  </a:cubicBezTo>
                  <a:cubicBezTo>
                    <a:pt x="101617" y="53465"/>
                    <a:pt x="86377" y="57275"/>
                    <a:pt x="67327" y="59180"/>
                  </a:cubicBezTo>
                  <a:cubicBezTo>
                    <a:pt x="51135" y="61085"/>
                    <a:pt x="19702" y="62037"/>
                    <a:pt x="13035" y="64895"/>
                  </a:cubicBezTo>
                  <a:cubicBezTo>
                    <a:pt x="-1253" y="71562"/>
                    <a:pt x="14940" y="20127"/>
                    <a:pt x="14940" y="20127"/>
                  </a:cubicBezTo>
                  <a:close/>
                </a:path>
              </a:pathLst>
            </a:custGeom>
            <a:solidFill>
              <a:schemeClr val="accent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1" name="任意多边形: 形状 90">
              <a:extLst>
                <a:ext uri="{FF2B5EF4-FFF2-40B4-BE49-F238E27FC236}">
                  <a16:creationId xmlns:a16="http://schemas.microsoft.com/office/drawing/2014/main" id="{67DDAF47-549F-4AE0-9103-1822D9F91AAA}"/>
                </a:ext>
              </a:extLst>
            </p:cNvPr>
            <p:cNvSpPr/>
            <p:nvPr/>
          </p:nvSpPr>
          <p:spPr>
            <a:xfrm flipH="1">
              <a:off x="9382679" y="1802525"/>
              <a:ext cx="985847" cy="1017648"/>
            </a:xfrm>
            <a:custGeom>
              <a:avLst/>
              <a:gdLst>
                <a:gd name="connsiteX0" fmla="*/ 29012 w 295275"/>
                <a:gd name="connsiteY0" fmla="*/ 19855 h 304800"/>
                <a:gd name="connsiteX1" fmla="*/ 109975 w 295275"/>
                <a:gd name="connsiteY1" fmla="*/ 39858 h 304800"/>
                <a:gd name="connsiteX2" fmla="*/ 172840 w 295275"/>
                <a:gd name="connsiteY2" fmla="*/ 190353 h 304800"/>
                <a:gd name="connsiteX3" fmla="*/ 290950 w 295275"/>
                <a:gd name="connsiteY3" fmla="*/ 216070 h 304800"/>
                <a:gd name="connsiteX4" fmla="*/ 272852 w 295275"/>
                <a:gd name="connsiteY4" fmla="*/ 281793 h 304800"/>
                <a:gd name="connsiteX5" fmla="*/ 113785 w 295275"/>
                <a:gd name="connsiteY5" fmla="*/ 293223 h 304800"/>
                <a:gd name="connsiteX6" fmla="*/ 20440 w 295275"/>
                <a:gd name="connsiteY6" fmla="*/ 172255 h 304800"/>
                <a:gd name="connsiteX7" fmla="*/ 29012 w 295275"/>
                <a:gd name="connsiteY7" fmla="*/ 19855 h 304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95275" h="304800">
                  <a:moveTo>
                    <a:pt x="29012" y="19855"/>
                  </a:moveTo>
                  <a:cubicBezTo>
                    <a:pt x="54730" y="-1100"/>
                    <a:pt x="98545" y="2710"/>
                    <a:pt x="109975" y="39858"/>
                  </a:cubicBezTo>
                  <a:cubicBezTo>
                    <a:pt x="121405" y="77958"/>
                    <a:pt x="167125" y="174160"/>
                    <a:pt x="172840" y="190353"/>
                  </a:cubicBezTo>
                  <a:cubicBezTo>
                    <a:pt x="178555" y="206545"/>
                    <a:pt x="290950" y="216070"/>
                    <a:pt x="290950" y="216070"/>
                  </a:cubicBezTo>
                  <a:cubicBezTo>
                    <a:pt x="290950" y="216070"/>
                    <a:pt x="294760" y="273220"/>
                    <a:pt x="272852" y="281793"/>
                  </a:cubicBezTo>
                  <a:cubicBezTo>
                    <a:pt x="250945" y="290365"/>
                    <a:pt x="167125" y="307510"/>
                    <a:pt x="113785" y="293223"/>
                  </a:cubicBezTo>
                  <a:cubicBezTo>
                    <a:pt x="89020" y="286555"/>
                    <a:pt x="38537" y="222738"/>
                    <a:pt x="20440" y="172255"/>
                  </a:cubicBezTo>
                  <a:cubicBezTo>
                    <a:pt x="-13850" y="77958"/>
                    <a:pt x="29012" y="19855"/>
                    <a:pt x="29012" y="19855"/>
                  </a:cubicBez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2" name="任意多边形: 形状 91">
              <a:extLst>
                <a:ext uri="{FF2B5EF4-FFF2-40B4-BE49-F238E27FC236}">
                  <a16:creationId xmlns:a16="http://schemas.microsoft.com/office/drawing/2014/main" id="{69C49262-FF2A-4807-9F6B-0432A9CDC82B}"/>
                </a:ext>
              </a:extLst>
            </p:cNvPr>
            <p:cNvSpPr/>
            <p:nvPr/>
          </p:nvSpPr>
          <p:spPr>
            <a:xfrm flipH="1">
              <a:off x="9382679" y="1793347"/>
              <a:ext cx="985847" cy="1049449"/>
            </a:xfrm>
            <a:custGeom>
              <a:avLst/>
              <a:gdLst>
                <a:gd name="connsiteX0" fmla="*/ 29012 w 295275"/>
                <a:gd name="connsiteY0" fmla="*/ 18794 h 314325"/>
                <a:gd name="connsiteX1" fmla="*/ 20440 w 295275"/>
                <a:gd name="connsiteY1" fmla="*/ 171194 h 314325"/>
                <a:gd name="connsiteX2" fmla="*/ 111880 w 295275"/>
                <a:gd name="connsiteY2" fmla="*/ 312164 h 314325"/>
                <a:gd name="connsiteX3" fmla="*/ 271900 w 295275"/>
                <a:gd name="connsiteY3" fmla="*/ 286447 h 314325"/>
                <a:gd name="connsiteX4" fmla="*/ 289045 w 295275"/>
                <a:gd name="connsiteY4" fmla="*/ 248347 h 314325"/>
                <a:gd name="connsiteX5" fmla="*/ 131882 w 295275"/>
                <a:gd name="connsiteY5" fmla="*/ 234059 h 314325"/>
                <a:gd name="connsiteX6" fmla="*/ 79495 w 295275"/>
                <a:gd name="connsiteY6" fmla="*/ 10222 h 314325"/>
                <a:gd name="connsiteX7" fmla="*/ 29012 w 295275"/>
                <a:gd name="connsiteY7" fmla="*/ 18794 h 314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95275" h="314325">
                  <a:moveTo>
                    <a:pt x="29012" y="18794"/>
                  </a:moveTo>
                  <a:cubicBezTo>
                    <a:pt x="29012" y="18794"/>
                    <a:pt x="-13850" y="76897"/>
                    <a:pt x="20440" y="171194"/>
                  </a:cubicBezTo>
                  <a:cubicBezTo>
                    <a:pt x="38537" y="221677"/>
                    <a:pt x="87115" y="305497"/>
                    <a:pt x="111880" y="312164"/>
                  </a:cubicBezTo>
                  <a:cubicBezTo>
                    <a:pt x="164267" y="326452"/>
                    <a:pt x="249992" y="295019"/>
                    <a:pt x="271900" y="286447"/>
                  </a:cubicBezTo>
                  <a:cubicBezTo>
                    <a:pt x="283330" y="281684"/>
                    <a:pt x="287140" y="264539"/>
                    <a:pt x="289045" y="248347"/>
                  </a:cubicBezTo>
                  <a:cubicBezTo>
                    <a:pt x="215702" y="248347"/>
                    <a:pt x="178555" y="258824"/>
                    <a:pt x="131882" y="234059"/>
                  </a:cubicBezTo>
                  <a:cubicBezTo>
                    <a:pt x="94735" y="215009"/>
                    <a:pt x="60445" y="54989"/>
                    <a:pt x="79495" y="10222"/>
                  </a:cubicBezTo>
                  <a:cubicBezTo>
                    <a:pt x="62350" y="4507"/>
                    <a:pt x="43300" y="6412"/>
                    <a:pt x="29012" y="18794"/>
                  </a:cubicBezTo>
                  <a:close/>
                </a:path>
              </a:pathLst>
            </a:custGeom>
            <a:solidFill>
              <a:schemeClr val="accent1">
                <a:lumMod val="5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  <p:sp>
        <p:nvSpPr>
          <p:cNvPr id="13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5922668" y="1032826"/>
            <a:ext cx="5596230" cy="2622847"/>
          </a:xfrm>
        </p:spPr>
        <p:txBody>
          <a:bodyPr anchor="b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62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5922668" y="4460897"/>
            <a:ext cx="5596230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r">
              <a:buNone/>
              <a:defRPr lang="zh-CN" altLang="en-US" sz="1500" smtClean="0">
                <a:solidFill>
                  <a:schemeClr val="bg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589" marR="0" lvl="0" indent="-228589" fontAlgn="auto">
              <a:spcAft>
                <a:spcPts val="0"/>
              </a:spcAft>
              <a:buClrTx/>
              <a:buSzTx/>
              <a:tabLst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13">
            <a:extLst>
              <a:ext uri="{FF2B5EF4-FFF2-40B4-BE49-F238E27FC236}">
                <a16:creationId xmlns:a16="http://schemas.microsoft.com/office/drawing/2014/main" id="{05EBDA4F-7210-4CAE-8333-80DB24212E7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922670" y="4164626"/>
            <a:ext cx="5596230" cy="296271"/>
          </a:xfrm>
        </p:spPr>
        <p:txBody>
          <a:bodyPr vert="horz" anchor="ctr">
            <a:noAutofit/>
          </a:bodyPr>
          <a:lstStyle>
            <a:lvl1pPr marL="0" indent="0" algn="r">
              <a:buNone/>
              <a:defRPr sz="1500" b="0">
                <a:solidFill>
                  <a:schemeClr val="bg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</p:spTree>
    <p:extLst>
      <p:ext uri="{BB962C8B-B14F-4D97-AF65-F5344CB8AC3E}">
        <p14:creationId xmlns:p14="http://schemas.microsoft.com/office/powerpoint/2010/main" val="23786584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3">
            <a:extLst>
              <a:ext uri="{FF2B5EF4-FFF2-40B4-BE49-F238E27FC236}">
                <a16:creationId xmlns:a16="http://schemas.microsoft.com/office/drawing/2014/main" id="{04388434-9949-479C-A9C3-67A953F6A93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489D9C7-5DC6-4263-87FF-7C99F6FB63C3}" type="datetime1">
              <a:rPr lang="zh-CN" altLang="en-US" smtClean="0"/>
              <a:pPr/>
              <a:t>2019/9/1</a:t>
            </a:fld>
            <a:endParaRPr lang="zh-CN" altLang="en-US"/>
          </a:p>
        </p:txBody>
      </p:sp>
      <p:sp>
        <p:nvSpPr>
          <p:cNvPr id="9" name="页脚占位符 4">
            <a:extLst>
              <a:ext uri="{FF2B5EF4-FFF2-40B4-BE49-F238E27FC236}">
                <a16:creationId xmlns:a16="http://schemas.microsoft.com/office/drawing/2014/main" id="{50A5656E-7A33-4865-A262-1F96263BAA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altLang="zh-CN" dirty="0"/>
              <a:t>www.islide.cc</a:t>
            </a:r>
            <a:endParaRPr lang="zh-CN" altLang="en-US" dirty="0"/>
          </a:p>
        </p:txBody>
      </p:sp>
      <p:sp>
        <p:nvSpPr>
          <p:cNvPr id="10" name="灯片编号占位符 5">
            <a:extLst>
              <a:ext uri="{FF2B5EF4-FFF2-40B4-BE49-F238E27FC236}">
                <a16:creationId xmlns:a16="http://schemas.microsoft.com/office/drawing/2014/main" id="{5BF52F79-380E-4278-8B67-588AFE5840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840277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51" r:id="rId2"/>
    <p:sldLayoutId id="2147483669" r:id="rId3"/>
    <p:sldLayoutId id="2147483662" r:id="rId4"/>
    <p:sldLayoutId id="2147483655" r:id="rId5"/>
    <p:sldLayoutId id="2147483661" r:id="rId6"/>
  </p:sldLayoutIdLst>
  <p:hf hdr="0" dt="0"/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22" userDrawn="1">
          <p15:clr>
            <a:srgbClr val="F26B43"/>
          </p15:clr>
        </p15:guide>
        <p15:guide id="2" pos="7257" userDrawn="1">
          <p15:clr>
            <a:srgbClr val="F26B43"/>
          </p15:clr>
        </p15:guide>
        <p15:guide id="3" orient="horz" pos="648" userDrawn="1">
          <p15:clr>
            <a:srgbClr val="F26B43"/>
          </p15:clr>
        </p15:guide>
        <p15:guide id="4" orient="horz" pos="712" userDrawn="1">
          <p15:clr>
            <a:srgbClr val="F26B43"/>
          </p15:clr>
        </p15:guide>
        <p15:guide id="5" orient="horz" pos="3931" userDrawn="1">
          <p15:clr>
            <a:srgbClr val="F26B43"/>
          </p15:clr>
        </p15:guide>
        <p15:guide id="6" orient="horz" pos="386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3.xml"/><Relationship Id="rId7" Type="http://schemas.openxmlformats.org/officeDocument/2006/relationships/image" Target="../media/image1.emf"/><Relationship Id="rId2" Type="http://schemas.openxmlformats.org/officeDocument/2006/relationships/vmlDrawing" Target="../drawings/vmlDrawing1.vml"/><Relationship Id="rId1" Type="http://schemas.openxmlformats.org/officeDocument/2006/relationships/themeOverride" Target="../theme/themeOverride1.xml"/><Relationship Id="rId6" Type="http://schemas.openxmlformats.org/officeDocument/2006/relationships/oleObject" Target="../embeddings/oleObject1.bin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4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21.png"/><Relationship Id="rId4" Type="http://schemas.openxmlformats.org/officeDocument/2006/relationships/image" Target="../media/image20.pn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hemeOverride" Target="../theme/themeOverride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6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5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5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5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7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5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hemeOverride" Target="../theme/themeOverride5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5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5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5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8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5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5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5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hemeOverride" Target="../theme/themeOverride6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hemeOverride" Target="../theme/themeOverride3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38.png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5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5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9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5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10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11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7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5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46.png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5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5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12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51.png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13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14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15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16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1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5.xml"/></Relationships>
</file>

<file path=ppt/slides/_rels/slide5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2.png"/><Relationship Id="rId3" Type="http://schemas.openxmlformats.org/officeDocument/2006/relationships/tags" Target="../tags/tag18.xml"/><Relationship Id="rId7" Type="http://schemas.openxmlformats.org/officeDocument/2006/relationships/image" Target="../media/image1.emf"/><Relationship Id="rId2" Type="http://schemas.openxmlformats.org/officeDocument/2006/relationships/vmlDrawing" Target="../drawings/vmlDrawing2.vml"/><Relationship Id="rId1" Type="http://schemas.openxmlformats.org/officeDocument/2006/relationships/themeOverride" Target="../theme/themeOverride8.xml"/><Relationship Id="rId6" Type="http://schemas.openxmlformats.org/officeDocument/2006/relationships/oleObject" Target="../embeddings/oleObject2.bin"/><Relationship Id="rId5" Type="http://schemas.openxmlformats.org/officeDocument/2006/relationships/slideLayout" Target="../slideLayouts/slideLayout6.xml"/><Relationship Id="rId4" Type="http://schemas.openxmlformats.org/officeDocument/2006/relationships/tags" Target="../tags/tag19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矩形: 圆角 15">
            <a:extLst>
              <a:ext uri="{FF2B5EF4-FFF2-40B4-BE49-F238E27FC236}">
                <a16:creationId xmlns:a16="http://schemas.microsoft.com/office/drawing/2014/main" id="{5F4827E7-52B5-45E8-892D-3EBAB6F3BDEC}"/>
              </a:ext>
            </a:extLst>
          </p:cNvPr>
          <p:cNvSpPr/>
          <p:nvPr/>
        </p:nvSpPr>
        <p:spPr>
          <a:xfrm>
            <a:off x="669925" y="2851926"/>
            <a:ext cx="2153957" cy="490721"/>
          </a:xfrm>
          <a:prstGeom prst="roundRect">
            <a:avLst>
              <a:gd name="adj" fmla="val 50000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3C326D0B-7DAB-41B6-8030-2E4A18CC949B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5840861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0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3C326D0B-7DAB-41B6-8030-2E4A18CC94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EC933494-1B63-4A32-964F-D05236799BAA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副标题 4"/>
          <p:cNvSpPr>
            <a:spLocks noGrp="1"/>
          </p:cNvSpPr>
          <p:nvPr>
            <p:ph type="subTitle" idx="1"/>
          </p:nvPr>
        </p:nvSpPr>
        <p:spPr>
          <a:xfrm>
            <a:off x="983522" y="2912868"/>
            <a:ext cx="10818906" cy="558799"/>
          </a:xfrm>
        </p:spPr>
        <p:txBody>
          <a:bodyPr>
            <a:normAutofit/>
          </a:bodyPr>
          <a:lstStyle/>
          <a:p>
            <a:r>
              <a:rPr lang="zh-CN" altLang="en-US" sz="2400" spc="300" dirty="0">
                <a:solidFill>
                  <a:schemeClr val="bg1"/>
                </a:solidFill>
              </a:rPr>
              <a:t>外科护理</a:t>
            </a:r>
            <a:endParaRPr lang="en-US" altLang="zh-CN" sz="2400" spc="300" dirty="0">
              <a:solidFill>
                <a:schemeClr val="bg1"/>
              </a:solidFill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ctrTitle"/>
          </p:nvPr>
        </p:nvSpPr>
        <p:spPr>
          <a:xfrm>
            <a:off x="581659" y="1266914"/>
            <a:ext cx="6939281" cy="1493836"/>
          </a:xfrm>
        </p:spPr>
        <p:txBody>
          <a:bodyPr>
            <a:noAutofit/>
          </a:bodyPr>
          <a:lstStyle/>
          <a:p>
            <a:pPr>
              <a:lnSpc>
                <a:spcPct val="100000"/>
              </a:lnSpc>
            </a:pPr>
            <a:r>
              <a:rPr lang="zh-CN" altLang="en-US" sz="5400" dirty="0"/>
              <a:t>结、直肠和肛管疾病</a:t>
            </a:r>
            <a:br>
              <a:rPr lang="en-US" altLang="zh-CN" sz="5400" dirty="0"/>
            </a:br>
            <a:r>
              <a:rPr lang="zh-CN" altLang="en-US" sz="5400" dirty="0"/>
              <a:t>病人的护理</a:t>
            </a:r>
          </a:p>
        </p:txBody>
      </p:sp>
      <p:sp>
        <p:nvSpPr>
          <p:cNvPr id="11" name="文本占位符 10">
            <a:extLst>
              <a:ext uri="{FF2B5EF4-FFF2-40B4-BE49-F238E27FC236}">
                <a16:creationId xmlns:a16="http://schemas.microsoft.com/office/drawing/2014/main" id="{214B595E-14B6-49FC-A7DF-56704885EFB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168399" y="3487575"/>
            <a:ext cx="10845800" cy="296271"/>
          </a:xfrm>
        </p:spPr>
        <p:txBody>
          <a:bodyPr/>
          <a:lstStyle/>
          <a:p>
            <a:r>
              <a:rPr lang="zh-CN" altLang="en-US" sz="2400" dirty="0"/>
              <a:t>杨玉华</a:t>
            </a:r>
          </a:p>
        </p:txBody>
      </p:sp>
      <p:pic>
        <p:nvPicPr>
          <p:cNvPr id="12" name="图片 11">
            <a:extLst>
              <a:ext uri="{FF2B5EF4-FFF2-40B4-BE49-F238E27FC236}">
                <a16:creationId xmlns:a16="http://schemas.microsoft.com/office/drawing/2014/main" id="{B2825FF0-3FE8-44D4-A36A-1012DB14A212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174189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框 2">
            <a:extLst>
              <a:ext uri="{FF2B5EF4-FFF2-40B4-BE49-F238E27FC236}">
                <a16:creationId xmlns:a16="http://schemas.microsoft.com/office/drawing/2014/main" id="{9B60BF93-EA8A-46AD-9628-FAD9C828F3E8}"/>
              </a:ext>
            </a:extLst>
          </p:cNvPr>
          <p:cNvSpPr txBox="1"/>
          <p:nvPr/>
        </p:nvSpPr>
        <p:spPr>
          <a:xfrm>
            <a:off x="669925" y="422414"/>
            <a:ext cx="5454503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4000" b="1" dirty="0"/>
              <a:t>护理措施</a:t>
            </a:r>
          </a:p>
        </p:txBody>
      </p:sp>
      <p:pic>
        <p:nvPicPr>
          <p:cNvPr id="2" name="图片 1">
            <a:extLst>
              <a:ext uri="{FF2B5EF4-FFF2-40B4-BE49-F238E27FC236}">
                <a16:creationId xmlns:a16="http://schemas.microsoft.com/office/drawing/2014/main" id="{0EE76856-758D-4ED9-93EC-D173E4977F4B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2152"/>
          <a:stretch/>
        </p:blipFill>
        <p:spPr>
          <a:xfrm>
            <a:off x="1159274" y="1028700"/>
            <a:ext cx="9186205" cy="4298985"/>
          </a:xfrm>
          <a:prstGeom prst="rect">
            <a:avLst/>
          </a:prstGeom>
        </p:spPr>
      </p:pic>
      <p:pic>
        <p:nvPicPr>
          <p:cNvPr id="4" name="图片 3">
            <a:extLst>
              <a:ext uri="{FF2B5EF4-FFF2-40B4-BE49-F238E27FC236}">
                <a16:creationId xmlns:a16="http://schemas.microsoft.com/office/drawing/2014/main" id="{76B36627-D528-4CA6-B23F-FC8E7D9CEE5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39819" y="5198030"/>
            <a:ext cx="9295578" cy="14366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301140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框 2">
            <a:extLst>
              <a:ext uri="{FF2B5EF4-FFF2-40B4-BE49-F238E27FC236}">
                <a16:creationId xmlns:a16="http://schemas.microsoft.com/office/drawing/2014/main" id="{9B60BF93-EA8A-46AD-9628-FAD9C828F3E8}"/>
              </a:ext>
            </a:extLst>
          </p:cNvPr>
          <p:cNvSpPr txBox="1"/>
          <p:nvPr/>
        </p:nvSpPr>
        <p:spPr>
          <a:xfrm>
            <a:off x="669925" y="422414"/>
            <a:ext cx="5454503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4000" b="1" dirty="0"/>
              <a:t>护理措施</a:t>
            </a:r>
          </a:p>
        </p:txBody>
      </p:sp>
      <p:pic>
        <p:nvPicPr>
          <p:cNvPr id="2" name="图片 1">
            <a:extLst>
              <a:ext uri="{FF2B5EF4-FFF2-40B4-BE49-F238E27FC236}">
                <a16:creationId xmlns:a16="http://schemas.microsoft.com/office/drawing/2014/main" id="{CD6A03F0-29BC-484A-9659-52C21ED1DDB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82307" y="1304006"/>
            <a:ext cx="8920642" cy="2728668"/>
          </a:xfrm>
          <a:prstGeom prst="rect">
            <a:avLst/>
          </a:prstGeom>
        </p:spPr>
      </p:pic>
      <p:pic>
        <p:nvPicPr>
          <p:cNvPr id="7" name="图片 6">
            <a:extLst>
              <a:ext uri="{FF2B5EF4-FFF2-40B4-BE49-F238E27FC236}">
                <a16:creationId xmlns:a16="http://schemas.microsoft.com/office/drawing/2014/main" id="{B7CA920D-A18E-40D3-9C27-20CEE065A8C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85690" y="4123675"/>
            <a:ext cx="2725505" cy="23090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841685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框 2">
            <a:extLst>
              <a:ext uri="{FF2B5EF4-FFF2-40B4-BE49-F238E27FC236}">
                <a16:creationId xmlns:a16="http://schemas.microsoft.com/office/drawing/2014/main" id="{9B60BF93-EA8A-46AD-9628-FAD9C828F3E8}"/>
              </a:ext>
            </a:extLst>
          </p:cNvPr>
          <p:cNvSpPr txBox="1"/>
          <p:nvPr/>
        </p:nvSpPr>
        <p:spPr>
          <a:xfrm>
            <a:off x="669925" y="422414"/>
            <a:ext cx="5454503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4000" b="1" dirty="0"/>
              <a:t>辅助检查</a:t>
            </a:r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D0419606-9448-4B19-B3E7-88D35253775B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66877"/>
          <a:stretch/>
        </p:blipFill>
        <p:spPr>
          <a:xfrm>
            <a:off x="1446102" y="1130300"/>
            <a:ext cx="3072998" cy="863900"/>
          </a:xfrm>
          <a:prstGeom prst="rect">
            <a:avLst/>
          </a:prstGeom>
        </p:spPr>
      </p:pic>
      <p:pic>
        <p:nvPicPr>
          <p:cNvPr id="5" name="图片 4">
            <a:extLst>
              <a:ext uri="{FF2B5EF4-FFF2-40B4-BE49-F238E27FC236}">
                <a16:creationId xmlns:a16="http://schemas.microsoft.com/office/drawing/2014/main" id="{FC810D49-975A-4912-8ECD-98BAFF15007B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b="2602"/>
          <a:stretch/>
        </p:blipFill>
        <p:spPr>
          <a:xfrm>
            <a:off x="1669312" y="1917156"/>
            <a:ext cx="8056180" cy="2803706"/>
          </a:xfrm>
          <a:prstGeom prst="rect">
            <a:avLst/>
          </a:prstGeom>
        </p:spPr>
      </p:pic>
      <p:pic>
        <p:nvPicPr>
          <p:cNvPr id="6" name="图片 5">
            <a:extLst>
              <a:ext uri="{FF2B5EF4-FFF2-40B4-BE49-F238E27FC236}">
                <a16:creationId xmlns:a16="http://schemas.microsoft.com/office/drawing/2014/main" id="{399C8038-8F1F-4EB5-B51F-535B6C4CD5FD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b="40278"/>
          <a:stretch/>
        </p:blipFill>
        <p:spPr>
          <a:xfrm>
            <a:off x="1840557" y="4944144"/>
            <a:ext cx="4764935" cy="1754373"/>
          </a:xfrm>
          <a:prstGeom prst="rect">
            <a:avLst/>
          </a:prstGeom>
        </p:spPr>
      </p:pic>
      <p:pic>
        <p:nvPicPr>
          <p:cNvPr id="7" name="图片 6">
            <a:extLst>
              <a:ext uri="{FF2B5EF4-FFF2-40B4-BE49-F238E27FC236}">
                <a16:creationId xmlns:a16="http://schemas.microsoft.com/office/drawing/2014/main" id="{9DDF4507-8919-4439-BB0D-D08C0464C1EA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60271" b="1896"/>
          <a:stretch/>
        </p:blipFill>
        <p:spPr>
          <a:xfrm>
            <a:off x="4966211" y="5480831"/>
            <a:ext cx="4762492" cy="11113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642318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框 2">
            <a:extLst>
              <a:ext uri="{FF2B5EF4-FFF2-40B4-BE49-F238E27FC236}">
                <a16:creationId xmlns:a16="http://schemas.microsoft.com/office/drawing/2014/main" id="{D08B12B2-BA1A-4444-8321-21AD54E9B832}"/>
              </a:ext>
            </a:extLst>
          </p:cNvPr>
          <p:cNvSpPr txBox="1"/>
          <p:nvPr/>
        </p:nvSpPr>
        <p:spPr>
          <a:xfrm>
            <a:off x="0" y="258431"/>
            <a:ext cx="6985591" cy="830997"/>
          </a:xfrm>
          <a:prstGeom prst="rect">
            <a:avLst/>
          </a:prstGeom>
          <a:solidFill>
            <a:schemeClr val="bg2">
              <a:lumMod val="75000"/>
              <a:alpha val="32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altLang="zh-CN" sz="4800" dirty="0"/>
              <a:t>    </a:t>
            </a:r>
            <a:r>
              <a:rPr lang="zh-CN" altLang="en-US" sz="4800" dirty="0"/>
              <a:t>二、肛裂病人的护理</a:t>
            </a:r>
          </a:p>
        </p:txBody>
      </p:sp>
      <p:sp>
        <p:nvSpPr>
          <p:cNvPr id="2" name="矩形 1">
            <a:extLst>
              <a:ext uri="{FF2B5EF4-FFF2-40B4-BE49-F238E27FC236}">
                <a16:creationId xmlns:a16="http://schemas.microsoft.com/office/drawing/2014/main" id="{F38F8FB6-43C3-44D0-BDB3-811D01C1FB4A}"/>
              </a:ext>
            </a:extLst>
          </p:cNvPr>
          <p:cNvSpPr/>
          <p:nvPr/>
        </p:nvSpPr>
        <p:spPr>
          <a:xfrm>
            <a:off x="669925" y="2042027"/>
            <a:ext cx="10850563" cy="3405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4000" b="1" dirty="0">
                <a:solidFill>
                  <a:srgbClr val="C00000"/>
                </a:solidFill>
              </a:rPr>
              <a:t>肛裂</a:t>
            </a:r>
            <a:r>
              <a:rPr lang="zh-CN" altLang="en-US" sz="3600" dirty="0"/>
              <a:t>是肛管皮肤全层裂伤后形成的小溃疡。方向与肛管纵轴平行</a:t>
            </a:r>
            <a:r>
              <a:rPr lang="en-US" altLang="zh-CN" sz="3600" dirty="0"/>
              <a:t>,</a:t>
            </a:r>
            <a:r>
              <a:rPr lang="zh-CN" altLang="en-US" sz="3600" dirty="0"/>
              <a:t>呈梭形或椭圆形</a:t>
            </a:r>
            <a:r>
              <a:rPr lang="en-US" altLang="zh-CN" sz="3600" dirty="0"/>
              <a:t>,</a:t>
            </a:r>
            <a:r>
              <a:rPr lang="zh-CN" altLang="en-US" sz="3600" dirty="0"/>
              <a:t>常引起肛周剧痛。好</a:t>
            </a:r>
            <a:r>
              <a:rPr lang="zh-CN" altLang="en-US" sz="3600" b="1" dirty="0"/>
              <a:t>发部位多在肛管后正中线</a:t>
            </a:r>
            <a:r>
              <a:rPr lang="en-US" altLang="zh-CN" sz="3600" dirty="0"/>
              <a:t>,</a:t>
            </a:r>
            <a:r>
              <a:rPr lang="zh-CN" altLang="en-US" sz="3600" dirty="0"/>
              <a:t>以青、中年人多见。</a:t>
            </a:r>
            <a:br>
              <a:rPr lang="zh-CN" altLang="en-US" sz="3600" dirty="0"/>
            </a:br>
            <a:endParaRPr lang="zh-CN" altLang="en-US" sz="3600" dirty="0"/>
          </a:p>
        </p:txBody>
      </p:sp>
    </p:spTree>
    <p:extLst>
      <p:ext uri="{BB962C8B-B14F-4D97-AF65-F5344CB8AC3E}">
        <p14:creationId xmlns:p14="http://schemas.microsoft.com/office/powerpoint/2010/main" val="116037765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框 2">
            <a:extLst>
              <a:ext uri="{FF2B5EF4-FFF2-40B4-BE49-F238E27FC236}">
                <a16:creationId xmlns:a16="http://schemas.microsoft.com/office/drawing/2014/main" id="{9B60BF93-EA8A-46AD-9628-FAD9C828F3E8}"/>
              </a:ext>
            </a:extLst>
          </p:cNvPr>
          <p:cNvSpPr txBox="1"/>
          <p:nvPr/>
        </p:nvSpPr>
        <p:spPr>
          <a:xfrm>
            <a:off x="669925" y="422414"/>
            <a:ext cx="5454503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4000" b="1" dirty="0"/>
              <a:t>病 因</a:t>
            </a:r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68A9DCC7-6CDB-463A-A2C8-3FD1CD34E2B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33814" y="1237489"/>
            <a:ext cx="9058503" cy="1659993"/>
          </a:xfrm>
          <a:prstGeom prst="rect">
            <a:avLst/>
          </a:prstGeom>
        </p:spPr>
      </p:pic>
      <p:pic>
        <p:nvPicPr>
          <p:cNvPr id="5" name="图片 4">
            <a:extLst>
              <a:ext uri="{FF2B5EF4-FFF2-40B4-BE49-F238E27FC236}">
                <a16:creationId xmlns:a16="http://schemas.microsoft.com/office/drawing/2014/main" id="{F9D78428-675B-43C7-AC20-3B2720E5EAD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23104" y="3000074"/>
            <a:ext cx="4957371" cy="3620552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33637416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框 2">
            <a:extLst>
              <a:ext uri="{FF2B5EF4-FFF2-40B4-BE49-F238E27FC236}">
                <a16:creationId xmlns:a16="http://schemas.microsoft.com/office/drawing/2014/main" id="{9B60BF93-EA8A-46AD-9628-FAD9C828F3E8}"/>
              </a:ext>
            </a:extLst>
          </p:cNvPr>
          <p:cNvSpPr txBox="1"/>
          <p:nvPr/>
        </p:nvSpPr>
        <p:spPr>
          <a:xfrm>
            <a:off x="669925" y="422414"/>
            <a:ext cx="5454503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4000" b="1" dirty="0"/>
              <a:t>病理生理</a:t>
            </a:r>
          </a:p>
        </p:txBody>
      </p:sp>
      <p:grpSp>
        <p:nvGrpSpPr>
          <p:cNvPr id="4" name="207492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EDD71D49-F617-4784-BE46-2202CCD52BF2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669925" y="1344244"/>
            <a:ext cx="9708299" cy="3738118"/>
            <a:chOff x="673101" y="2989854"/>
            <a:chExt cx="9708299" cy="3738118"/>
          </a:xfrm>
        </p:grpSpPr>
        <p:sp>
          <p:nvSpPr>
            <p:cNvPr id="5" name="ïšlïḍe">
              <a:extLst>
                <a:ext uri="{FF2B5EF4-FFF2-40B4-BE49-F238E27FC236}">
                  <a16:creationId xmlns:a16="http://schemas.microsoft.com/office/drawing/2014/main" id="{DEC2EF27-4700-4D34-845C-24DD054459E8}"/>
                </a:ext>
              </a:extLst>
            </p:cNvPr>
            <p:cNvSpPr/>
            <p:nvPr/>
          </p:nvSpPr>
          <p:spPr>
            <a:xfrm>
              <a:off x="1795775" y="3370309"/>
              <a:ext cx="567702" cy="511936"/>
            </a:xfrm>
            <a:custGeom>
              <a:avLst/>
              <a:gdLst>
                <a:gd name="connsiteX0" fmla="*/ 521432 w 608344"/>
                <a:gd name="connsiteY0" fmla="*/ 370453 h 548582"/>
                <a:gd name="connsiteX1" fmla="*/ 465737 w 608344"/>
                <a:gd name="connsiteY1" fmla="*/ 425787 h 548582"/>
                <a:gd name="connsiteX2" fmla="*/ 442491 w 608344"/>
                <a:gd name="connsiteY2" fmla="*/ 402479 h 548582"/>
                <a:gd name="connsiteX3" fmla="*/ 418201 w 608344"/>
                <a:gd name="connsiteY3" fmla="*/ 426545 h 548582"/>
                <a:gd name="connsiteX4" fmla="*/ 441447 w 608344"/>
                <a:gd name="connsiteY4" fmla="*/ 449948 h 548582"/>
                <a:gd name="connsiteX5" fmla="*/ 465642 w 608344"/>
                <a:gd name="connsiteY5" fmla="*/ 474204 h 548582"/>
                <a:gd name="connsiteX6" fmla="*/ 489932 w 608344"/>
                <a:gd name="connsiteY6" fmla="*/ 450043 h 548582"/>
                <a:gd name="connsiteX7" fmla="*/ 545532 w 608344"/>
                <a:gd name="connsiteY7" fmla="*/ 394709 h 548582"/>
                <a:gd name="connsiteX8" fmla="*/ 481962 w 608344"/>
                <a:gd name="connsiteY8" fmla="*/ 296170 h 548582"/>
                <a:gd name="connsiteX9" fmla="*/ 608344 w 608344"/>
                <a:gd name="connsiteY9" fmla="*/ 422376 h 548582"/>
                <a:gd name="connsiteX10" fmla="*/ 481962 w 608344"/>
                <a:gd name="connsiteY10" fmla="*/ 548582 h 548582"/>
                <a:gd name="connsiteX11" fmla="*/ 355579 w 608344"/>
                <a:gd name="connsiteY11" fmla="*/ 422376 h 548582"/>
                <a:gd name="connsiteX12" fmla="*/ 481962 w 608344"/>
                <a:gd name="connsiteY12" fmla="*/ 296170 h 548582"/>
                <a:gd name="connsiteX13" fmla="*/ 255835 w 608344"/>
                <a:gd name="connsiteY13" fmla="*/ 446 h 548582"/>
                <a:gd name="connsiteX14" fmla="*/ 317801 w 608344"/>
                <a:gd name="connsiteY14" fmla="*/ 13616 h 548582"/>
                <a:gd name="connsiteX15" fmla="*/ 348072 w 608344"/>
                <a:gd name="connsiteY15" fmla="*/ 41661 h 548582"/>
                <a:gd name="connsiteX16" fmla="*/ 381190 w 608344"/>
                <a:gd name="connsiteY16" fmla="*/ 146831 h 548582"/>
                <a:gd name="connsiteX17" fmla="*/ 378913 w 608344"/>
                <a:gd name="connsiteY17" fmla="*/ 156211 h 548582"/>
                <a:gd name="connsiteX18" fmla="*/ 387833 w 608344"/>
                <a:gd name="connsiteY18" fmla="*/ 200458 h 548582"/>
                <a:gd name="connsiteX19" fmla="*/ 366387 w 608344"/>
                <a:gd name="connsiteY19" fmla="*/ 237694 h 548582"/>
                <a:gd name="connsiteX20" fmla="*/ 351393 w 608344"/>
                <a:gd name="connsiteY20" fmla="*/ 278720 h 548582"/>
                <a:gd name="connsiteX21" fmla="*/ 351393 w 608344"/>
                <a:gd name="connsiteY21" fmla="*/ 322873 h 548582"/>
                <a:gd name="connsiteX22" fmla="*/ 317611 w 608344"/>
                <a:gd name="connsiteY22" fmla="*/ 422358 h 548582"/>
                <a:gd name="connsiteX23" fmla="*/ 376635 w 608344"/>
                <a:gd name="connsiteY23" fmla="*/ 548088 h 548582"/>
                <a:gd name="connsiteX24" fmla="*/ 26855 w 608344"/>
                <a:gd name="connsiteY24" fmla="*/ 548088 h 548582"/>
                <a:gd name="connsiteX25" fmla="*/ 0 w 608344"/>
                <a:gd name="connsiteY25" fmla="*/ 521274 h 548582"/>
                <a:gd name="connsiteX26" fmla="*/ 0 w 608344"/>
                <a:gd name="connsiteY26" fmla="*/ 473806 h 548582"/>
                <a:gd name="connsiteX27" fmla="*/ 19453 w 608344"/>
                <a:gd name="connsiteY27" fmla="*/ 432969 h 548582"/>
                <a:gd name="connsiteX28" fmla="*/ 173751 w 608344"/>
                <a:gd name="connsiteY28" fmla="*/ 334242 h 548582"/>
                <a:gd name="connsiteX29" fmla="*/ 176408 w 608344"/>
                <a:gd name="connsiteY29" fmla="*/ 329884 h 548582"/>
                <a:gd name="connsiteX30" fmla="*/ 176408 w 608344"/>
                <a:gd name="connsiteY30" fmla="*/ 278720 h 548582"/>
                <a:gd name="connsiteX31" fmla="*/ 161320 w 608344"/>
                <a:gd name="connsiteY31" fmla="*/ 237694 h 548582"/>
                <a:gd name="connsiteX32" fmla="*/ 139969 w 608344"/>
                <a:gd name="connsiteY32" fmla="*/ 200458 h 548582"/>
                <a:gd name="connsiteX33" fmla="*/ 148320 w 608344"/>
                <a:gd name="connsiteY33" fmla="*/ 156211 h 548582"/>
                <a:gd name="connsiteX34" fmla="*/ 146042 w 608344"/>
                <a:gd name="connsiteY34" fmla="*/ 146736 h 548582"/>
                <a:gd name="connsiteX35" fmla="*/ 145758 w 608344"/>
                <a:gd name="connsiteY35" fmla="*/ 95099 h 548582"/>
                <a:gd name="connsiteX36" fmla="*/ 176029 w 608344"/>
                <a:gd name="connsiteY36" fmla="*/ 42135 h 548582"/>
                <a:gd name="connsiteX37" fmla="*/ 203928 w 608344"/>
                <a:gd name="connsiteY37" fmla="*/ 19017 h 548582"/>
                <a:gd name="connsiteX38" fmla="*/ 231162 w 608344"/>
                <a:gd name="connsiteY38" fmla="*/ 5089 h 548582"/>
                <a:gd name="connsiteX39" fmla="*/ 255835 w 608344"/>
                <a:gd name="connsiteY39" fmla="*/ 446 h 5485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608344" h="548582">
                  <a:moveTo>
                    <a:pt x="521432" y="370453"/>
                  </a:moveTo>
                  <a:lnTo>
                    <a:pt x="465737" y="425787"/>
                  </a:lnTo>
                  <a:lnTo>
                    <a:pt x="442491" y="402479"/>
                  </a:lnTo>
                  <a:lnTo>
                    <a:pt x="418201" y="426545"/>
                  </a:lnTo>
                  <a:lnTo>
                    <a:pt x="441447" y="449948"/>
                  </a:lnTo>
                  <a:lnTo>
                    <a:pt x="465642" y="474204"/>
                  </a:lnTo>
                  <a:lnTo>
                    <a:pt x="489932" y="450043"/>
                  </a:lnTo>
                  <a:lnTo>
                    <a:pt x="545532" y="394709"/>
                  </a:lnTo>
                  <a:close/>
                  <a:moveTo>
                    <a:pt x="481962" y="296170"/>
                  </a:moveTo>
                  <a:cubicBezTo>
                    <a:pt x="551795" y="296170"/>
                    <a:pt x="608344" y="352641"/>
                    <a:pt x="608344" y="422376"/>
                  </a:cubicBezTo>
                  <a:cubicBezTo>
                    <a:pt x="608344" y="492111"/>
                    <a:pt x="551795" y="548582"/>
                    <a:pt x="481962" y="548582"/>
                  </a:cubicBezTo>
                  <a:cubicBezTo>
                    <a:pt x="412129" y="548582"/>
                    <a:pt x="355579" y="492111"/>
                    <a:pt x="355579" y="422376"/>
                  </a:cubicBezTo>
                  <a:cubicBezTo>
                    <a:pt x="355579" y="352641"/>
                    <a:pt x="412129" y="296170"/>
                    <a:pt x="481962" y="296170"/>
                  </a:cubicBezTo>
                  <a:close/>
                  <a:moveTo>
                    <a:pt x="255835" y="446"/>
                  </a:moveTo>
                  <a:cubicBezTo>
                    <a:pt x="282785" y="-1828"/>
                    <a:pt x="303187" y="4899"/>
                    <a:pt x="317801" y="13616"/>
                  </a:cubicBezTo>
                  <a:cubicBezTo>
                    <a:pt x="339721" y="25744"/>
                    <a:pt x="348072" y="41661"/>
                    <a:pt x="348072" y="41661"/>
                  </a:cubicBezTo>
                  <a:cubicBezTo>
                    <a:pt x="348072" y="41661"/>
                    <a:pt x="398176" y="45167"/>
                    <a:pt x="381190" y="146831"/>
                  </a:cubicBezTo>
                  <a:cubicBezTo>
                    <a:pt x="380621" y="149863"/>
                    <a:pt x="379862" y="153085"/>
                    <a:pt x="378913" y="156211"/>
                  </a:cubicBezTo>
                  <a:cubicBezTo>
                    <a:pt x="388592" y="156211"/>
                    <a:pt x="398271" y="163507"/>
                    <a:pt x="387833" y="200458"/>
                  </a:cubicBezTo>
                  <a:cubicBezTo>
                    <a:pt x="379672" y="229262"/>
                    <a:pt x="372080" y="237221"/>
                    <a:pt x="366387" y="237694"/>
                  </a:cubicBezTo>
                  <a:cubicBezTo>
                    <a:pt x="364394" y="250675"/>
                    <a:pt x="359175" y="265076"/>
                    <a:pt x="351393" y="278720"/>
                  </a:cubicBezTo>
                  <a:lnTo>
                    <a:pt x="351393" y="322873"/>
                  </a:lnTo>
                  <a:cubicBezTo>
                    <a:pt x="330232" y="350539"/>
                    <a:pt x="317611" y="385027"/>
                    <a:pt x="317611" y="422358"/>
                  </a:cubicBezTo>
                  <a:cubicBezTo>
                    <a:pt x="317611" y="472764"/>
                    <a:pt x="340480" y="518053"/>
                    <a:pt x="376635" y="548088"/>
                  </a:cubicBezTo>
                  <a:lnTo>
                    <a:pt x="26855" y="548088"/>
                  </a:lnTo>
                  <a:cubicBezTo>
                    <a:pt x="12052" y="548088"/>
                    <a:pt x="0" y="536055"/>
                    <a:pt x="0" y="521274"/>
                  </a:cubicBezTo>
                  <a:lnTo>
                    <a:pt x="0" y="473806"/>
                  </a:lnTo>
                  <a:cubicBezTo>
                    <a:pt x="0" y="457983"/>
                    <a:pt x="7212" y="443013"/>
                    <a:pt x="19453" y="432969"/>
                  </a:cubicBezTo>
                  <a:cubicBezTo>
                    <a:pt x="86638" y="377921"/>
                    <a:pt x="159043" y="341443"/>
                    <a:pt x="173751" y="334242"/>
                  </a:cubicBezTo>
                  <a:cubicBezTo>
                    <a:pt x="175365" y="333484"/>
                    <a:pt x="176408" y="331779"/>
                    <a:pt x="176408" y="329884"/>
                  </a:cubicBezTo>
                  <a:lnTo>
                    <a:pt x="176408" y="278720"/>
                  </a:lnTo>
                  <a:cubicBezTo>
                    <a:pt x="168437" y="265076"/>
                    <a:pt x="163313" y="250675"/>
                    <a:pt x="161320" y="237694"/>
                  </a:cubicBezTo>
                  <a:cubicBezTo>
                    <a:pt x="155627" y="237221"/>
                    <a:pt x="148035" y="229072"/>
                    <a:pt x="139969" y="200458"/>
                  </a:cubicBezTo>
                  <a:cubicBezTo>
                    <a:pt x="129531" y="164170"/>
                    <a:pt x="138925" y="156496"/>
                    <a:pt x="148320" y="156211"/>
                  </a:cubicBezTo>
                  <a:cubicBezTo>
                    <a:pt x="147371" y="153085"/>
                    <a:pt x="146612" y="149863"/>
                    <a:pt x="146042" y="146736"/>
                  </a:cubicBezTo>
                  <a:cubicBezTo>
                    <a:pt x="142436" y="128450"/>
                    <a:pt x="141487" y="111396"/>
                    <a:pt x="145758" y="95099"/>
                  </a:cubicBezTo>
                  <a:cubicBezTo>
                    <a:pt x="150787" y="73212"/>
                    <a:pt x="162744" y="55684"/>
                    <a:pt x="176029" y="42135"/>
                  </a:cubicBezTo>
                  <a:cubicBezTo>
                    <a:pt x="184379" y="33134"/>
                    <a:pt x="193869" y="25459"/>
                    <a:pt x="203928" y="19017"/>
                  </a:cubicBezTo>
                  <a:cubicBezTo>
                    <a:pt x="212183" y="13332"/>
                    <a:pt x="221293" y="8405"/>
                    <a:pt x="231162" y="5089"/>
                  </a:cubicBezTo>
                  <a:cubicBezTo>
                    <a:pt x="238849" y="2625"/>
                    <a:pt x="247105" y="825"/>
                    <a:pt x="255835" y="446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91440" tIns="45720" rIns="91440" bIns="45720" numCol="1" spcCol="1270" anchor="ctr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lvl="0" algn="ctr" defTabSz="9779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en-US" sz="2200" kern="1200"/>
            </a:p>
          </p:txBody>
        </p:sp>
        <p:sp>
          <p:nvSpPr>
            <p:cNvPr id="6" name="íš1iḓè">
              <a:extLst>
                <a:ext uri="{FF2B5EF4-FFF2-40B4-BE49-F238E27FC236}">
                  <a16:creationId xmlns:a16="http://schemas.microsoft.com/office/drawing/2014/main" id="{6864BF74-D052-49D4-B1E4-E98C50B2C120}"/>
                </a:ext>
              </a:extLst>
            </p:cNvPr>
            <p:cNvSpPr/>
            <p:nvPr/>
          </p:nvSpPr>
          <p:spPr bwMode="auto">
            <a:xfrm>
              <a:off x="9824626" y="3359892"/>
              <a:ext cx="556774" cy="553604"/>
            </a:xfrm>
            <a:custGeom>
              <a:avLst/>
              <a:gdLst>
                <a:gd name="T0" fmla="*/ 3682 w 4808"/>
                <a:gd name="T1" fmla="*/ 2763 h 4789"/>
                <a:gd name="T2" fmla="*/ 3420 w 4808"/>
                <a:gd name="T3" fmla="*/ 2703 h 4789"/>
                <a:gd name="T4" fmla="*/ 3026 w 4808"/>
                <a:gd name="T5" fmla="*/ 2392 h 4789"/>
                <a:gd name="T6" fmla="*/ 2818 w 4808"/>
                <a:gd name="T7" fmla="*/ 2517 h 4789"/>
                <a:gd name="T8" fmla="*/ 3219 w 4808"/>
                <a:gd name="T9" fmla="*/ 1876 h 4789"/>
                <a:gd name="T10" fmla="*/ 3609 w 4808"/>
                <a:gd name="T11" fmla="*/ 1953 h 4789"/>
                <a:gd name="T12" fmla="*/ 4553 w 4808"/>
                <a:gd name="T13" fmla="*/ 720 h 4789"/>
                <a:gd name="T14" fmla="*/ 4388 w 4808"/>
                <a:gd name="T15" fmla="*/ 680 h 4789"/>
                <a:gd name="T16" fmla="*/ 3872 w 4808"/>
                <a:gd name="T17" fmla="*/ 1161 h 4789"/>
                <a:gd name="T18" fmla="*/ 3859 w 4808"/>
                <a:gd name="T19" fmla="*/ 1160 h 4789"/>
                <a:gd name="T20" fmla="*/ 3491 w 4808"/>
                <a:gd name="T21" fmla="*/ 1099 h 4789"/>
                <a:gd name="T22" fmla="*/ 3432 w 4808"/>
                <a:gd name="T23" fmla="*/ 731 h 4789"/>
                <a:gd name="T24" fmla="*/ 3454 w 4808"/>
                <a:gd name="T25" fmla="*/ 658 h 4789"/>
                <a:gd name="T26" fmla="*/ 3938 w 4808"/>
                <a:gd name="T27" fmla="*/ 104 h 4789"/>
                <a:gd name="T28" fmla="*/ 3609 w 4808"/>
                <a:gd name="T29" fmla="*/ 0 h 4789"/>
                <a:gd name="T30" fmla="*/ 2710 w 4808"/>
                <a:gd name="T31" fmla="*/ 1369 h 4789"/>
                <a:gd name="T32" fmla="*/ 1300 w 4808"/>
                <a:gd name="T33" fmla="*/ 999 h 4789"/>
                <a:gd name="T34" fmla="*/ 1309 w 4808"/>
                <a:gd name="T35" fmla="*/ 892 h 4789"/>
                <a:gd name="T36" fmla="*/ 865 w 4808"/>
                <a:gd name="T37" fmla="*/ 294 h 4789"/>
                <a:gd name="T38" fmla="*/ 665 w 4808"/>
                <a:gd name="T39" fmla="*/ 298 h 4789"/>
                <a:gd name="T40" fmla="*/ 278 w 4808"/>
                <a:gd name="T41" fmla="*/ 787 h 4789"/>
                <a:gd name="T42" fmla="*/ 630 w 4808"/>
                <a:gd name="T43" fmla="*/ 1163 h 4789"/>
                <a:gd name="T44" fmla="*/ 926 w 4808"/>
                <a:gd name="T45" fmla="*/ 1291 h 4789"/>
                <a:gd name="T46" fmla="*/ 1018 w 4808"/>
                <a:gd name="T47" fmla="*/ 1282 h 4789"/>
                <a:gd name="T48" fmla="*/ 1485 w 4808"/>
                <a:gd name="T49" fmla="*/ 2594 h 4789"/>
                <a:gd name="T50" fmla="*/ 1037 w 4808"/>
                <a:gd name="T51" fmla="*/ 2572 h 4789"/>
                <a:gd name="T52" fmla="*/ 92 w 4808"/>
                <a:gd name="T53" fmla="*/ 3809 h 4789"/>
                <a:gd name="T54" fmla="*/ 186 w 4808"/>
                <a:gd name="T55" fmla="*/ 3882 h 4789"/>
                <a:gd name="T56" fmla="*/ 727 w 4808"/>
                <a:gd name="T57" fmla="*/ 3384 h 4789"/>
                <a:gd name="T58" fmla="*/ 789 w 4808"/>
                <a:gd name="T59" fmla="*/ 3371 h 4789"/>
                <a:gd name="T60" fmla="*/ 796 w 4808"/>
                <a:gd name="T61" fmla="*/ 3372 h 4789"/>
                <a:gd name="T62" fmla="*/ 1218 w 4808"/>
                <a:gd name="T63" fmla="*/ 3798 h 4789"/>
                <a:gd name="T64" fmla="*/ 1192 w 4808"/>
                <a:gd name="T65" fmla="*/ 3873 h 4789"/>
                <a:gd name="T66" fmla="*/ 707 w 4808"/>
                <a:gd name="T67" fmla="*/ 4427 h 4789"/>
                <a:gd name="T68" fmla="*/ 1037 w 4808"/>
                <a:gd name="T69" fmla="*/ 4531 h 4789"/>
                <a:gd name="T70" fmla="*/ 2016 w 4808"/>
                <a:gd name="T71" fmla="*/ 3551 h 4789"/>
                <a:gd name="T72" fmla="*/ 1994 w 4808"/>
                <a:gd name="T73" fmla="*/ 3103 h 4789"/>
                <a:gd name="T74" fmla="*/ 2535 w 4808"/>
                <a:gd name="T75" fmla="*/ 2799 h 4789"/>
                <a:gd name="T76" fmla="*/ 2410 w 4808"/>
                <a:gd name="T77" fmla="*/ 3007 h 4789"/>
                <a:gd name="T78" fmla="*/ 2721 w 4808"/>
                <a:gd name="T79" fmla="*/ 3401 h 4789"/>
                <a:gd name="T80" fmla="*/ 2781 w 4808"/>
                <a:gd name="T81" fmla="*/ 3663 h 4789"/>
                <a:gd name="T82" fmla="*/ 4013 w 4808"/>
                <a:gd name="T83" fmla="*/ 4789 h 4789"/>
                <a:gd name="T84" fmla="*/ 4734 w 4808"/>
                <a:gd name="T85" fmla="*/ 4173 h 4789"/>
                <a:gd name="T86" fmla="*/ 4734 w 4808"/>
                <a:gd name="T87" fmla="*/ 3815 h 47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4808" h="4789">
                  <a:moveTo>
                    <a:pt x="4734" y="3815"/>
                  </a:moveTo>
                  <a:lnTo>
                    <a:pt x="3682" y="2763"/>
                  </a:lnTo>
                  <a:cubicBezTo>
                    <a:pt x="3634" y="2715"/>
                    <a:pt x="3570" y="2689"/>
                    <a:pt x="3502" y="2689"/>
                  </a:cubicBezTo>
                  <a:cubicBezTo>
                    <a:pt x="3474" y="2689"/>
                    <a:pt x="3446" y="2694"/>
                    <a:pt x="3420" y="2703"/>
                  </a:cubicBezTo>
                  <a:lnTo>
                    <a:pt x="3167" y="2450"/>
                  </a:lnTo>
                  <a:cubicBezTo>
                    <a:pt x="3130" y="2413"/>
                    <a:pt x="3079" y="2392"/>
                    <a:pt x="3026" y="2392"/>
                  </a:cubicBezTo>
                  <a:cubicBezTo>
                    <a:pt x="2972" y="2392"/>
                    <a:pt x="2922" y="2413"/>
                    <a:pt x="2884" y="2450"/>
                  </a:cubicBezTo>
                  <a:lnTo>
                    <a:pt x="2818" y="2517"/>
                  </a:lnTo>
                  <a:lnTo>
                    <a:pt x="2699" y="2398"/>
                  </a:lnTo>
                  <a:lnTo>
                    <a:pt x="3219" y="1876"/>
                  </a:lnTo>
                  <a:cubicBezTo>
                    <a:pt x="3340" y="1928"/>
                    <a:pt x="3472" y="1953"/>
                    <a:pt x="3609" y="1953"/>
                  </a:cubicBezTo>
                  <a:lnTo>
                    <a:pt x="3609" y="1953"/>
                  </a:lnTo>
                  <a:cubicBezTo>
                    <a:pt x="3870" y="1953"/>
                    <a:pt x="4116" y="1854"/>
                    <a:pt x="4301" y="1669"/>
                  </a:cubicBezTo>
                  <a:cubicBezTo>
                    <a:pt x="4549" y="1421"/>
                    <a:pt x="4646" y="1059"/>
                    <a:pt x="4553" y="720"/>
                  </a:cubicBezTo>
                  <a:cubicBezTo>
                    <a:pt x="4542" y="678"/>
                    <a:pt x="4502" y="648"/>
                    <a:pt x="4459" y="648"/>
                  </a:cubicBezTo>
                  <a:cubicBezTo>
                    <a:pt x="4441" y="648"/>
                    <a:pt x="4413" y="654"/>
                    <a:pt x="4388" y="680"/>
                  </a:cubicBezTo>
                  <a:cubicBezTo>
                    <a:pt x="4384" y="683"/>
                    <a:pt x="4034" y="1030"/>
                    <a:pt x="3918" y="1146"/>
                  </a:cubicBezTo>
                  <a:cubicBezTo>
                    <a:pt x="3906" y="1159"/>
                    <a:pt x="3885" y="1161"/>
                    <a:pt x="3872" y="1161"/>
                  </a:cubicBezTo>
                  <a:cubicBezTo>
                    <a:pt x="3864" y="1161"/>
                    <a:pt x="3859" y="1160"/>
                    <a:pt x="3859" y="1160"/>
                  </a:cubicBezTo>
                  <a:lnTo>
                    <a:pt x="3859" y="1160"/>
                  </a:lnTo>
                  <a:lnTo>
                    <a:pt x="3851" y="1159"/>
                  </a:lnTo>
                  <a:cubicBezTo>
                    <a:pt x="3707" y="1146"/>
                    <a:pt x="3535" y="1119"/>
                    <a:pt x="3491" y="1099"/>
                  </a:cubicBezTo>
                  <a:cubicBezTo>
                    <a:pt x="3470" y="1055"/>
                    <a:pt x="3445" y="879"/>
                    <a:pt x="3432" y="733"/>
                  </a:cubicBezTo>
                  <a:lnTo>
                    <a:pt x="3432" y="731"/>
                  </a:lnTo>
                  <a:lnTo>
                    <a:pt x="3429" y="727"/>
                  </a:lnTo>
                  <a:cubicBezTo>
                    <a:pt x="3428" y="720"/>
                    <a:pt x="3425" y="687"/>
                    <a:pt x="3454" y="658"/>
                  </a:cubicBezTo>
                  <a:cubicBezTo>
                    <a:pt x="3574" y="538"/>
                    <a:pt x="3905" y="204"/>
                    <a:pt x="3908" y="201"/>
                  </a:cubicBezTo>
                  <a:cubicBezTo>
                    <a:pt x="3936" y="173"/>
                    <a:pt x="3947" y="138"/>
                    <a:pt x="3938" y="104"/>
                  </a:cubicBezTo>
                  <a:cubicBezTo>
                    <a:pt x="3927" y="64"/>
                    <a:pt x="3893" y="42"/>
                    <a:pt x="3865" y="34"/>
                  </a:cubicBezTo>
                  <a:cubicBezTo>
                    <a:pt x="3782" y="11"/>
                    <a:pt x="3695" y="0"/>
                    <a:pt x="3609" y="0"/>
                  </a:cubicBezTo>
                  <a:cubicBezTo>
                    <a:pt x="3347" y="0"/>
                    <a:pt x="3101" y="102"/>
                    <a:pt x="2916" y="287"/>
                  </a:cubicBezTo>
                  <a:cubicBezTo>
                    <a:pt x="2624" y="579"/>
                    <a:pt x="2555" y="1011"/>
                    <a:pt x="2710" y="1369"/>
                  </a:cubicBezTo>
                  <a:lnTo>
                    <a:pt x="2190" y="1889"/>
                  </a:lnTo>
                  <a:lnTo>
                    <a:pt x="1300" y="999"/>
                  </a:lnTo>
                  <a:cubicBezTo>
                    <a:pt x="1300" y="998"/>
                    <a:pt x="1299" y="998"/>
                    <a:pt x="1299" y="997"/>
                  </a:cubicBezTo>
                  <a:cubicBezTo>
                    <a:pt x="1307" y="963"/>
                    <a:pt x="1311" y="928"/>
                    <a:pt x="1309" y="892"/>
                  </a:cubicBezTo>
                  <a:cubicBezTo>
                    <a:pt x="1305" y="788"/>
                    <a:pt x="1260" y="689"/>
                    <a:pt x="1182" y="611"/>
                  </a:cubicBezTo>
                  <a:lnTo>
                    <a:pt x="865" y="294"/>
                  </a:lnTo>
                  <a:cubicBezTo>
                    <a:pt x="858" y="288"/>
                    <a:pt x="821" y="253"/>
                    <a:pt x="766" y="253"/>
                  </a:cubicBezTo>
                  <a:cubicBezTo>
                    <a:pt x="740" y="253"/>
                    <a:pt x="702" y="261"/>
                    <a:pt x="665" y="298"/>
                  </a:cubicBezTo>
                  <a:lnTo>
                    <a:pt x="318" y="645"/>
                  </a:lnTo>
                  <a:cubicBezTo>
                    <a:pt x="277" y="685"/>
                    <a:pt x="263" y="737"/>
                    <a:pt x="278" y="787"/>
                  </a:cubicBezTo>
                  <a:cubicBezTo>
                    <a:pt x="288" y="820"/>
                    <a:pt x="308" y="842"/>
                    <a:pt x="314" y="848"/>
                  </a:cubicBezTo>
                  <a:lnTo>
                    <a:pt x="630" y="1163"/>
                  </a:lnTo>
                  <a:cubicBezTo>
                    <a:pt x="712" y="1246"/>
                    <a:pt x="817" y="1291"/>
                    <a:pt x="926" y="1291"/>
                  </a:cubicBezTo>
                  <a:lnTo>
                    <a:pt x="926" y="1291"/>
                  </a:lnTo>
                  <a:cubicBezTo>
                    <a:pt x="957" y="1291"/>
                    <a:pt x="987" y="1287"/>
                    <a:pt x="1016" y="1280"/>
                  </a:cubicBezTo>
                  <a:cubicBezTo>
                    <a:pt x="1017" y="1281"/>
                    <a:pt x="1017" y="1281"/>
                    <a:pt x="1018" y="1282"/>
                  </a:cubicBezTo>
                  <a:lnTo>
                    <a:pt x="1907" y="2171"/>
                  </a:lnTo>
                  <a:lnTo>
                    <a:pt x="1485" y="2594"/>
                  </a:lnTo>
                  <a:cubicBezTo>
                    <a:pt x="1466" y="2613"/>
                    <a:pt x="1449" y="2634"/>
                    <a:pt x="1435" y="2656"/>
                  </a:cubicBezTo>
                  <a:cubicBezTo>
                    <a:pt x="1311" y="2601"/>
                    <a:pt x="1176" y="2572"/>
                    <a:pt x="1037" y="2572"/>
                  </a:cubicBezTo>
                  <a:cubicBezTo>
                    <a:pt x="775" y="2572"/>
                    <a:pt x="529" y="2674"/>
                    <a:pt x="344" y="2859"/>
                  </a:cubicBezTo>
                  <a:cubicBezTo>
                    <a:pt x="96" y="3106"/>
                    <a:pt x="0" y="3471"/>
                    <a:pt x="92" y="3809"/>
                  </a:cubicBezTo>
                  <a:cubicBezTo>
                    <a:pt x="103" y="3852"/>
                    <a:pt x="143" y="3882"/>
                    <a:pt x="186" y="3882"/>
                  </a:cubicBezTo>
                  <a:lnTo>
                    <a:pt x="186" y="3882"/>
                  </a:lnTo>
                  <a:cubicBezTo>
                    <a:pt x="204" y="3882"/>
                    <a:pt x="232" y="3877"/>
                    <a:pt x="258" y="3851"/>
                  </a:cubicBezTo>
                  <a:cubicBezTo>
                    <a:pt x="261" y="3847"/>
                    <a:pt x="611" y="3500"/>
                    <a:pt x="727" y="3384"/>
                  </a:cubicBezTo>
                  <a:cubicBezTo>
                    <a:pt x="740" y="3372"/>
                    <a:pt x="762" y="3370"/>
                    <a:pt x="774" y="3370"/>
                  </a:cubicBezTo>
                  <a:cubicBezTo>
                    <a:pt x="783" y="3370"/>
                    <a:pt x="789" y="3371"/>
                    <a:pt x="789" y="3371"/>
                  </a:cubicBezTo>
                  <a:lnTo>
                    <a:pt x="789" y="3371"/>
                  </a:lnTo>
                  <a:lnTo>
                    <a:pt x="796" y="3372"/>
                  </a:lnTo>
                  <a:cubicBezTo>
                    <a:pt x="940" y="3385"/>
                    <a:pt x="1113" y="3411"/>
                    <a:pt x="1157" y="3431"/>
                  </a:cubicBezTo>
                  <a:cubicBezTo>
                    <a:pt x="1178" y="3475"/>
                    <a:pt x="1205" y="3652"/>
                    <a:pt x="1218" y="3798"/>
                  </a:cubicBezTo>
                  <a:lnTo>
                    <a:pt x="1219" y="3805"/>
                  </a:lnTo>
                  <a:cubicBezTo>
                    <a:pt x="1219" y="3805"/>
                    <a:pt x="1223" y="3842"/>
                    <a:pt x="1192" y="3873"/>
                  </a:cubicBezTo>
                  <a:cubicBezTo>
                    <a:pt x="1072" y="3993"/>
                    <a:pt x="741" y="4327"/>
                    <a:pt x="738" y="4330"/>
                  </a:cubicBezTo>
                  <a:cubicBezTo>
                    <a:pt x="710" y="4358"/>
                    <a:pt x="699" y="4393"/>
                    <a:pt x="707" y="4427"/>
                  </a:cubicBezTo>
                  <a:cubicBezTo>
                    <a:pt x="718" y="4467"/>
                    <a:pt x="752" y="4489"/>
                    <a:pt x="780" y="4497"/>
                  </a:cubicBezTo>
                  <a:cubicBezTo>
                    <a:pt x="864" y="4519"/>
                    <a:pt x="950" y="4531"/>
                    <a:pt x="1037" y="4531"/>
                  </a:cubicBezTo>
                  <a:cubicBezTo>
                    <a:pt x="1298" y="4531"/>
                    <a:pt x="1544" y="4429"/>
                    <a:pt x="1729" y="4244"/>
                  </a:cubicBezTo>
                  <a:cubicBezTo>
                    <a:pt x="1914" y="4059"/>
                    <a:pt x="2016" y="3813"/>
                    <a:pt x="2016" y="3551"/>
                  </a:cubicBezTo>
                  <a:cubicBezTo>
                    <a:pt x="2016" y="3412"/>
                    <a:pt x="1987" y="3277"/>
                    <a:pt x="1932" y="3153"/>
                  </a:cubicBezTo>
                  <a:cubicBezTo>
                    <a:pt x="1954" y="3139"/>
                    <a:pt x="1975" y="3122"/>
                    <a:pt x="1994" y="3103"/>
                  </a:cubicBezTo>
                  <a:lnTo>
                    <a:pt x="2417" y="2681"/>
                  </a:lnTo>
                  <a:lnTo>
                    <a:pt x="2535" y="2799"/>
                  </a:lnTo>
                  <a:lnTo>
                    <a:pt x="2469" y="2866"/>
                  </a:lnTo>
                  <a:cubicBezTo>
                    <a:pt x="2431" y="2904"/>
                    <a:pt x="2410" y="2954"/>
                    <a:pt x="2410" y="3007"/>
                  </a:cubicBezTo>
                  <a:cubicBezTo>
                    <a:pt x="2410" y="3061"/>
                    <a:pt x="2431" y="3111"/>
                    <a:pt x="2469" y="3149"/>
                  </a:cubicBezTo>
                  <a:lnTo>
                    <a:pt x="2721" y="3401"/>
                  </a:lnTo>
                  <a:cubicBezTo>
                    <a:pt x="2712" y="3427"/>
                    <a:pt x="2707" y="3455"/>
                    <a:pt x="2707" y="3484"/>
                  </a:cubicBezTo>
                  <a:cubicBezTo>
                    <a:pt x="2707" y="3552"/>
                    <a:pt x="2734" y="3615"/>
                    <a:pt x="2781" y="3663"/>
                  </a:cubicBezTo>
                  <a:lnTo>
                    <a:pt x="3834" y="4715"/>
                  </a:lnTo>
                  <a:cubicBezTo>
                    <a:pt x="3881" y="4763"/>
                    <a:pt x="3945" y="4789"/>
                    <a:pt x="4013" y="4789"/>
                  </a:cubicBezTo>
                  <a:cubicBezTo>
                    <a:pt x="4081" y="4789"/>
                    <a:pt x="4144" y="4763"/>
                    <a:pt x="4192" y="4715"/>
                  </a:cubicBezTo>
                  <a:lnTo>
                    <a:pt x="4734" y="4173"/>
                  </a:lnTo>
                  <a:cubicBezTo>
                    <a:pt x="4782" y="4126"/>
                    <a:pt x="4808" y="4062"/>
                    <a:pt x="4808" y="3994"/>
                  </a:cubicBezTo>
                  <a:cubicBezTo>
                    <a:pt x="4808" y="3926"/>
                    <a:pt x="4782" y="3863"/>
                    <a:pt x="4734" y="3815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wrap="square" lIns="91440" tIns="45720" rIns="91440" bIns="45720">
              <a:normAutofit/>
            </a:bodyPr>
            <a:lstStyle/>
            <a:p>
              <a:endParaRPr lang="zh-CN" altLang="en-US"/>
            </a:p>
          </p:txBody>
        </p:sp>
        <p:sp>
          <p:nvSpPr>
            <p:cNvPr id="7" name="íṣļíḓê">
              <a:extLst>
                <a:ext uri="{FF2B5EF4-FFF2-40B4-BE49-F238E27FC236}">
                  <a16:creationId xmlns:a16="http://schemas.microsoft.com/office/drawing/2014/main" id="{4A7C1E71-B5AB-451F-A35A-9E192BBB3CB5}"/>
                </a:ext>
              </a:extLst>
            </p:cNvPr>
            <p:cNvSpPr/>
            <p:nvPr/>
          </p:nvSpPr>
          <p:spPr>
            <a:xfrm>
              <a:off x="3476625" y="2989854"/>
              <a:ext cx="5238750" cy="2095500"/>
            </a:xfrm>
            <a:prstGeom prst="leftRightRibbon">
              <a:avLst>
                <a:gd name="adj1" fmla="val 50000"/>
                <a:gd name="adj2" fmla="val 50000"/>
                <a:gd name="adj3" fmla="val 17379"/>
              </a:avLst>
            </a:prstGeom>
            <a:solidFill>
              <a:schemeClr val="bg1">
                <a:lumMod val="85000"/>
              </a:schemeClr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zh-CN" altLang="en-US"/>
            </a:p>
          </p:txBody>
        </p:sp>
        <p:sp>
          <p:nvSpPr>
            <p:cNvPr id="8" name="iṩľîḑe">
              <a:extLst>
                <a:ext uri="{FF2B5EF4-FFF2-40B4-BE49-F238E27FC236}">
                  <a16:creationId xmlns:a16="http://schemas.microsoft.com/office/drawing/2014/main" id="{5F513A8F-932D-48FF-96F5-2EFBAF034484}"/>
                </a:ext>
              </a:extLst>
            </p:cNvPr>
            <p:cNvSpPr txBox="1"/>
            <p:nvPr/>
          </p:nvSpPr>
          <p:spPr bwMode="auto">
            <a:xfrm>
              <a:off x="3639512" y="3474410"/>
              <a:ext cx="2796630" cy="899812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zh-CN" altLang="en-US" sz="2800" b="1" dirty="0">
                  <a:solidFill>
                    <a:schemeClr val="accent1"/>
                  </a:solidFill>
                </a:rPr>
                <a:t>急性肛裂</a:t>
              </a:r>
              <a:endParaRPr lang="en-US" altLang="zh-CN" sz="2800" b="1" dirty="0">
                <a:solidFill>
                  <a:schemeClr val="accent1"/>
                </a:solidFill>
              </a:endParaRPr>
            </a:p>
          </p:txBody>
        </p:sp>
        <p:sp>
          <p:nvSpPr>
            <p:cNvPr id="9" name="ïSḻiḓé">
              <a:extLst>
                <a:ext uri="{FF2B5EF4-FFF2-40B4-BE49-F238E27FC236}">
                  <a16:creationId xmlns:a16="http://schemas.microsoft.com/office/drawing/2014/main" id="{6A7AD702-ED28-40DE-9525-6CE8610BC697}"/>
                </a:ext>
              </a:extLst>
            </p:cNvPr>
            <p:cNvSpPr txBox="1"/>
            <p:nvPr/>
          </p:nvSpPr>
          <p:spPr bwMode="auto">
            <a:xfrm>
              <a:off x="5595636" y="3744178"/>
              <a:ext cx="2796630" cy="899812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zh-CN" altLang="en-US" sz="2800" b="1" dirty="0">
                  <a:solidFill>
                    <a:schemeClr val="accent1"/>
                  </a:solidFill>
                </a:rPr>
                <a:t>慢性肛裂</a:t>
              </a:r>
              <a:endParaRPr lang="en-US" altLang="zh-CN" sz="2800" b="1" dirty="0">
                <a:solidFill>
                  <a:schemeClr val="accent1"/>
                </a:solidFill>
              </a:endParaRPr>
            </a:p>
          </p:txBody>
        </p:sp>
        <p:sp>
          <p:nvSpPr>
            <p:cNvPr id="13" name="íşlïḍe">
              <a:extLst>
                <a:ext uri="{FF2B5EF4-FFF2-40B4-BE49-F238E27FC236}">
                  <a16:creationId xmlns:a16="http://schemas.microsoft.com/office/drawing/2014/main" id="{43F97E8C-8958-4D43-AC81-3CEDD5458B9B}"/>
                </a:ext>
              </a:extLst>
            </p:cNvPr>
            <p:cNvSpPr txBox="1"/>
            <p:nvPr/>
          </p:nvSpPr>
          <p:spPr bwMode="auto">
            <a:xfrm>
              <a:off x="673101" y="4250995"/>
              <a:ext cx="2813050" cy="24769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>
              <a:normAutofit lnSpcReduction="10000"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lnSpc>
                  <a:spcPct val="150000"/>
                </a:lnSpc>
                <a:spcBef>
                  <a:spcPct val="0"/>
                </a:spcBef>
              </a:pPr>
              <a:r>
                <a:rPr lang="zh-CN" altLang="en-US" sz="2800" b="1" dirty="0"/>
                <a:t>底浅</a:t>
              </a:r>
              <a:endParaRPr lang="en-US" altLang="zh-CN" sz="2800" b="1" dirty="0"/>
            </a:p>
            <a:p>
              <a:pPr algn="ctr" eaLnBrk="1" hangingPunct="1">
                <a:lnSpc>
                  <a:spcPct val="150000"/>
                </a:lnSpc>
                <a:spcBef>
                  <a:spcPct val="0"/>
                </a:spcBef>
                <a:buFontTx/>
                <a:buNone/>
              </a:pPr>
              <a:r>
                <a:rPr lang="zh-CN" altLang="en-US" sz="2800" b="1" dirty="0"/>
                <a:t>呈红色</a:t>
              </a:r>
              <a:endParaRPr lang="en-US" altLang="zh-CN" sz="2800" b="1" dirty="0"/>
            </a:p>
            <a:p>
              <a:pPr algn="ctr">
                <a:lnSpc>
                  <a:spcPct val="150000"/>
                </a:lnSpc>
                <a:spcBef>
                  <a:spcPct val="0"/>
                </a:spcBef>
              </a:pPr>
              <a:r>
                <a:rPr lang="zh-CN" altLang="en-US" sz="2800" b="1" dirty="0"/>
                <a:t>有弹性</a:t>
              </a:r>
              <a:endParaRPr lang="en-US" altLang="zh-CN" sz="2800" b="1" dirty="0"/>
            </a:p>
            <a:p>
              <a:pPr algn="ctr">
                <a:lnSpc>
                  <a:spcPct val="150000"/>
                </a:lnSpc>
                <a:spcBef>
                  <a:spcPct val="0"/>
                </a:spcBef>
              </a:pPr>
              <a:r>
                <a:rPr lang="zh-CN" altLang="en-US" sz="2800" b="1" dirty="0"/>
                <a:t>边缘整齐</a:t>
              </a:r>
              <a:endParaRPr lang="en-US" altLang="zh-CN" sz="2800" b="1" dirty="0"/>
            </a:p>
          </p:txBody>
        </p:sp>
      </p:grpSp>
      <p:sp>
        <p:nvSpPr>
          <p:cNvPr id="18" name="íşlïḍe">
            <a:extLst>
              <a:ext uri="{FF2B5EF4-FFF2-40B4-BE49-F238E27FC236}">
                <a16:creationId xmlns:a16="http://schemas.microsoft.com/office/drawing/2014/main" id="{C1226651-B5ED-405F-BCAA-8A5E23F1A414}"/>
              </a:ext>
            </a:extLst>
          </p:cNvPr>
          <p:cNvSpPr txBox="1"/>
          <p:nvPr/>
        </p:nvSpPr>
        <p:spPr bwMode="auto">
          <a:xfrm>
            <a:off x="8509690" y="2428174"/>
            <a:ext cx="3292449" cy="34835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50000"/>
              </a:lnSpc>
              <a:spcBef>
                <a:spcPct val="0"/>
              </a:spcBef>
            </a:pPr>
            <a:r>
              <a:rPr lang="zh-CN" altLang="en-US" sz="2800" b="1" dirty="0"/>
              <a:t>底深</a:t>
            </a:r>
            <a:endParaRPr lang="en-US" altLang="zh-CN" sz="2800" b="1" dirty="0"/>
          </a:p>
          <a:p>
            <a:pPr algn="ctr">
              <a:lnSpc>
                <a:spcPct val="150000"/>
              </a:lnSpc>
              <a:spcBef>
                <a:spcPct val="0"/>
              </a:spcBef>
            </a:pPr>
            <a:r>
              <a:rPr lang="zh-CN" altLang="en-US" sz="2800" b="1" dirty="0"/>
              <a:t>质硬</a:t>
            </a:r>
            <a:endParaRPr lang="en-US" altLang="zh-CN" sz="2800" b="1" dirty="0"/>
          </a:p>
          <a:p>
            <a:pPr algn="ctr">
              <a:lnSpc>
                <a:spcPct val="150000"/>
              </a:lnSpc>
              <a:spcBef>
                <a:spcPct val="0"/>
              </a:spcBef>
            </a:pPr>
            <a:r>
              <a:rPr lang="zh-CN" altLang="en-US" sz="2800" b="1" dirty="0"/>
              <a:t>边缘不整齐</a:t>
            </a:r>
            <a:endParaRPr lang="en-US" altLang="zh-CN" sz="2800" b="1" dirty="0"/>
          </a:p>
          <a:p>
            <a:pPr algn="ctr">
              <a:lnSpc>
                <a:spcPct val="150000"/>
              </a:lnSpc>
              <a:spcBef>
                <a:spcPct val="0"/>
              </a:spcBef>
            </a:pPr>
            <a:r>
              <a:rPr lang="zh-CN" altLang="en-US" sz="2800" b="1" dirty="0"/>
              <a:t>肉芽呈灰白色</a:t>
            </a:r>
            <a:endParaRPr lang="en-US" altLang="zh-CN" sz="2800" b="1" dirty="0"/>
          </a:p>
          <a:p>
            <a:pPr algn="ctr">
              <a:lnSpc>
                <a:spcPct val="150000"/>
              </a:lnSpc>
              <a:spcBef>
                <a:spcPct val="0"/>
              </a:spcBef>
            </a:pPr>
            <a:r>
              <a:rPr lang="zh-CN" altLang="en-US" sz="2800" b="1" dirty="0"/>
              <a:t>基底及边缘纤维化</a:t>
            </a:r>
            <a:endParaRPr lang="en-US" altLang="zh-CN" sz="2800" b="1" dirty="0"/>
          </a:p>
          <a:p>
            <a:pPr algn="ctr" eaLnBrk="1" hangingPunct="1">
              <a:lnSpc>
                <a:spcPct val="150000"/>
              </a:lnSpc>
              <a:spcBef>
                <a:spcPct val="0"/>
              </a:spcBef>
              <a:buFontTx/>
              <a:buNone/>
            </a:pPr>
            <a:endParaRPr lang="en-US" altLang="zh-CN" sz="2800" b="1" dirty="0"/>
          </a:p>
        </p:txBody>
      </p:sp>
      <p:sp>
        <p:nvSpPr>
          <p:cNvPr id="2" name="对话气泡: 圆角矩形 1">
            <a:extLst>
              <a:ext uri="{FF2B5EF4-FFF2-40B4-BE49-F238E27FC236}">
                <a16:creationId xmlns:a16="http://schemas.microsoft.com/office/drawing/2014/main" id="{192A0A59-D597-4B5B-9EC1-55E622808087}"/>
              </a:ext>
            </a:extLst>
          </p:cNvPr>
          <p:cNvSpPr/>
          <p:nvPr/>
        </p:nvSpPr>
        <p:spPr>
          <a:xfrm>
            <a:off x="3009015" y="4146698"/>
            <a:ext cx="5645887" cy="2562447"/>
          </a:xfrm>
          <a:prstGeom prst="wedgeRoundRectCallout">
            <a:avLst>
              <a:gd name="adj1" fmla="val 23169"/>
              <a:gd name="adj2" fmla="val -87125"/>
              <a:gd name="adj3" fmla="val 16667"/>
            </a:avLst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50000"/>
              </a:lnSpc>
            </a:pPr>
            <a:r>
              <a:rPr lang="zh-CN" altLang="en-US" sz="3600" b="1" dirty="0">
                <a:solidFill>
                  <a:srgbClr val="C00000"/>
                </a:solidFill>
              </a:rPr>
              <a:t>肛裂“三联症”</a:t>
            </a:r>
            <a:r>
              <a:rPr lang="zh-CN" altLang="en-US" sz="3600" b="1" dirty="0">
                <a:solidFill>
                  <a:schemeClr val="tx1"/>
                </a:solidFill>
              </a:rPr>
              <a:t>：</a:t>
            </a:r>
            <a:endParaRPr lang="en-US" altLang="zh-CN" sz="3600" b="1" dirty="0">
              <a:solidFill>
                <a:schemeClr val="tx1"/>
              </a:solidFill>
            </a:endParaRPr>
          </a:p>
          <a:p>
            <a:pPr algn="ctr">
              <a:lnSpc>
                <a:spcPct val="150000"/>
              </a:lnSpc>
            </a:pPr>
            <a:r>
              <a:rPr lang="zh-CN" altLang="en-US" sz="3600" b="1" dirty="0">
                <a:solidFill>
                  <a:schemeClr val="tx1"/>
                </a:solidFill>
              </a:rPr>
              <a:t>肛裂、前哨痔、肥大乳头</a:t>
            </a:r>
            <a:endParaRPr lang="en-US" altLang="zh-CN" sz="3600" b="1" dirty="0">
              <a:solidFill>
                <a:schemeClr val="tx1"/>
              </a:solidFill>
            </a:endParaRPr>
          </a:p>
          <a:p>
            <a:pPr algn="ctr"/>
            <a:r>
              <a:rPr lang="zh-CN" altLang="en-US" sz="3200" dirty="0">
                <a:solidFill>
                  <a:schemeClr val="tx1"/>
                </a:solidFill>
              </a:rPr>
              <a:t>同时出现</a:t>
            </a:r>
          </a:p>
        </p:txBody>
      </p:sp>
    </p:spTree>
    <p:extLst>
      <p:ext uri="{BB962C8B-B14F-4D97-AF65-F5344CB8AC3E}">
        <p14:creationId xmlns:p14="http://schemas.microsoft.com/office/powerpoint/2010/main" val="227968819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框 2">
            <a:extLst>
              <a:ext uri="{FF2B5EF4-FFF2-40B4-BE49-F238E27FC236}">
                <a16:creationId xmlns:a16="http://schemas.microsoft.com/office/drawing/2014/main" id="{9B60BF93-EA8A-46AD-9628-FAD9C828F3E8}"/>
              </a:ext>
            </a:extLst>
          </p:cNvPr>
          <p:cNvSpPr txBox="1"/>
          <p:nvPr/>
        </p:nvSpPr>
        <p:spPr>
          <a:xfrm>
            <a:off x="669925" y="422414"/>
            <a:ext cx="5454503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4000" b="1" dirty="0"/>
              <a:t>临床表现</a:t>
            </a:r>
          </a:p>
        </p:txBody>
      </p:sp>
      <p:pic>
        <p:nvPicPr>
          <p:cNvPr id="2" name="图片 1">
            <a:extLst>
              <a:ext uri="{FF2B5EF4-FFF2-40B4-BE49-F238E27FC236}">
                <a16:creationId xmlns:a16="http://schemas.microsoft.com/office/drawing/2014/main" id="{DA9C58D8-6303-43F9-8A8C-483248A46065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3581"/>
          <a:stretch/>
        </p:blipFill>
        <p:spPr>
          <a:xfrm>
            <a:off x="1456661" y="1534400"/>
            <a:ext cx="10346476" cy="47060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755180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框 2">
            <a:extLst>
              <a:ext uri="{FF2B5EF4-FFF2-40B4-BE49-F238E27FC236}">
                <a16:creationId xmlns:a16="http://schemas.microsoft.com/office/drawing/2014/main" id="{9B60BF93-EA8A-46AD-9628-FAD9C828F3E8}"/>
              </a:ext>
            </a:extLst>
          </p:cNvPr>
          <p:cNvSpPr txBox="1"/>
          <p:nvPr/>
        </p:nvSpPr>
        <p:spPr>
          <a:xfrm>
            <a:off x="669925" y="422414"/>
            <a:ext cx="5454503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4000" b="1" dirty="0"/>
              <a:t>辅助检查</a:t>
            </a:r>
          </a:p>
        </p:txBody>
      </p:sp>
      <p:pic>
        <p:nvPicPr>
          <p:cNvPr id="2" name="图片 1">
            <a:extLst>
              <a:ext uri="{FF2B5EF4-FFF2-40B4-BE49-F238E27FC236}">
                <a16:creationId xmlns:a16="http://schemas.microsoft.com/office/drawing/2014/main" id="{548B2818-F0EF-44BB-9A20-9A88B52960B0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3296" t="4478"/>
          <a:stretch/>
        </p:blipFill>
        <p:spPr>
          <a:xfrm>
            <a:off x="1426701" y="1828801"/>
            <a:ext cx="10171040" cy="41383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399422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框 2">
            <a:extLst>
              <a:ext uri="{FF2B5EF4-FFF2-40B4-BE49-F238E27FC236}">
                <a16:creationId xmlns:a16="http://schemas.microsoft.com/office/drawing/2014/main" id="{9B60BF93-EA8A-46AD-9628-FAD9C828F3E8}"/>
              </a:ext>
            </a:extLst>
          </p:cNvPr>
          <p:cNvSpPr txBox="1"/>
          <p:nvPr/>
        </p:nvSpPr>
        <p:spPr>
          <a:xfrm>
            <a:off x="669925" y="422414"/>
            <a:ext cx="5454503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4000" b="1" dirty="0"/>
              <a:t>处理原则</a:t>
            </a:r>
          </a:p>
        </p:txBody>
      </p:sp>
      <p:pic>
        <p:nvPicPr>
          <p:cNvPr id="2" name="图片 1">
            <a:extLst>
              <a:ext uri="{FF2B5EF4-FFF2-40B4-BE49-F238E27FC236}">
                <a16:creationId xmlns:a16="http://schemas.microsoft.com/office/drawing/2014/main" id="{CAD0B7A1-58F5-48B7-9DE8-BAF39195AD05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8687"/>
          <a:stretch/>
        </p:blipFill>
        <p:spPr>
          <a:xfrm>
            <a:off x="1403487" y="3007244"/>
            <a:ext cx="4077924" cy="2981175"/>
          </a:xfrm>
          <a:prstGeom prst="rect">
            <a:avLst/>
          </a:prstGeom>
        </p:spPr>
      </p:pic>
      <p:sp>
        <p:nvSpPr>
          <p:cNvPr id="4" name="矩形 3">
            <a:extLst>
              <a:ext uri="{FF2B5EF4-FFF2-40B4-BE49-F238E27FC236}">
                <a16:creationId xmlns:a16="http://schemas.microsoft.com/office/drawing/2014/main" id="{78022FED-C160-4DB0-B568-EE3B0D53496E}"/>
              </a:ext>
            </a:extLst>
          </p:cNvPr>
          <p:cNvSpPr/>
          <p:nvPr/>
        </p:nvSpPr>
        <p:spPr>
          <a:xfrm>
            <a:off x="669926" y="1330198"/>
            <a:ext cx="10850562" cy="14818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3200" dirty="0"/>
              <a:t>软化大便，保持大便通畅</a:t>
            </a:r>
            <a:r>
              <a:rPr lang="en-US" altLang="zh-CN" sz="3200" dirty="0"/>
              <a:t>; </a:t>
            </a:r>
            <a:r>
              <a:rPr lang="zh-CN" altLang="en-US" sz="3200" dirty="0"/>
              <a:t>解除肛门括约肌痉挛，缓解疼痛，中断恶性循环，促进局部创面愈合。</a:t>
            </a:r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88B01D3F-32EE-4A6C-A4EB-4B7410F7DDE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646518" y="2981294"/>
            <a:ext cx="6598649" cy="38767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674797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框 2">
            <a:extLst>
              <a:ext uri="{FF2B5EF4-FFF2-40B4-BE49-F238E27FC236}">
                <a16:creationId xmlns:a16="http://schemas.microsoft.com/office/drawing/2014/main" id="{9B60BF93-EA8A-46AD-9628-FAD9C828F3E8}"/>
              </a:ext>
            </a:extLst>
          </p:cNvPr>
          <p:cNvSpPr txBox="1"/>
          <p:nvPr/>
        </p:nvSpPr>
        <p:spPr>
          <a:xfrm>
            <a:off x="669925" y="422414"/>
            <a:ext cx="5454503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4000" b="1" dirty="0"/>
              <a:t>常见护理诊断</a:t>
            </a:r>
            <a:r>
              <a:rPr lang="en-US" altLang="zh-CN" sz="4000" b="1" dirty="0"/>
              <a:t>/</a:t>
            </a:r>
            <a:r>
              <a:rPr lang="zh-CN" altLang="en-US" sz="4000" b="1" dirty="0"/>
              <a:t>问题</a:t>
            </a:r>
          </a:p>
        </p:txBody>
      </p:sp>
      <p:grpSp>
        <p:nvGrpSpPr>
          <p:cNvPr id="4" name="224358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F072C957-F581-4E0B-906F-3A493AEC5050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669924" y="1915189"/>
            <a:ext cx="10850563" cy="3221425"/>
            <a:chOff x="669924" y="1915189"/>
            <a:chExt cx="10850563" cy="3221425"/>
          </a:xfrm>
        </p:grpSpPr>
        <p:grpSp>
          <p:nvGrpSpPr>
            <p:cNvPr id="5" name="îṣḻîďè">
              <a:extLst>
                <a:ext uri="{FF2B5EF4-FFF2-40B4-BE49-F238E27FC236}">
                  <a16:creationId xmlns:a16="http://schemas.microsoft.com/office/drawing/2014/main" id="{31B30799-742E-4277-B8F1-134D46048367}"/>
                </a:ext>
              </a:extLst>
            </p:cNvPr>
            <p:cNvGrpSpPr/>
            <p:nvPr/>
          </p:nvGrpSpPr>
          <p:grpSpPr>
            <a:xfrm>
              <a:off x="669924" y="2538269"/>
              <a:ext cx="3458098" cy="2598345"/>
              <a:chOff x="870899" y="2053182"/>
              <a:chExt cx="3190972" cy="2397632"/>
            </a:xfrm>
          </p:grpSpPr>
          <p:sp>
            <p:nvSpPr>
              <p:cNvPr id="23" name="ísļiḓé">
                <a:extLst>
                  <a:ext uri="{FF2B5EF4-FFF2-40B4-BE49-F238E27FC236}">
                    <a16:creationId xmlns:a16="http://schemas.microsoft.com/office/drawing/2014/main" id="{D6C29A4F-0A2C-4CB4-ACE8-019F10A06914}"/>
                  </a:ext>
                </a:extLst>
              </p:cNvPr>
              <p:cNvSpPr/>
              <p:nvPr/>
            </p:nvSpPr>
            <p:spPr bwMode="auto">
              <a:xfrm>
                <a:off x="947447" y="2053182"/>
                <a:ext cx="3114424" cy="2397632"/>
              </a:xfrm>
              <a:custGeom>
                <a:avLst/>
                <a:gdLst>
                  <a:gd name="T0" fmla="*/ 185 w 5228"/>
                  <a:gd name="T1" fmla="*/ 0 h 6450"/>
                  <a:gd name="T2" fmla="*/ 5044 w 5228"/>
                  <a:gd name="T3" fmla="*/ 0 h 6450"/>
                  <a:gd name="T4" fmla="*/ 5228 w 5228"/>
                  <a:gd name="T5" fmla="*/ 184 h 6450"/>
                  <a:gd name="T6" fmla="*/ 5228 w 5228"/>
                  <a:gd name="T7" fmla="*/ 6266 h 6450"/>
                  <a:gd name="T8" fmla="*/ 5044 w 5228"/>
                  <a:gd name="T9" fmla="*/ 6450 h 6450"/>
                  <a:gd name="T10" fmla="*/ 185 w 5228"/>
                  <a:gd name="T11" fmla="*/ 6450 h 6450"/>
                  <a:gd name="T12" fmla="*/ 0 w 5228"/>
                  <a:gd name="T13" fmla="*/ 6266 h 6450"/>
                  <a:gd name="T14" fmla="*/ 0 w 5228"/>
                  <a:gd name="T15" fmla="*/ 184 h 6450"/>
                  <a:gd name="T16" fmla="*/ 185 w 5228"/>
                  <a:gd name="T17" fmla="*/ 0 h 64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228" h="6450">
                    <a:moveTo>
                      <a:pt x="185" y="0"/>
                    </a:moveTo>
                    <a:lnTo>
                      <a:pt x="5044" y="0"/>
                    </a:lnTo>
                    <a:cubicBezTo>
                      <a:pt x="5146" y="0"/>
                      <a:pt x="5228" y="83"/>
                      <a:pt x="5228" y="184"/>
                    </a:cubicBezTo>
                    <a:lnTo>
                      <a:pt x="5228" y="6266"/>
                    </a:lnTo>
                    <a:cubicBezTo>
                      <a:pt x="5228" y="6367"/>
                      <a:pt x="5146" y="6450"/>
                      <a:pt x="5044" y="6450"/>
                    </a:cubicBezTo>
                    <a:lnTo>
                      <a:pt x="185" y="6450"/>
                    </a:lnTo>
                    <a:cubicBezTo>
                      <a:pt x="83" y="6450"/>
                      <a:pt x="0" y="6367"/>
                      <a:pt x="0" y="6266"/>
                    </a:cubicBezTo>
                    <a:lnTo>
                      <a:pt x="0" y="184"/>
                    </a:lnTo>
                    <a:cubicBezTo>
                      <a:pt x="0" y="83"/>
                      <a:pt x="83" y="0"/>
                      <a:pt x="185" y="0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solidFill>
                  <a:schemeClr val="bg1">
                    <a:lumMod val="75000"/>
                  </a:schemeClr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/>
              <a:p>
                <a:endParaRPr lang="zh-CN" altLang="en-US"/>
              </a:p>
            </p:txBody>
          </p:sp>
          <p:grpSp>
            <p:nvGrpSpPr>
              <p:cNvPr id="24" name="ïṡ1îḋe">
                <a:extLst>
                  <a:ext uri="{FF2B5EF4-FFF2-40B4-BE49-F238E27FC236}">
                    <a16:creationId xmlns:a16="http://schemas.microsoft.com/office/drawing/2014/main" id="{231E1B1D-67CB-41DE-91C7-73DFB754BE8C}"/>
                  </a:ext>
                </a:extLst>
              </p:cNvPr>
              <p:cNvGrpSpPr/>
              <p:nvPr/>
            </p:nvGrpSpPr>
            <p:grpSpPr>
              <a:xfrm>
                <a:off x="870899" y="2161193"/>
                <a:ext cx="2094682" cy="472678"/>
                <a:chOff x="861755" y="2161193"/>
                <a:chExt cx="2094682" cy="472678"/>
              </a:xfrm>
            </p:grpSpPr>
            <p:sp>
              <p:nvSpPr>
                <p:cNvPr id="26" name="íŝḷîḓe">
                  <a:extLst>
                    <a:ext uri="{FF2B5EF4-FFF2-40B4-BE49-F238E27FC236}">
                      <a16:creationId xmlns:a16="http://schemas.microsoft.com/office/drawing/2014/main" id="{9E223B05-1D97-4EFD-A399-D908FFD99D79}"/>
                    </a:ext>
                  </a:extLst>
                </p:cNvPr>
                <p:cNvSpPr/>
                <p:nvPr/>
              </p:nvSpPr>
              <p:spPr bwMode="auto">
                <a:xfrm>
                  <a:off x="861755" y="2161193"/>
                  <a:ext cx="80931" cy="472678"/>
                </a:xfrm>
                <a:custGeom>
                  <a:avLst/>
                  <a:gdLst>
                    <a:gd name="T0" fmla="*/ 139 w 139"/>
                    <a:gd name="T1" fmla="*/ 0 h 806"/>
                    <a:gd name="T2" fmla="*/ 0 w 139"/>
                    <a:gd name="T3" fmla="*/ 110 h 806"/>
                    <a:gd name="T4" fmla="*/ 0 w 139"/>
                    <a:gd name="T5" fmla="*/ 806 h 806"/>
                    <a:gd name="T6" fmla="*/ 139 w 139"/>
                    <a:gd name="T7" fmla="*/ 696 h 806"/>
                    <a:gd name="T8" fmla="*/ 139 w 139"/>
                    <a:gd name="T9" fmla="*/ 0 h 80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9" h="806">
                      <a:moveTo>
                        <a:pt x="139" y="0"/>
                      </a:moveTo>
                      <a:lnTo>
                        <a:pt x="0" y="110"/>
                      </a:lnTo>
                      <a:lnTo>
                        <a:pt x="0" y="806"/>
                      </a:lnTo>
                      <a:lnTo>
                        <a:pt x="139" y="696"/>
                      </a:lnTo>
                      <a:lnTo>
                        <a:pt x="139" y="0"/>
                      </a:lnTo>
                      <a:close/>
                    </a:path>
                  </a:pathLst>
                </a:custGeom>
                <a:solidFill>
                  <a:schemeClr val="tx1">
                    <a:lumMod val="85000"/>
                    <a:lumOff val="15000"/>
                  </a:schemeClr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rmAutofit/>
                </a:bodyPr>
                <a:lstStyle/>
                <a:p>
                  <a:endParaRPr lang="zh-CN" altLang="en-US"/>
                </a:p>
              </p:txBody>
            </p:sp>
            <p:sp>
              <p:nvSpPr>
                <p:cNvPr id="27" name="ïSľidè">
                  <a:extLst>
                    <a:ext uri="{FF2B5EF4-FFF2-40B4-BE49-F238E27FC236}">
                      <a16:creationId xmlns:a16="http://schemas.microsoft.com/office/drawing/2014/main" id="{B67995BF-9D32-4D71-B838-5CDFFF05AC7D}"/>
                    </a:ext>
                  </a:extLst>
                </p:cNvPr>
                <p:cNvSpPr/>
                <p:nvPr/>
              </p:nvSpPr>
              <p:spPr bwMode="auto">
                <a:xfrm>
                  <a:off x="861755" y="2225487"/>
                  <a:ext cx="2094682" cy="408384"/>
                </a:xfrm>
                <a:custGeom>
                  <a:avLst/>
                  <a:gdLst>
                    <a:gd name="T0" fmla="*/ 3591 w 3591"/>
                    <a:gd name="T1" fmla="*/ 0 h 696"/>
                    <a:gd name="T2" fmla="*/ 0 w 3591"/>
                    <a:gd name="T3" fmla="*/ 0 h 696"/>
                    <a:gd name="T4" fmla="*/ 0 w 3591"/>
                    <a:gd name="T5" fmla="*/ 696 h 696"/>
                    <a:gd name="T6" fmla="*/ 3591 w 3591"/>
                    <a:gd name="T7" fmla="*/ 696 h 696"/>
                    <a:gd name="T8" fmla="*/ 3383 w 3591"/>
                    <a:gd name="T9" fmla="*/ 353 h 696"/>
                    <a:gd name="T10" fmla="*/ 3591 w 3591"/>
                    <a:gd name="T11" fmla="*/ 0 h 69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3591" h="696">
                      <a:moveTo>
                        <a:pt x="3591" y="0"/>
                      </a:moveTo>
                      <a:lnTo>
                        <a:pt x="0" y="0"/>
                      </a:lnTo>
                      <a:lnTo>
                        <a:pt x="0" y="696"/>
                      </a:lnTo>
                      <a:lnTo>
                        <a:pt x="3591" y="696"/>
                      </a:lnTo>
                      <a:lnTo>
                        <a:pt x="3383" y="353"/>
                      </a:lnTo>
                      <a:lnTo>
                        <a:pt x="3591" y="0"/>
                      </a:lnTo>
                      <a:close/>
                    </a:path>
                  </a:pathLst>
                </a:custGeom>
                <a:solidFill>
                  <a:schemeClr val="bg1">
                    <a:lumMod val="50000"/>
                  </a:schemeClr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rmAutofit/>
                </a:bodyPr>
                <a:lstStyle/>
                <a:p>
                  <a:endParaRPr lang="zh-CN" altLang="en-US"/>
                </a:p>
              </p:txBody>
            </p:sp>
            <p:sp>
              <p:nvSpPr>
                <p:cNvPr id="28" name="íşḷiḋe">
                  <a:extLst>
                    <a:ext uri="{FF2B5EF4-FFF2-40B4-BE49-F238E27FC236}">
                      <a16:creationId xmlns:a16="http://schemas.microsoft.com/office/drawing/2014/main" id="{643A0C2C-680A-475F-9AB0-F87544303EAB}"/>
                    </a:ext>
                  </a:extLst>
                </p:cNvPr>
                <p:cNvSpPr txBox="1"/>
                <p:nvPr/>
              </p:nvSpPr>
              <p:spPr>
                <a:xfrm>
                  <a:off x="1052014" y="2245013"/>
                  <a:ext cx="1665407" cy="369332"/>
                </a:xfrm>
                <a:prstGeom prst="rect">
                  <a:avLst/>
                </a:prstGeom>
                <a:noFill/>
              </p:spPr>
              <p:txBody>
                <a:bodyPr wrap="square" lIns="91440" tIns="45720" rIns="91440" bIns="45720" rtlCol="0" anchor="ctr">
                  <a:noAutofit/>
                </a:bodyPr>
                <a:lstStyle/>
                <a:p>
                  <a:r>
                    <a:rPr lang="zh-CN" altLang="en-US" sz="2800" b="1" dirty="0">
                      <a:solidFill>
                        <a:schemeClr val="bg1"/>
                      </a:solidFill>
                    </a:rPr>
                    <a:t>急性疼痛</a:t>
                  </a:r>
                </a:p>
              </p:txBody>
            </p:sp>
          </p:grpSp>
          <p:sp>
            <p:nvSpPr>
              <p:cNvPr id="25" name="ísḷîḑè">
                <a:extLst>
                  <a:ext uri="{FF2B5EF4-FFF2-40B4-BE49-F238E27FC236}">
                    <a16:creationId xmlns:a16="http://schemas.microsoft.com/office/drawing/2014/main" id="{5EF2D164-6DBC-4A96-863C-351F4AB8B929}"/>
                  </a:ext>
                </a:extLst>
              </p:cNvPr>
              <p:cNvSpPr txBox="1"/>
              <p:nvPr/>
            </p:nvSpPr>
            <p:spPr>
              <a:xfrm>
                <a:off x="1003917" y="2752343"/>
                <a:ext cx="3001485" cy="1599319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rtlCol="0">
                <a:normAutofit/>
              </a:bodyPr>
              <a:lstStyle/>
              <a:p>
                <a:pPr marL="285750" indent="-285750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:r>
                  <a:rPr lang="zh-CN" altLang="en-US" sz="2400" b="1" dirty="0"/>
                  <a:t>与肛裂排便刺激及感染有关</a:t>
                </a:r>
                <a:endParaRPr lang="en-US" altLang="zh-CN" sz="2400" b="1" dirty="0"/>
              </a:p>
            </p:txBody>
          </p:sp>
        </p:grpSp>
        <p:grpSp>
          <p:nvGrpSpPr>
            <p:cNvPr id="6" name="íśḷïḑe">
              <a:extLst>
                <a:ext uri="{FF2B5EF4-FFF2-40B4-BE49-F238E27FC236}">
                  <a16:creationId xmlns:a16="http://schemas.microsoft.com/office/drawing/2014/main" id="{A0DCD174-7E00-4121-ABAB-F9C16C64B65F}"/>
                </a:ext>
              </a:extLst>
            </p:cNvPr>
            <p:cNvGrpSpPr/>
            <p:nvPr/>
          </p:nvGrpSpPr>
          <p:grpSpPr>
            <a:xfrm>
              <a:off x="4366157" y="2538269"/>
              <a:ext cx="3458098" cy="2598345"/>
              <a:chOff x="870899" y="2053182"/>
              <a:chExt cx="3190972" cy="2397632"/>
            </a:xfrm>
          </p:grpSpPr>
          <p:sp>
            <p:nvSpPr>
              <p:cNvPr id="17" name="íṩ1ïḓê">
                <a:extLst>
                  <a:ext uri="{FF2B5EF4-FFF2-40B4-BE49-F238E27FC236}">
                    <a16:creationId xmlns:a16="http://schemas.microsoft.com/office/drawing/2014/main" id="{E096DC18-B275-4A3A-9D38-7B43870DC288}"/>
                  </a:ext>
                </a:extLst>
              </p:cNvPr>
              <p:cNvSpPr/>
              <p:nvPr/>
            </p:nvSpPr>
            <p:spPr bwMode="auto">
              <a:xfrm>
                <a:off x="947447" y="2053182"/>
                <a:ext cx="3114424" cy="2397632"/>
              </a:xfrm>
              <a:custGeom>
                <a:avLst/>
                <a:gdLst>
                  <a:gd name="T0" fmla="*/ 185 w 5228"/>
                  <a:gd name="T1" fmla="*/ 0 h 6450"/>
                  <a:gd name="T2" fmla="*/ 5044 w 5228"/>
                  <a:gd name="T3" fmla="*/ 0 h 6450"/>
                  <a:gd name="T4" fmla="*/ 5228 w 5228"/>
                  <a:gd name="T5" fmla="*/ 184 h 6450"/>
                  <a:gd name="T6" fmla="*/ 5228 w 5228"/>
                  <a:gd name="T7" fmla="*/ 6266 h 6450"/>
                  <a:gd name="T8" fmla="*/ 5044 w 5228"/>
                  <a:gd name="T9" fmla="*/ 6450 h 6450"/>
                  <a:gd name="T10" fmla="*/ 185 w 5228"/>
                  <a:gd name="T11" fmla="*/ 6450 h 6450"/>
                  <a:gd name="T12" fmla="*/ 0 w 5228"/>
                  <a:gd name="T13" fmla="*/ 6266 h 6450"/>
                  <a:gd name="T14" fmla="*/ 0 w 5228"/>
                  <a:gd name="T15" fmla="*/ 184 h 6450"/>
                  <a:gd name="T16" fmla="*/ 185 w 5228"/>
                  <a:gd name="T17" fmla="*/ 0 h 64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228" h="6450">
                    <a:moveTo>
                      <a:pt x="185" y="0"/>
                    </a:moveTo>
                    <a:lnTo>
                      <a:pt x="5044" y="0"/>
                    </a:lnTo>
                    <a:cubicBezTo>
                      <a:pt x="5146" y="0"/>
                      <a:pt x="5228" y="83"/>
                      <a:pt x="5228" y="184"/>
                    </a:cubicBezTo>
                    <a:lnTo>
                      <a:pt x="5228" y="6266"/>
                    </a:lnTo>
                    <a:cubicBezTo>
                      <a:pt x="5228" y="6367"/>
                      <a:pt x="5146" y="6450"/>
                      <a:pt x="5044" y="6450"/>
                    </a:cubicBezTo>
                    <a:lnTo>
                      <a:pt x="185" y="6450"/>
                    </a:lnTo>
                    <a:cubicBezTo>
                      <a:pt x="83" y="6450"/>
                      <a:pt x="0" y="6367"/>
                      <a:pt x="0" y="6266"/>
                    </a:cubicBezTo>
                    <a:lnTo>
                      <a:pt x="0" y="184"/>
                    </a:lnTo>
                    <a:cubicBezTo>
                      <a:pt x="0" y="83"/>
                      <a:pt x="83" y="0"/>
                      <a:pt x="185" y="0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solidFill>
                  <a:schemeClr val="bg1">
                    <a:lumMod val="75000"/>
                  </a:schemeClr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/>
              <a:p>
                <a:endParaRPr lang="zh-CN" altLang="en-US"/>
              </a:p>
            </p:txBody>
          </p:sp>
          <p:grpSp>
            <p:nvGrpSpPr>
              <p:cNvPr id="18" name="ïsļiḋê">
                <a:extLst>
                  <a:ext uri="{FF2B5EF4-FFF2-40B4-BE49-F238E27FC236}">
                    <a16:creationId xmlns:a16="http://schemas.microsoft.com/office/drawing/2014/main" id="{EB51A852-C9BA-4947-B0C1-2F7DE46C9E67}"/>
                  </a:ext>
                </a:extLst>
              </p:cNvPr>
              <p:cNvGrpSpPr/>
              <p:nvPr/>
            </p:nvGrpSpPr>
            <p:grpSpPr>
              <a:xfrm>
                <a:off x="870899" y="2161193"/>
                <a:ext cx="2094682" cy="472678"/>
                <a:chOff x="861755" y="2161193"/>
                <a:chExt cx="2094682" cy="472678"/>
              </a:xfrm>
            </p:grpSpPr>
            <p:sp>
              <p:nvSpPr>
                <p:cNvPr id="20" name="îšľíḋê">
                  <a:extLst>
                    <a:ext uri="{FF2B5EF4-FFF2-40B4-BE49-F238E27FC236}">
                      <a16:creationId xmlns:a16="http://schemas.microsoft.com/office/drawing/2014/main" id="{78B9742F-3833-43FA-8EEB-E1603B2B2408}"/>
                    </a:ext>
                  </a:extLst>
                </p:cNvPr>
                <p:cNvSpPr/>
                <p:nvPr/>
              </p:nvSpPr>
              <p:spPr bwMode="auto">
                <a:xfrm>
                  <a:off x="861755" y="2161193"/>
                  <a:ext cx="80931" cy="472678"/>
                </a:xfrm>
                <a:custGeom>
                  <a:avLst/>
                  <a:gdLst>
                    <a:gd name="T0" fmla="*/ 139 w 139"/>
                    <a:gd name="T1" fmla="*/ 0 h 806"/>
                    <a:gd name="T2" fmla="*/ 0 w 139"/>
                    <a:gd name="T3" fmla="*/ 110 h 806"/>
                    <a:gd name="T4" fmla="*/ 0 w 139"/>
                    <a:gd name="T5" fmla="*/ 806 h 806"/>
                    <a:gd name="T6" fmla="*/ 139 w 139"/>
                    <a:gd name="T7" fmla="*/ 696 h 806"/>
                    <a:gd name="T8" fmla="*/ 139 w 139"/>
                    <a:gd name="T9" fmla="*/ 0 h 80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9" h="806">
                      <a:moveTo>
                        <a:pt x="139" y="0"/>
                      </a:moveTo>
                      <a:lnTo>
                        <a:pt x="0" y="110"/>
                      </a:lnTo>
                      <a:lnTo>
                        <a:pt x="0" y="806"/>
                      </a:lnTo>
                      <a:lnTo>
                        <a:pt x="139" y="696"/>
                      </a:lnTo>
                      <a:lnTo>
                        <a:pt x="139" y="0"/>
                      </a:lnTo>
                      <a:close/>
                    </a:path>
                  </a:pathLst>
                </a:custGeom>
                <a:solidFill>
                  <a:schemeClr val="tx1">
                    <a:lumMod val="85000"/>
                    <a:lumOff val="15000"/>
                  </a:schemeClr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rmAutofit/>
                </a:bodyPr>
                <a:lstStyle/>
                <a:p>
                  <a:endParaRPr lang="zh-CN" altLang="en-US"/>
                </a:p>
              </p:txBody>
            </p:sp>
            <p:sp>
              <p:nvSpPr>
                <p:cNvPr id="21" name="ïSļiḍe">
                  <a:extLst>
                    <a:ext uri="{FF2B5EF4-FFF2-40B4-BE49-F238E27FC236}">
                      <a16:creationId xmlns:a16="http://schemas.microsoft.com/office/drawing/2014/main" id="{81C58FF8-E630-48DF-8D0E-A1CDC42B28B1}"/>
                    </a:ext>
                  </a:extLst>
                </p:cNvPr>
                <p:cNvSpPr/>
                <p:nvPr/>
              </p:nvSpPr>
              <p:spPr bwMode="auto">
                <a:xfrm>
                  <a:off x="861755" y="2225487"/>
                  <a:ext cx="2094682" cy="408384"/>
                </a:xfrm>
                <a:custGeom>
                  <a:avLst/>
                  <a:gdLst>
                    <a:gd name="T0" fmla="*/ 3591 w 3591"/>
                    <a:gd name="T1" fmla="*/ 0 h 696"/>
                    <a:gd name="T2" fmla="*/ 0 w 3591"/>
                    <a:gd name="T3" fmla="*/ 0 h 696"/>
                    <a:gd name="T4" fmla="*/ 0 w 3591"/>
                    <a:gd name="T5" fmla="*/ 696 h 696"/>
                    <a:gd name="T6" fmla="*/ 3591 w 3591"/>
                    <a:gd name="T7" fmla="*/ 696 h 696"/>
                    <a:gd name="T8" fmla="*/ 3383 w 3591"/>
                    <a:gd name="T9" fmla="*/ 353 h 696"/>
                    <a:gd name="T10" fmla="*/ 3591 w 3591"/>
                    <a:gd name="T11" fmla="*/ 0 h 69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3591" h="696">
                      <a:moveTo>
                        <a:pt x="3591" y="0"/>
                      </a:moveTo>
                      <a:lnTo>
                        <a:pt x="0" y="0"/>
                      </a:lnTo>
                      <a:lnTo>
                        <a:pt x="0" y="696"/>
                      </a:lnTo>
                      <a:lnTo>
                        <a:pt x="3591" y="696"/>
                      </a:lnTo>
                      <a:lnTo>
                        <a:pt x="3383" y="353"/>
                      </a:lnTo>
                      <a:lnTo>
                        <a:pt x="3591" y="0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rmAutofit/>
                </a:bodyPr>
                <a:lstStyle/>
                <a:p>
                  <a:endParaRPr lang="zh-CN" altLang="en-US"/>
                </a:p>
              </p:txBody>
            </p:sp>
            <p:sp>
              <p:nvSpPr>
                <p:cNvPr id="22" name="is1íḑe">
                  <a:extLst>
                    <a:ext uri="{FF2B5EF4-FFF2-40B4-BE49-F238E27FC236}">
                      <a16:creationId xmlns:a16="http://schemas.microsoft.com/office/drawing/2014/main" id="{5A8D29F0-8358-4BAF-8687-C8316B0DDE1F}"/>
                    </a:ext>
                  </a:extLst>
                </p:cNvPr>
                <p:cNvSpPr txBox="1"/>
                <p:nvPr/>
              </p:nvSpPr>
              <p:spPr>
                <a:xfrm>
                  <a:off x="1052014" y="2245013"/>
                  <a:ext cx="1665407" cy="369332"/>
                </a:xfrm>
                <a:prstGeom prst="rect">
                  <a:avLst/>
                </a:prstGeom>
                <a:noFill/>
              </p:spPr>
              <p:txBody>
                <a:bodyPr wrap="square" lIns="91440" tIns="45720" rIns="91440" bIns="45720" rtlCol="0" anchor="ctr">
                  <a:noAutofit/>
                </a:bodyPr>
                <a:lstStyle/>
                <a:p>
                  <a:r>
                    <a:rPr lang="zh-CN" altLang="en-US" sz="2800" b="1" dirty="0">
                      <a:solidFill>
                        <a:schemeClr val="bg1"/>
                      </a:solidFill>
                    </a:rPr>
                    <a:t>便 秘</a:t>
                  </a:r>
                </a:p>
              </p:txBody>
            </p:sp>
          </p:grpSp>
          <p:sp>
            <p:nvSpPr>
              <p:cNvPr id="19" name="îsḻíḓé">
                <a:extLst>
                  <a:ext uri="{FF2B5EF4-FFF2-40B4-BE49-F238E27FC236}">
                    <a16:creationId xmlns:a16="http://schemas.microsoft.com/office/drawing/2014/main" id="{9F53D77F-60B5-4A10-AFF4-7DC406444343}"/>
                  </a:ext>
                </a:extLst>
              </p:cNvPr>
              <p:cNvSpPr txBox="1"/>
              <p:nvPr/>
            </p:nvSpPr>
            <p:spPr>
              <a:xfrm>
                <a:off x="1003917" y="2752343"/>
                <a:ext cx="3001485" cy="1599319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rtlCol="0">
                <a:normAutofit/>
              </a:bodyPr>
              <a:lstStyle/>
              <a:p>
                <a:pPr marL="285750" indent="-285750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:r>
                  <a:rPr lang="zh-CN" altLang="en-US" sz="2400" b="1" dirty="0"/>
                  <a:t>与肛门疼痛惧怕排便有关</a:t>
                </a:r>
                <a:endParaRPr lang="en-US" altLang="zh-CN" sz="2400" b="1" dirty="0"/>
              </a:p>
            </p:txBody>
          </p:sp>
        </p:grpSp>
        <p:grpSp>
          <p:nvGrpSpPr>
            <p:cNvPr id="7" name="íślíḓê">
              <a:extLst>
                <a:ext uri="{FF2B5EF4-FFF2-40B4-BE49-F238E27FC236}">
                  <a16:creationId xmlns:a16="http://schemas.microsoft.com/office/drawing/2014/main" id="{7FAE8F17-F1EF-49BA-9308-7698DFC83155}"/>
                </a:ext>
              </a:extLst>
            </p:cNvPr>
            <p:cNvGrpSpPr/>
            <p:nvPr/>
          </p:nvGrpSpPr>
          <p:grpSpPr>
            <a:xfrm>
              <a:off x="8062389" y="2538269"/>
              <a:ext cx="3458098" cy="2598345"/>
              <a:chOff x="870899" y="2053182"/>
              <a:chExt cx="3190972" cy="2397632"/>
            </a:xfrm>
          </p:grpSpPr>
          <p:sp>
            <p:nvSpPr>
              <p:cNvPr id="11" name="ïṣ1îdè">
                <a:extLst>
                  <a:ext uri="{FF2B5EF4-FFF2-40B4-BE49-F238E27FC236}">
                    <a16:creationId xmlns:a16="http://schemas.microsoft.com/office/drawing/2014/main" id="{8CF1E656-363B-446F-A5E3-1FBA031D2A03}"/>
                  </a:ext>
                </a:extLst>
              </p:cNvPr>
              <p:cNvSpPr/>
              <p:nvPr/>
            </p:nvSpPr>
            <p:spPr bwMode="auto">
              <a:xfrm>
                <a:off x="947447" y="2053182"/>
                <a:ext cx="3114424" cy="2397632"/>
              </a:xfrm>
              <a:custGeom>
                <a:avLst/>
                <a:gdLst>
                  <a:gd name="T0" fmla="*/ 185 w 5228"/>
                  <a:gd name="T1" fmla="*/ 0 h 6450"/>
                  <a:gd name="T2" fmla="*/ 5044 w 5228"/>
                  <a:gd name="T3" fmla="*/ 0 h 6450"/>
                  <a:gd name="T4" fmla="*/ 5228 w 5228"/>
                  <a:gd name="T5" fmla="*/ 184 h 6450"/>
                  <a:gd name="T6" fmla="*/ 5228 w 5228"/>
                  <a:gd name="T7" fmla="*/ 6266 h 6450"/>
                  <a:gd name="T8" fmla="*/ 5044 w 5228"/>
                  <a:gd name="T9" fmla="*/ 6450 h 6450"/>
                  <a:gd name="T10" fmla="*/ 185 w 5228"/>
                  <a:gd name="T11" fmla="*/ 6450 h 6450"/>
                  <a:gd name="T12" fmla="*/ 0 w 5228"/>
                  <a:gd name="T13" fmla="*/ 6266 h 6450"/>
                  <a:gd name="T14" fmla="*/ 0 w 5228"/>
                  <a:gd name="T15" fmla="*/ 184 h 6450"/>
                  <a:gd name="T16" fmla="*/ 185 w 5228"/>
                  <a:gd name="T17" fmla="*/ 0 h 64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228" h="6450">
                    <a:moveTo>
                      <a:pt x="185" y="0"/>
                    </a:moveTo>
                    <a:lnTo>
                      <a:pt x="5044" y="0"/>
                    </a:lnTo>
                    <a:cubicBezTo>
                      <a:pt x="5146" y="0"/>
                      <a:pt x="5228" y="83"/>
                      <a:pt x="5228" y="184"/>
                    </a:cubicBezTo>
                    <a:lnTo>
                      <a:pt x="5228" y="6266"/>
                    </a:lnTo>
                    <a:cubicBezTo>
                      <a:pt x="5228" y="6367"/>
                      <a:pt x="5146" y="6450"/>
                      <a:pt x="5044" y="6450"/>
                    </a:cubicBezTo>
                    <a:lnTo>
                      <a:pt x="185" y="6450"/>
                    </a:lnTo>
                    <a:cubicBezTo>
                      <a:pt x="83" y="6450"/>
                      <a:pt x="0" y="6367"/>
                      <a:pt x="0" y="6266"/>
                    </a:cubicBezTo>
                    <a:lnTo>
                      <a:pt x="0" y="184"/>
                    </a:lnTo>
                    <a:cubicBezTo>
                      <a:pt x="0" y="83"/>
                      <a:pt x="83" y="0"/>
                      <a:pt x="185" y="0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solidFill>
                  <a:schemeClr val="bg1">
                    <a:lumMod val="75000"/>
                  </a:schemeClr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/>
              <a:p>
                <a:endParaRPr lang="zh-CN" altLang="en-US"/>
              </a:p>
            </p:txBody>
          </p:sp>
          <p:grpSp>
            <p:nvGrpSpPr>
              <p:cNvPr id="12" name="ï$ḷíḋé">
                <a:extLst>
                  <a:ext uri="{FF2B5EF4-FFF2-40B4-BE49-F238E27FC236}">
                    <a16:creationId xmlns:a16="http://schemas.microsoft.com/office/drawing/2014/main" id="{E322D51B-7F49-4527-A296-44768453D179}"/>
                  </a:ext>
                </a:extLst>
              </p:cNvPr>
              <p:cNvGrpSpPr/>
              <p:nvPr/>
            </p:nvGrpSpPr>
            <p:grpSpPr>
              <a:xfrm>
                <a:off x="870899" y="2117466"/>
                <a:ext cx="2094682" cy="605567"/>
                <a:chOff x="861755" y="2117466"/>
                <a:chExt cx="2094682" cy="605567"/>
              </a:xfrm>
            </p:grpSpPr>
            <p:sp>
              <p:nvSpPr>
                <p:cNvPr id="14" name="isľîḑe">
                  <a:extLst>
                    <a:ext uri="{FF2B5EF4-FFF2-40B4-BE49-F238E27FC236}">
                      <a16:creationId xmlns:a16="http://schemas.microsoft.com/office/drawing/2014/main" id="{FA4F2975-2385-44A5-910E-1912A567924D}"/>
                    </a:ext>
                  </a:extLst>
                </p:cNvPr>
                <p:cNvSpPr/>
                <p:nvPr/>
              </p:nvSpPr>
              <p:spPr bwMode="auto">
                <a:xfrm>
                  <a:off x="861755" y="2161193"/>
                  <a:ext cx="80931" cy="472678"/>
                </a:xfrm>
                <a:custGeom>
                  <a:avLst/>
                  <a:gdLst>
                    <a:gd name="T0" fmla="*/ 139 w 139"/>
                    <a:gd name="T1" fmla="*/ 0 h 806"/>
                    <a:gd name="T2" fmla="*/ 0 w 139"/>
                    <a:gd name="T3" fmla="*/ 110 h 806"/>
                    <a:gd name="T4" fmla="*/ 0 w 139"/>
                    <a:gd name="T5" fmla="*/ 806 h 806"/>
                    <a:gd name="T6" fmla="*/ 139 w 139"/>
                    <a:gd name="T7" fmla="*/ 696 h 806"/>
                    <a:gd name="T8" fmla="*/ 139 w 139"/>
                    <a:gd name="T9" fmla="*/ 0 h 80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9" h="806">
                      <a:moveTo>
                        <a:pt x="139" y="0"/>
                      </a:moveTo>
                      <a:lnTo>
                        <a:pt x="0" y="110"/>
                      </a:lnTo>
                      <a:lnTo>
                        <a:pt x="0" y="806"/>
                      </a:lnTo>
                      <a:lnTo>
                        <a:pt x="139" y="696"/>
                      </a:lnTo>
                      <a:lnTo>
                        <a:pt x="139" y="0"/>
                      </a:lnTo>
                      <a:close/>
                    </a:path>
                  </a:pathLst>
                </a:custGeom>
                <a:solidFill>
                  <a:schemeClr val="tx1">
                    <a:lumMod val="85000"/>
                    <a:lumOff val="15000"/>
                  </a:schemeClr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rmAutofit/>
                </a:bodyPr>
                <a:lstStyle/>
                <a:p>
                  <a:endParaRPr lang="zh-CN" altLang="en-US"/>
                </a:p>
              </p:txBody>
            </p:sp>
            <p:sp>
              <p:nvSpPr>
                <p:cNvPr id="15" name="işḷïḋe">
                  <a:extLst>
                    <a:ext uri="{FF2B5EF4-FFF2-40B4-BE49-F238E27FC236}">
                      <a16:creationId xmlns:a16="http://schemas.microsoft.com/office/drawing/2014/main" id="{0C948134-9750-4EDF-ADF0-D90B7456D5AA}"/>
                    </a:ext>
                  </a:extLst>
                </p:cNvPr>
                <p:cNvSpPr/>
                <p:nvPr/>
              </p:nvSpPr>
              <p:spPr bwMode="auto">
                <a:xfrm>
                  <a:off x="861755" y="2225487"/>
                  <a:ext cx="2094682" cy="408384"/>
                </a:xfrm>
                <a:custGeom>
                  <a:avLst/>
                  <a:gdLst>
                    <a:gd name="T0" fmla="*/ 3591 w 3591"/>
                    <a:gd name="T1" fmla="*/ 0 h 696"/>
                    <a:gd name="T2" fmla="*/ 0 w 3591"/>
                    <a:gd name="T3" fmla="*/ 0 h 696"/>
                    <a:gd name="T4" fmla="*/ 0 w 3591"/>
                    <a:gd name="T5" fmla="*/ 696 h 696"/>
                    <a:gd name="T6" fmla="*/ 3591 w 3591"/>
                    <a:gd name="T7" fmla="*/ 696 h 696"/>
                    <a:gd name="T8" fmla="*/ 3383 w 3591"/>
                    <a:gd name="T9" fmla="*/ 353 h 696"/>
                    <a:gd name="T10" fmla="*/ 3591 w 3591"/>
                    <a:gd name="T11" fmla="*/ 0 h 69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3591" h="696">
                      <a:moveTo>
                        <a:pt x="3591" y="0"/>
                      </a:moveTo>
                      <a:lnTo>
                        <a:pt x="0" y="0"/>
                      </a:lnTo>
                      <a:lnTo>
                        <a:pt x="0" y="696"/>
                      </a:lnTo>
                      <a:lnTo>
                        <a:pt x="3591" y="696"/>
                      </a:lnTo>
                      <a:lnTo>
                        <a:pt x="3383" y="353"/>
                      </a:lnTo>
                      <a:lnTo>
                        <a:pt x="3591" y="0"/>
                      </a:lnTo>
                      <a:close/>
                    </a:path>
                  </a:pathLst>
                </a:custGeom>
                <a:solidFill>
                  <a:schemeClr val="bg1">
                    <a:lumMod val="50000"/>
                  </a:schemeClr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rmAutofit/>
                </a:bodyPr>
                <a:lstStyle/>
                <a:p>
                  <a:endParaRPr lang="zh-CN" altLang="en-US"/>
                </a:p>
              </p:txBody>
            </p:sp>
            <p:sp>
              <p:nvSpPr>
                <p:cNvPr id="16" name="îśḷîḑè">
                  <a:extLst>
                    <a:ext uri="{FF2B5EF4-FFF2-40B4-BE49-F238E27FC236}">
                      <a16:creationId xmlns:a16="http://schemas.microsoft.com/office/drawing/2014/main" id="{D171E05C-C76E-420F-93B6-243DAA33C135}"/>
                    </a:ext>
                  </a:extLst>
                </p:cNvPr>
                <p:cNvSpPr txBox="1"/>
                <p:nvPr/>
              </p:nvSpPr>
              <p:spPr>
                <a:xfrm>
                  <a:off x="973524" y="2117466"/>
                  <a:ext cx="1916471" cy="605567"/>
                </a:xfrm>
                <a:prstGeom prst="rect">
                  <a:avLst/>
                </a:prstGeom>
                <a:noFill/>
              </p:spPr>
              <p:txBody>
                <a:bodyPr wrap="square" lIns="91440" tIns="45720" rIns="91440" bIns="45720" rtlCol="0" anchor="ctr">
                  <a:normAutofit/>
                </a:bodyPr>
                <a:lstStyle/>
                <a:p>
                  <a:r>
                    <a:rPr lang="zh-CN" altLang="en-US" sz="2800" b="1" dirty="0">
                      <a:solidFill>
                        <a:schemeClr val="bg1"/>
                      </a:solidFill>
                    </a:rPr>
                    <a:t>潜在并发症</a:t>
                  </a:r>
                </a:p>
              </p:txBody>
            </p:sp>
          </p:grpSp>
          <p:sp>
            <p:nvSpPr>
              <p:cNvPr id="13" name="isḻïḋé">
                <a:extLst>
                  <a:ext uri="{FF2B5EF4-FFF2-40B4-BE49-F238E27FC236}">
                    <a16:creationId xmlns:a16="http://schemas.microsoft.com/office/drawing/2014/main" id="{F5D00BA0-A924-451B-8EA6-317D68D6DE57}"/>
                  </a:ext>
                </a:extLst>
              </p:cNvPr>
              <p:cNvSpPr txBox="1"/>
              <p:nvPr/>
            </p:nvSpPr>
            <p:spPr>
              <a:xfrm>
                <a:off x="1003917" y="2752343"/>
                <a:ext cx="3001485" cy="1599319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rtlCol="0">
                <a:normAutofit/>
              </a:bodyPr>
              <a:lstStyle/>
              <a:p>
                <a:pPr marL="285750" indent="-285750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:r>
                  <a:rPr lang="zh-CN" altLang="en-US" sz="2400" b="1" dirty="0"/>
                  <a:t>感染</a:t>
                </a:r>
                <a:endParaRPr lang="en-US" altLang="zh-CN" sz="2400" b="1" dirty="0"/>
              </a:p>
              <a:p>
                <a:pPr marL="285750" indent="-285750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:r>
                  <a:rPr lang="zh-CN" altLang="en-US" sz="2400" b="1" dirty="0"/>
                  <a:t>肛门失禁</a:t>
                </a:r>
                <a:endParaRPr lang="en-US" altLang="zh-CN" sz="2400" b="1" dirty="0"/>
              </a:p>
            </p:txBody>
          </p:sp>
        </p:grpSp>
        <p:sp>
          <p:nvSpPr>
            <p:cNvPr id="8" name="ïś1ïḍé">
              <a:extLst>
                <a:ext uri="{FF2B5EF4-FFF2-40B4-BE49-F238E27FC236}">
                  <a16:creationId xmlns:a16="http://schemas.microsoft.com/office/drawing/2014/main" id="{BB955507-9C2F-4D0F-B18B-22F9463A041A}"/>
                </a:ext>
              </a:extLst>
            </p:cNvPr>
            <p:cNvSpPr/>
            <p:nvPr/>
          </p:nvSpPr>
          <p:spPr bwMode="auto">
            <a:xfrm>
              <a:off x="2210854" y="1915189"/>
              <a:ext cx="459194" cy="488470"/>
            </a:xfrm>
            <a:custGeom>
              <a:avLst/>
              <a:gdLst>
                <a:gd name="connsiteX0" fmla="*/ 283988 w 567904"/>
                <a:gd name="connsiteY0" fmla="*/ 165481 h 604115"/>
                <a:gd name="connsiteX1" fmla="*/ 299163 w 567904"/>
                <a:gd name="connsiteY1" fmla="*/ 180516 h 604115"/>
                <a:gd name="connsiteX2" fmla="*/ 299163 w 567904"/>
                <a:gd name="connsiteY2" fmla="*/ 272309 h 604115"/>
                <a:gd name="connsiteX3" fmla="*/ 307657 w 567904"/>
                <a:gd name="connsiteY3" fmla="*/ 280788 h 604115"/>
                <a:gd name="connsiteX4" fmla="*/ 366094 w 567904"/>
                <a:gd name="connsiteY4" fmla="*/ 280788 h 604115"/>
                <a:gd name="connsiteX5" fmla="*/ 381156 w 567904"/>
                <a:gd name="connsiteY5" fmla="*/ 295936 h 604115"/>
                <a:gd name="connsiteX6" fmla="*/ 366094 w 567904"/>
                <a:gd name="connsiteY6" fmla="*/ 310971 h 604115"/>
                <a:gd name="connsiteX7" fmla="*/ 307657 w 567904"/>
                <a:gd name="connsiteY7" fmla="*/ 310971 h 604115"/>
                <a:gd name="connsiteX8" fmla="*/ 283988 w 567904"/>
                <a:gd name="connsiteY8" fmla="*/ 323971 h 604115"/>
                <a:gd name="connsiteX9" fmla="*/ 255902 w 567904"/>
                <a:gd name="connsiteY9" fmla="*/ 295936 h 604115"/>
                <a:gd name="connsiteX10" fmla="*/ 268926 w 567904"/>
                <a:gd name="connsiteY10" fmla="*/ 272309 h 604115"/>
                <a:gd name="connsiteX11" fmla="*/ 268926 w 567904"/>
                <a:gd name="connsiteY11" fmla="*/ 180516 h 604115"/>
                <a:gd name="connsiteX12" fmla="*/ 283988 w 567904"/>
                <a:gd name="connsiteY12" fmla="*/ 165481 h 604115"/>
                <a:gd name="connsiteX13" fmla="*/ 268839 w 567904"/>
                <a:gd name="connsiteY13" fmla="*/ 63180 h 604115"/>
                <a:gd name="connsiteX14" fmla="*/ 131858 w 567904"/>
                <a:gd name="connsiteY14" fmla="*/ 122631 h 604115"/>
                <a:gd name="connsiteX15" fmla="*/ 178160 w 567904"/>
                <a:gd name="connsiteY15" fmla="*/ 168971 h 604115"/>
                <a:gd name="connsiteX16" fmla="*/ 178160 w 567904"/>
                <a:gd name="connsiteY16" fmla="*/ 190220 h 604115"/>
                <a:gd name="connsiteX17" fmla="*/ 167518 w 567904"/>
                <a:gd name="connsiteY17" fmla="*/ 194628 h 604115"/>
                <a:gd name="connsiteX18" fmla="*/ 156877 w 567904"/>
                <a:gd name="connsiteY18" fmla="*/ 190220 h 604115"/>
                <a:gd name="connsiteX19" fmla="*/ 111254 w 567904"/>
                <a:gd name="connsiteY19" fmla="*/ 144671 h 604115"/>
                <a:gd name="connsiteX20" fmla="*/ 61216 w 567904"/>
                <a:gd name="connsiteY20" fmla="*/ 280752 h 604115"/>
                <a:gd name="connsiteX21" fmla="*/ 119292 w 567904"/>
                <a:gd name="connsiteY21" fmla="*/ 280752 h 604115"/>
                <a:gd name="connsiteX22" fmla="*/ 134348 w 567904"/>
                <a:gd name="connsiteY22" fmla="*/ 295898 h 604115"/>
                <a:gd name="connsiteX23" fmla="*/ 119292 w 567904"/>
                <a:gd name="connsiteY23" fmla="*/ 310930 h 604115"/>
                <a:gd name="connsiteX24" fmla="*/ 62688 w 567904"/>
                <a:gd name="connsiteY24" fmla="*/ 310930 h 604115"/>
                <a:gd name="connsiteX25" fmla="*/ 121330 w 567904"/>
                <a:gd name="connsiteY25" fmla="*/ 436952 h 604115"/>
                <a:gd name="connsiteX26" fmla="*/ 156877 w 567904"/>
                <a:gd name="connsiteY26" fmla="*/ 401462 h 604115"/>
                <a:gd name="connsiteX27" fmla="*/ 178160 w 567904"/>
                <a:gd name="connsiteY27" fmla="*/ 401462 h 604115"/>
                <a:gd name="connsiteX28" fmla="*/ 178160 w 567904"/>
                <a:gd name="connsiteY28" fmla="*/ 422824 h 604115"/>
                <a:gd name="connsiteX29" fmla="*/ 143405 w 567904"/>
                <a:gd name="connsiteY29" fmla="*/ 457523 h 604115"/>
                <a:gd name="connsiteX30" fmla="*/ 268839 w 567904"/>
                <a:gd name="connsiteY30" fmla="*/ 507027 h 604115"/>
                <a:gd name="connsiteX31" fmla="*/ 268839 w 567904"/>
                <a:gd name="connsiteY31" fmla="*/ 460235 h 604115"/>
                <a:gd name="connsiteX32" fmla="*/ 284009 w 567904"/>
                <a:gd name="connsiteY32" fmla="*/ 445203 h 604115"/>
                <a:gd name="connsiteX33" fmla="*/ 299065 w 567904"/>
                <a:gd name="connsiteY33" fmla="*/ 460235 h 604115"/>
                <a:gd name="connsiteX34" fmla="*/ 299065 w 567904"/>
                <a:gd name="connsiteY34" fmla="*/ 507027 h 604115"/>
                <a:gd name="connsiteX35" fmla="*/ 424612 w 567904"/>
                <a:gd name="connsiteY35" fmla="*/ 457523 h 604115"/>
                <a:gd name="connsiteX36" fmla="*/ 389744 w 567904"/>
                <a:gd name="connsiteY36" fmla="*/ 422824 h 604115"/>
                <a:gd name="connsiteX37" fmla="*/ 389744 w 567904"/>
                <a:gd name="connsiteY37" fmla="*/ 401462 h 604115"/>
                <a:gd name="connsiteX38" fmla="*/ 411141 w 567904"/>
                <a:gd name="connsiteY38" fmla="*/ 401462 h 604115"/>
                <a:gd name="connsiteX39" fmla="*/ 446688 w 567904"/>
                <a:gd name="connsiteY39" fmla="*/ 436952 h 604115"/>
                <a:gd name="connsiteX40" fmla="*/ 505329 w 567904"/>
                <a:gd name="connsiteY40" fmla="*/ 310930 h 604115"/>
                <a:gd name="connsiteX41" fmla="*/ 448612 w 567904"/>
                <a:gd name="connsiteY41" fmla="*/ 310930 h 604115"/>
                <a:gd name="connsiteX42" fmla="*/ 433556 w 567904"/>
                <a:gd name="connsiteY42" fmla="*/ 295898 h 604115"/>
                <a:gd name="connsiteX43" fmla="*/ 448612 w 567904"/>
                <a:gd name="connsiteY43" fmla="*/ 280752 h 604115"/>
                <a:gd name="connsiteX44" fmla="*/ 506801 w 567904"/>
                <a:gd name="connsiteY44" fmla="*/ 280752 h 604115"/>
                <a:gd name="connsiteX45" fmla="*/ 456650 w 567904"/>
                <a:gd name="connsiteY45" fmla="*/ 144671 h 604115"/>
                <a:gd name="connsiteX46" fmla="*/ 411141 w 567904"/>
                <a:gd name="connsiteY46" fmla="*/ 190220 h 604115"/>
                <a:gd name="connsiteX47" fmla="*/ 400386 w 567904"/>
                <a:gd name="connsiteY47" fmla="*/ 194628 h 604115"/>
                <a:gd name="connsiteX48" fmla="*/ 389744 w 567904"/>
                <a:gd name="connsiteY48" fmla="*/ 190220 h 604115"/>
                <a:gd name="connsiteX49" fmla="*/ 389744 w 567904"/>
                <a:gd name="connsiteY49" fmla="*/ 168971 h 604115"/>
                <a:gd name="connsiteX50" fmla="*/ 436046 w 567904"/>
                <a:gd name="connsiteY50" fmla="*/ 122631 h 604115"/>
                <a:gd name="connsiteX51" fmla="*/ 299065 w 567904"/>
                <a:gd name="connsiteY51" fmla="*/ 63180 h 604115"/>
                <a:gd name="connsiteX52" fmla="*/ 299065 w 567904"/>
                <a:gd name="connsiteY52" fmla="*/ 131447 h 604115"/>
                <a:gd name="connsiteX53" fmla="*/ 284009 w 567904"/>
                <a:gd name="connsiteY53" fmla="*/ 146479 h 604115"/>
                <a:gd name="connsiteX54" fmla="*/ 268839 w 567904"/>
                <a:gd name="connsiteY54" fmla="*/ 131447 h 604115"/>
                <a:gd name="connsiteX55" fmla="*/ 90594 w 567904"/>
                <a:gd name="connsiteY55" fmla="*/ 0 h 604115"/>
                <a:gd name="connsiteX56" fmla="*/ 154613 w 567904"/>
                <a:gd name="connsiteY56" fmla="*/ 26448 h 604115"/>
                <a:gd name="connsiteX57" fmla="*/ 125179 w 567904"/>
                <a:gd name="connsiteY57" fmla="*/ 55947 h 604115"/>
                <a:gd name="connsiteX58" fmla="*/ 284009 w 567904"/>
                <a:gd name="connsiteY58" fmla="*/ 6329 h 604115"/>
                <a:gd name="connsiteX59" fmla="*/ 442839 w 567904"/>
                <a:gd name="connsiteY59" fmla="*/ 55947 h 604115"/>
                <a:gd name="connsiteX60" fmla="*/ 413291 w 567904"/>
                <a:gd name="connsiteY60" fmla="*/ 26448 h 604115"/>
                <a:gd name="connsiteX61" fmla="*/ 541329 w 567904"/>
                <a:gd name="connsiteY61" fmla="*/ 26448 h 604115"/>
                <a:gd name="connsiteX62" fmla="*/ 541329 w 567904"/>
                <a:gd name="connsiteY62" fmla="*/ 154391 h 604115"/>
                <a:gd name="connsiteX63" fmla="*/ 513480 w 567904"/>
                <a:gd name="connsiteY63" fmla="*/ 126474 h 604115"/>
                <a:gd name="connsiteX64" fmla="*/ 563178 w 567904"/>
                <a:gd name="connsiteY64" fmla="*/ 285160 h 604115"/>
                <a:gd name="connsiteX65" fmla="*/ 441593 w 567904"/>
                <a:gd name="connsiteY65" fmla="*/ 515052 h 604115"/>
                <a:gd name="connsiteX66" fmla="*/ 492197 w 567904"/>
                <a:gd name="connsiteY66" fmla="*/ 565574 h 604115"/>
                <a:gd name="connsiteX67" fmla="*/ 492197 w 567904"/>
                <a:gd name="connsiteY67" fmla="*/ 597560 h 604115"/>
                <a:gd name="connsiteX68" fmla="*/ 476235 w 567904"/>
                <a:gd name="connsiteY68" fmla="*/ 604115 h 604115"/>
                <a:gd name="connsiteX69" fmla="*/ 460159 w 567904"/>
                <a:gd name="connsiteY69" fmla="*/ 597560 h 604115"/>
                <a:gd name="connsiteX70" fmla="*/ 400839 w 567904"/>
                <a:gd name="connsiteY70" fmla="*/ 538222 h 604115"/>
                <a:gd name="connsiteX71" fmla="*/ 284009 w 567904"/>
                <a:gd name="connsiteY71" fmla="*/ 563878 h 604115"/>
                <a:gd name="connsiteX72" fmla="*/ 167065 w 567904"/>
                <a:gd name="connsiteY72" fmla="*/ 538222 h 604115"/>
                <a:gd name="connsiteX73" fmla="*/ 107745 w 567904"/>
                <a:gd name="connsiteY73" fmla="*/ 597560 h 604115"/>
                <a:gd name="connsiteX74" fmla="*/ 91782 w 567904"/>
                <a:gd name="connsiteY74" fmla="*/ 604115 h 604115"/>
                <a:gd name="connsiteX75" fmla="*/ 75707 w 567904"/>
                <a:gd name="connsiteY75" fmla="*/ 597560 h 604115"/>
                <a:gd name="connsiteX76" fmla="*/ 75707 w 567904"/>
                <a:gd name="connsiteY76" fmla="*/ 565574 h 604115"/>
                <a:gd name="connsiteX77" fmla="*/ 126311 w 567904"/>
                <a:gd name="connsiteY77" fmla="*/ 515052 h 604115"/>
                <a:gd name="connsiteX78" fmla="*/ 4726 w 567904"/>
                <a:gd name="connsiteY78" fmla="*/ 285160 h 604115"/>
                <a:gd name="connsiteX79" fmla="*/ 54424 w 567904"/>
                <a:gd name="connsiteY79" fmla="*/ 126474 h 604115"/>
                <a:gd name="connsiteX80" fmla="*/ 26575 w 567904"/>
                <a:gd name="connsiteY80" fmla="*/ 154391 h 604115"/>
                <a:gd name="connsiteX81" fmla="*/ 26575 w 567904"/>
                <a:gd name="connsiteY81" fmla="*/ 26448 h 604115"/>
                <a:gd name="connsiteX82" fmla="*/ 90594 w 567904"/>
                <a:gd name="connsiteY82" fmla="*/ 0 h 6041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</a:cxnLst>
              <a:rect l="l" t="t" r="r" b="b"/>
              <a:pathLst>
                <a:path w="567904" h="604115">
                  <a:moveTo>
                    <a:pt x="283988" y="165481"/>
                  </a:moveTo>
                  <a:cubicBezTo>
                    <a:pt x="292368" y="165481"/>
                    <a:pt x="299163" y="172264"/>
                    <a:pt x="299163" y="180516"/>
                  </a:cubicBezTo>
                  <a:lnTo>
                    <a:pt x="299163" y="272309"/>
                  </a:lnTo>
                  <a:cubicBezTo>
                    <a:pt x="302561" y="274457"/>
                    <a:pt x="305505" y="277396"/>
                    <a:pt x="307657" y="280788"/>
                  </a:cubicBezTo>
                  <a:lnTo>
                    <a:pt x="366094" y="280788"/>
                  </a:lnTo>
                  <a:cubicBezTo>
                    <a:pt x="374474" y="280788"/>
                    <a:pt x="381156" y="287570"/>
                    <a:pt x="381156" y="295936"/>
                  </a:cubicBezTo>
                  <a:cubicBezTo>
                    <a:pt x="381156" y="304188"/>
                    <a:pt x="374474" y="310971"/>
                    <a:pt x="366094" y="310971"/>
                  </a:cubicBezTo>
                  <a:lnTo>
                    <a:pt x="307657" y="310971"/>
                  </a:lnTo>
                  <a:cubicBezTo>
                    <a:pt x="302674" y="318771"/>
                    <a:pt x="293954" y="323971"/>
                    <a:pt x="283988" y="323971"/>
                  </a:cubicBezTo>
                  <a:cubicBezTo>
                    <a:pt x="268586" y="323971"/>
                    <a:pt x="255902" y="311310"/>
                    <a:pt x="255902" y="295936"/>
                  </a:cubicBezTo>
                  <a:cubicBezTo>
                    <a:pt x="255902" y="285988"/>
                    <a:pt x="261111" y="277283"/>
                    <a:pt x="268926" y="272309"/>
                  </a:cubicBezTo>
                  <a:lnTo>
                    <a:pt x="268926" y="180516"/>
                  </a:lnTo>
                  <a:cubicBezTo>
                    <a:pt x="268926" y="172264"/>
                    <a:pt x="275721" y="165481"/>
                    <a:pt x="283988" y="165481"/>
                  </a:cubicBezTo>
                  <a:close/>
                  <a:moveTo>
                    <a:pt x="268839" y="63180"/>
                  </a:moveTo>
                  <a:cubicBezTo>
                    <a:pt x="216084" y="66684"/>
                    <a:pt x="168311" y="88724"/>
                    <a:pt x="131858" y="122631"/>
                  </a:cubicBezTo>
                  <a:lnTo>
                    <a:pt x="178160" y="168971"/>
                  </a:lnTo>
                  <a:cubicBezTo>
                    <a:pt x="184046" y="174849"/>
                    <a:pt x="184046" y="184343"/>
                    <a:pt x="178160" y="190220"/>
                  </a:cubicBezTo>
                  <a:cubicBezTo>
                    <a:pt x="175216" y="193159"/>
                    <a:pt x="171367" y="194628"/>
                    <a:pt x="167518" y="194628"/>
                  </a:cubicBezTo>
                  <a:cubicBezTo>
                    <a:pt x="163669" y="194628"/>
                    <a:pt x="159820" y="193159"/>
                    <a:pt x="156877" y="190220"/>
                  </a:cubicBezTo>
                  <a:lnTo>
                    <a:pt x="111254" y="144671"/>
                  </a:lnTo>
                  <a:cubicBezTo>
                    <a:pt x="80801" y="181969"/>
                    <a:pt x="62235" y="229213"/>
                    <a:pt x="61216" y="280752"/>
                  </a:cubicBezTo>
                  <a:lnTo>
                    <a:pt x="119292" y="280752"/>
                  </a:lnTo>
                  <a:cubicBezTo>
                    <a:pt x="127669" y="280752"/>
                    <a:pt x="134348" y="287534"/>
                    <a:pt x="134348" y="295898"/>
                  </a:cubicBezTo>
                  <a:cubicBezTo>
                    <a:pt x="134348" y="304148"/>
                    <a:pt x="127669" y="310930"/>
                    <a:pt x="119292" y="310930"/>
                  </a:cubicBezTo>
                  <a:lnTo>
                    <a:pt x="62688" y="310930"/>
                  </a:lnTo>
                  <a:cubicBezTo>
                    <a:pt x="68235" y="359304"/>
                    <a:pt x="89518" y="403045"/>
                    <a:pt x="121330" y="436952"/>
                  </a:cubicBezTo>
                  <a:lnTo>
                    <a:pt x="156877" y="401462"/>
                  </a:lnTo>
                  <a:cubicBezTo>
                    <a:pt x="162763" y="395585"/>
                    <a:pt x="172273" y="395585"/>
                    <a:pt x="178160" y="401462"/>
                  </a:cubicBezTo>
                  <a:cubicBezTo>
                    <a:pt x="184046" y="407340"/>
                    <a:pt x="184046" y="416834"/>
                    <a:pt x="178160" y="422824"/>
                  </a:cubicBezTo>
                  <a:lnTo>
                    <a:pt x="143405" y="457523"/>
                  </a:lnTo>
                  <a:cubicBezTo>
                    <a:pt x="178046" y="485779"/>
                    <a:pt x="221518" y="503862"/>
                    <a:pt x="268839" y="507027"/>
                  </a:cubicBezTo>
                  <a:lnTo>
                    <a:pt x="268839" y="460235"/>
                  </a:lnTo>
                  <a:cubicBezTo>
                    <a:pt x="268839" y="451984"/>
                    <a:pt x="275631" y="445203"/>
                    <a:pt x="284009" y="445203"/>
                  </a:cubicBezTo>
                  <a:cubicBezTo>
                    <a:pt x="292273" y="445203"/>
                    <a:pt x="299065" y="451984"/>
                    <a:pt x="299065" y="460235"/>
                  </a:cubicBezTo>
                  <a:lnTo>
                    <a:pt x="299065" y="507027"/>
                  </a:lnTo>
                  <a:cubicBezTo>
                    <a:pt x="346499" y="503862"/>
                    <a:pt x="389858" y="485779"/>
                    <a:pt x="424612" y="457523"/>
                  </a:cubicBezTo>
                  <a:lnTo>
                    <a:pt x="389744" y="422824"/>
                  </a:lnTo>
                  <a:cubicBezTo>
                    <a:pt x="383858" y="416834"/>
                    <a:pt x="383858" y="407340"/>
                    <a:pt x="389744" y="401462"/>
                  </a:cubicBezTo>
                  <a:cubicBezTo>
                    <a:pt x="395631" y="395585"/>
                    <a:pt x="405254" y="395585"/>
                    <a:pt x="411141" y="401462"/>
                  </a:cubicBezTo>
                  <a:lnTo>
                    <a:pt x="446688" y="436952"/>
                  </a:lnTo>
                  <a:cubicBezTo>
                    <a:pt x="478386" y="403045"/>
                    <a:pt x="499669" y="359304"/>
                    <a:pt x="505329" y="310930"/>
                  </a:cubicBezTo>
                  <a:lnTo>
                    <a:pt x="448612" y="310930"/>
                  </a:lnTo>
                  <a:cubicBezTo>
                    <a:pt x="440348" y="310930"/>
                    <a:pt x="433556" y="304148"/>
                    <a:pt x="433556" y="295898"/>
                  </a:cubicBezTo>
                  <a:cubicBezTo>
                    <a:pt x="433556" y="287534"/>
                    <a:pt x="440348" y="280752"/>
                    <a:pt x="448612" y="280752"/>
                  </a:cubicBezTo>
                  <a:lnTo>
                    <a:pt x="506801" y="280752"/>
                  </a:lnTo>
                  <a:cubicBezTo>
                    <a:pt x="505782" y="229213"/>
                    <a:pt x="487103" y="181969"/>
                    <a:pt x="456650" y="144671"/>
                  </a:cubicBezTo>
                  <a:lnTo>
                    <a:pt x="411141" y="190220"/>
                  </a:lnTo>
                  <a:cubicBezTo>
                    <a:pt x="408197" y="193159"/>
                    <a:pt x="404235" y="194628"/>
                    <a:pt x="400386" y="194628"/>
                  </a:cubicBezTo>
                  <a:cubicBezTo>
                    <a:pt x="396537" y="194628"/>
                    <a:pt x="392688" y="193159"/>
                    <a:pt x="389744" y="190220"/>
                  </a:cubicBezTo>
                  <a:cubicBezTo>
                    <a:pt x="383858" y="184343"/>
                    <a:pt x="383858" y="174849"/>
                    <a:pt x="389744" y="168971"/>
                  </a:cubicBezTo>
                  <a:lnTo>
                    <a:pt x="436046" y="122631"/>
                  </a:lnTo>
                  <a:cubicBezTo>
                    <a:pt x="399707" y="88724"/>
                    <a:pt x="351820" y="66684"/>
                    <a:pt x="299065" y="63180"/>
                  </a:cubicBezTo>
                  <a:lnTo>
                    <a:pt x="299065" y="131447"/>
                  </a:lnTo>
                  <a:cubicBezTo>
                    <a:pt x="299065" y="139698"/>
                    <a:pt x="292273" y="146479"/>
                    <a:pt x="284009" y="146479"/>
                  </a:cubicBezTo>
                  <a:cubicBezTo>
                    <a:pt x="275631" y="146479"/>
                    <a:pt x="268839" y="139698"/>
                    <a:pt x="268839" y="131447"/>
                  </a:cubicBezTo>
                  <a:close/>
                  <a:moveTo>
                    <a:pt x="90594" y="0"/>
                  </a:moveTo>
                  <a:cubicBezTo>
                    <a:pt x="113773" y="0"/>
                    <a:pt x="136952" y="8816"/>
                    <a:pt x="154613" y="26448"/>
                  </a:cubicBezTo>
                  <a:lnTo>
                    <a:pt x="125179" y="55947"/>
                  </a:lnTo>
                  <a:cubicBezTo>
                    <a:pt x="170235" y="24639"/>
                    <a:pt x="225028" y="6329"/>
                    <a:pt x="284009" y="6329"/>
                  </a:cubicBezTo>
                  <a:cubicBezTo>
                    <a:pt x="342990" y="6329"/>
                    <a:pt x="397669" y="24639"/>
                    <a:pt x="442839" y="55947"/>
                  </a:cubicBezTo>
                  <a:lnTo>
                    <a:pt x="413291" y="26448"/>
                  </a:lnTo>
                  <a:cubicBezTo>
                    <a:pt x="448725" y="-8816"/>
                    <a:pt x="506008" y="-8816"/>
                    <a:pt x="541329" y="26448"/>
                  </a:cubicBezTo>
                  <a:cubicBezTo>
                    <a:pt x="576763" y="61824"/>
                    <a:pt x="576763" y="119014"/>
                    <a:pt x="541329" y="154391"/>
                  </a:cubicBezTo>
                  <a:lnTo>
                    <a:pt x="513480" y="126474"/>
                  </a:lnTo>
                  <a:cubicBezTo>
                    <a:pt x="544839" y="171571"/>
                    <a:pt x="563178" y="226275"/>
                    <a:pt x="563178" y="285160"/>
                  </a:cubicBezTo>
                  <a:cubicBezTo>
                    <a:pt x="563178" y="380440"/>
                    <a:pt x="514952" y="464756"/>
                    <a:pt x="441593" y="515052"/>
                  </a:cubicBezTo>
                  <a:lnTo>
                    <a:pt x="492197" y="565574"/>
                  </a:lnTo>
                  <a:cubicBezTo>
                    <a:pt x="501027" y="574390"/>
                    <a:pt x="501027" y="588744"/>
                    <a:pt x="492197" y="597560"/>
                  </a:cubicBezTo>
                  <a:cubicBezTo>
                    <a:pt x="487782" y="601968"/>
                    <a:pt x="482008" y="604115"/>
                    <a:pt x="476235" y="604115"/>
                  </a:cubicBezTo>
                  <a:cubicBezTo>
                    <a:pt x="470348" y="604115"/>
                    <a:pt x="464574" y="601968"/>
                    <a:pt x="460159" y="597560"/>
                  </a:cubicBezTo>
                  <a:lnTo>
                    <a:pt x="400839" y="538222"/>
                  </a:lnTo>
                  <a:cubicBezTo>
                    <a:pt x="365292" y="554723"/>
                    <a:pt x="325669" y="563878"/>
                    <a:pt x="284009" y="563878"/>
                  </a:cubicBezTo>
                  <a:cubicBezTo>
                    <a:pt x="242235" y="563878"/>
                    <a:pt x="202726" y="554723"/>
                    <a:pt x="167065" y="538222"/>
                  </a:cubicBezTo>
                  <a:lnTo>
                    <a:pt x="107745" y="597560"/>
                  </a:lnTo>
                  <a:cubicBezTo>
                    <a:pt x="103330" y="601968"/>
                    <a:pt x="97556" y="604115"/>
                    <a:pt x="91782" y="604115"/>
                  </a:cubicBezTo>
                  <a:cubicBezTo>
                    <a:pt x="85896" y="604115"/>
                    <a:pt x="80122" y="601968"/>
                    <a:pt x="75707" y="597560"/>
                  </a:cubicBezTo>
                  <a:cubicBezTo>
                    <a:pt x="66877" y="588744"/>
                    <a:pt x="66877" y="574390"/>
                    <a:pt x="75707" y="565574"/>
                  </a:cubicBezTo>
                  <a:lnTo>
                    <a:pt x="126311" y="515052"/>
                  </a:lnTo>
                  <a:cubicBezTo>
                    <a:pt x="52952" y="464756"/>
                    <a:pt x="4726" y="380440"/>
                    <a:pt x="4726" y="285160"/>
                  </a:cubicBezTo>
                  <a:cubicBezTo>
                    <a:pt x="4726" y="226275"/>
                    <a:pt x="23065" y="171571"/>
                    <a:pt x="54424" y="126474"/>
                  </a:cubicBezTo>
                  <a:lnTo>
                    <a:pt x="26575" y="154391"/>
                  </a:lnTo>
                  <a:cubicBezTo>
                    <a:pt x="-8859" y="119014"/>
                    <a:pt x="-8859" y="61824"/>
                    <a:pt x="26575" y="26448"/>
                  </a:cubicBezTo>
                  <a:cubicBezTo>
                    <a:pt x="44235" y="8816"/>
                    <a:pt x="67415" y="0"/>
                    <a:pt x="90594" y="0"/>
                  </a:cubicBez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>
              <a:noFill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9" name="îṩḻídè">
              <a:extLst>
                <a:ext uri="{FF2B5EF4-FFF2-40B4-BE49-F238E27FC236}">
                  <a16:creationId xmlns:a16="http://schemas.microsoft.com/office/drawing/2014/main" id="{90F4D2B6-FAEB-4A63-9D31-38B44F1CEC0B}"/>
                </a:ext>
              </a:extLst>
            </p:cNvPr>
            <p:cNvSpPr/>
            <p:nvPr/>
          </p:nvSpPr>
          <p:spPr bwMode="auto">
            <a:xfrm>
              <a:off x="5907087" y="1915189"/>
              <a:ext cx="459194" cy="488470"/>
            </a:xfrm>
            <a:custGeom>
              <a:avLst/>
              <a:gdLst>
                <a:gd name="connsiteX0" fmla="*/ 283988 w 567904"/>
                <a:gd name="connsiteY0" fmla="*/ 165481 h 604115"/>
                <a:gd name="connsiteX1" fmla="*/ 299163 w 567904"/>
                <a:gd name="connsiteY1" fmla="*/ 180516 h 604115"/>
                <a:gd name="connsiteX2" fmla="*/ 299163 w 567904"/>
                <a:gd name="connsiteY2" fmla="*/ 272309 h 604115"/>
                <a:gd name="connsiteX3" fmla="*/ 307657 w 567904"/>
                <a:gd name="connsiteY3" fmla="*/ 280788 h 604115"/>
                <a:gd name="connsiteX4" fmla="*/ 366094 w 567904"/>
                <a:gd name="connsiteY4" fmla="*/ 280788 h 604115"/>
                <a:gd name="connsiteX5" fmla="*/ 381156 w 567904"/>
                <a:gd name="connsiteY5" fmla="*/ 295936 h 604115"/>
                <a:gd name="connsiteX6" fmla="*/ 366094 w 567904"/>
                <a:gd name="connsiteY6" fmla="*/ 310971 h 604115"/>
                <a:gd name="connsiteX7" fmla="*/ 307657 w 567904"/>
                <a:gd name="connsiteY7" fmla="*/ 310971 h 604115"/>
                <a:gd name="connsiteX8" fmla="*/ 283988 w 567904"/>
                <a:gd name="connsiteY8" fmla="*/ 323971 h 604115"/>
                <a:gd name="connsiteX9" fmla="*/ 255902 w 567904"/>
                <a:gd name="connsiteY9" fmla="*/ 295936 h 604115"/>
                <a:gd name="connsiteX10" fmla="*/ 268926 w 567904"/>
                <a:gd name="connsiteY10" fmla="*/ 272309 h 604115"/>
                <a:gd name="connsiteX11" fmla="*/ 268926 w 567904"/>
                <a:gd name="connsiteY11" fmla="*/ 180516 h 604115"/>
                <a:gd name="connsiteX12" fmla="*/ 283988 w 567904"/>
                <a:gd name="connsiteY12" fmla="*/ 165481 h 604115"/>
                <a:gd name="connsiteX13" fmla="*/ 268839 w 567904"/>
                <a:gd name="connsiteY13" fmla="*/ 63180 h 604115"/>
                <a:gd name="connsiteX14" fmla="*/ 131858 w 567904"/>
                <a:gd name="connsiteY14" fmla="*/ 122631 h 604115"/>
                <a:gd name="connsiteX15" fmla="*/ 178160 w 567904"/>
                <a:gd name="connsiteY15" fmla="*/ 168971 h 604115"/>
                <a:gd name="connsiteX16" fmla="*/ 178160 w 567904"/>
                <a:gd name="connsiteY16" fmla="*/ 190220 h 604115"/>
                <a:gd name="connsiteX17" fmla="*/ 167518 w 567904"/>
                <a:gd name="connsiteY17" fmla="*/ 194628 h 604115"/>
                <a:gd name="connsiteX18" fmla="*/ 156877 w 567904"/>
                <a:gd name="connsiteY18" fmla="*/ 190220 h 604115"/>
                <a:gd name="connsiteX19" fmla="*/ 111254 w 567904"/>
                <a:gd name="connsiteY19" fmla="*/ 144671 h 604115"/>
                <a:gd name="connsiteX20" fmla="*/ 61216 w 567904"/>
                <a:gd name="connsiteY20" fmla="*/ 280752 h 604115"/>
                <a:gd name="connsiteX21" fmla="*/ 119292 w 567904"/>
                <a:gd name="connsiteY21" fmla="*/ 280752 h 604115"/>
                <a:gd name="connsiteX22" fmla="*/ 134348 w 567904"/>
                <a:gd name="connsiteY22" fmla="*/ 295898 h 604115"/>
                <a:gd name="connsiteX23" fmla="*/ 119292 w 567904"/>
                <a:gd name="connsiteY23" fmla="*/ 310930 h 604115"/>
                <a:gd name="connsiteX24" fmla="*/ 62688 w 567904"/>
                <a:gd name="connsiteY24" fmla="*/ 310930 h 604115"/>
                <a:gd name="connsiteX25" fmla="*/ 121330 w 567904"/>
                <a:gd name="connsiteY25" fmla="*/ 436952 h 604115"/>
                <a:gd name="connsiteX26" fmla="*/ 156877 w 567904"/>
                <a:gd name="connsiteY26" fmla="*/ 401462 h 604115"/>
                <a:gd name="connsiteX27" fmla="*/ 178160 w 567904"/>
                <a:gd name="connsiteY27" fmla="*/ 401462 h 604115"/>
                <a:gd name="connsiteX28" fmla="*/ 178160 w 567904"/>
                <a:gd name="connsiteY28" fmla="*/ 422824 h 604115"/>
                <a:gd name="connsiteX29" fmla="*/ 143405 w 567904"/>
                <a:gd name="connsiteY29" fmla="*/ 457523 h 604115"/>
                <a:gd name="connsiteX30" fmla="*/ 268839 w 567904"/>
                <a:gd name="connsiteY30" fmla="*/ 507027 h 604115"/>
                <a:gd name="connsiteX31" fmla="*/ 268839 w 567904"/>
                <a:gd name="connsiteY31" fmla="*/ 460235 h 604115"/>
                <a:gd name="connsiteX32" fmla="*/ 284009 w 567904"/>
                <a:gd name="connsiteY32" fmla="*/ 445203 h 604115"/>
                <a:gd name="connsiteX33" fmla="*/ 299065 w 567904"/>
                <a:gd name="connsiteY33" fmla="*/ 460235 h 604115"/>
                <a:gd name="connsiteX34" fmla="*/ 299065 w 567904"/>
                <a:gd name="connsiteY34" fmla="*/ 507027 h 604115"/>
                <a:gd name="connsiteX35" fmla="*/ 424612 w 567904"/>
                <a:gd name="connsiteY35" fmla="*/ 457523 h 604115"/>
                <a:gd name="connsiteX36" fmla="*/ 389744 w 567904"/>
                <a:gd name="connsiteY36" fmla="*/ 422824 h 604115"/>
                <a:gd name="connsiteX37" fmla="*/ 389744 w 567904"/>
                <a:gd name="connsiteY37" fmla="*/ 401462 h 604115"/>
                <a:gd name="connsiteX38" fmla="*/ 411141 w 567904"/>
                <a:gd name="connsiteY38" fmla="*/ 401462 h 604115"/>
                <a:gd name="connsiteX39" fmla="*/ 446688 w 567904"/>
                <a:gd name="connsiteY39" fmla="*/ 436952 h 604115"/>
                <a:gd name="connsiteX40" fmla="*/ 505329 w 567904"/>
                <a:gd name="connsiteY40" fmla="*/ 310930 h 604115"/>
                <a:gd name="connsiteX41" fmla="*/ 448612 w 567904"/>
                <a:gd name="connsiteY41" fmla="*/ 310930 h 604115"/>
                <a:gd name="connsiteX42" fmla="*/ 433556 w 567904"/>
                <a:gd name="connsiteY42" fmla="*/ 295898 h 604115"/>
                <a:gd name="connsiteX43" fmla="*/ 448612 w 567904"/>
                <a:gd name="connsiteY43" fmla="*/ 280752 h 604115"/>
                <a:gd name="connsiteX44" fmla="*/ 506801 w 567904"/>
                <a:gd name="connsiteY44" fmla="*/ 280752 h 604115"/>
                <a:gd name="connsiteX45" fmla="*/ 456650 w 567904"/>
                <a:gd name="connsiteY45" fmla="*/ 144671 h 604115"/>
                <a:gd name="connsiteX46" fmla="*/ 411141 w 567904"/>
                <a:gd name="connsiteY46" fmla="*/ 190220 h 604115"/>
                <a:gd name="connsiteX47" fmla="*/ 400386 w 567904"/>
                <a:gd name="connsiteY47" fmla="*/ 194628 h 604115"/>
                <a:gd name="connsiteX48" fmla="*/ 389744 w 567904"/>
                <a:gd name="connsiteY48" fmla="*/ 190220 h 604115"/>
                <a:gd name="connsiteX49" fmla="*/ 389744 w 567904"/>
                <a:gd name="connsiteY49" fmla="*/ 168971 h 604115"/>
                <a:gd name="connsiteX50" fmla="*/ 436046 w 567904"/>
                <a:gd name="connsiteY50" fmla="*/ 122631 h 604115"/>
                <a:gd name="connsiteX51" fmla="*/ 299065 w 567904"/>
                <a:gd name="connsiteY51" fmla="*/ 63180 h 604115"/>
                <a:gd name="connsiteX52" fmla="*/ 299065 w 567904"/>
                <a:gd name="connsiteY52" fmla="*/ 131447 h 604115"/>
                <a:gd name="connsiteX53" fmla="*/ 284009 w 567904"/>
                <a:gd name="connsiteY53" fmla="*/ 146479 h 604115"/>
                <a:gd name="connsiteX54" fmla="*/ 268839 w 567904"/>
                <a:gd name="connsiteY54" fmla="*/ 131447 h 604115"/>
                <a:gd name="connsiteX55" fmla="*/ 90594 w 567904"/>
                <a:gd name="connsiteY55" fmla="*/ 0 h 604115"/>
                <a:gd name="connsiteX56" fmla="*/ 154613 w 567904"/>
                <a:gd name="connsiteY56" fmla="*/ 26448 h 604115"/>
                <a:gd name="connsiteX57" fmla="*/ 125179 w 567904"/>
                <a:gd name="connsiteY57" fmla="*/ 55947 h 604115"/>
                <a:gd name="connsiteX58" fmla="*/ 284009 w 567904"/>
                <a:gd name="connsiteY58" fmla="*/ 6329 h 604115"/>
                <a:gd name="connsiteX59" fmla="*/ 442839 w 567904"/>
                <a:gd name="connsiteY59" fmla="*/ 55947 h 604115"/>
                <a:gd name="connsiteX60" fmla="*/ 413291 w 567904"/>
                <a:gd name="connsiteY60" fmla="*/ 26448 h 604115"/>
                <a:gd name="connsiteX61" fmla="*/ 541329 w 567904"/>
                <a:gd name="connsiteY61" fmla="*/ 26448 h 604115"/>
                <a:gd name="connsiteX62" fmla="*/ 541329 w 567904"/>
                <a:gd name="connsiteY62" fmla="*/ 154391 h 604115"/>
                <a:gd name="connsiteX63" fmla="*/ 513480 w 567904"/>
                <a:gd name="connsiteY63" fmla="*/ 126474 h 604115"/>
                <a:gd name="connsiteX64" fmla="*/ 563178 w 567904"/>
                <a:gd name="connsiteY64" fmla="*/ 285160 h 604115"/>
                <a:gd name="connsiteX65" fmla="*/ 441593 w 567904"/>
                <a:gd name="connsiteY65" fmla="*/ 515052 h 604115"/>
                <a:gd name="connsiteX66" fmla="*/ 492197 w 567904"/>
                <a:gd name="connsiteY66" fmla="*/ 565574 h 604115"/>
                <a:gd name="connsiteX67" fmla="*/ 492197 w 567904"/>
                <a:gd name="connsiteY67" fmla="*/ 597560 h 604115"/>
                <a:gd name="connsiteX68" fmla="*/ 476235 w 567904"/>
                <a:gd name="connsiteY68" fmla="*/ 604115 h 604115"/>
                <a:gd name="connsiteX69" fmla="*/ 460159 w 567904"/>
                <a:gd name="connsiteY69" fmla="*/ 597560 h 604115"/>
                <a:gd name="connsiteX70" fmla="*/ 400839 w 567904"/>
                <a:gd name="connsiteY70" fmla="*/ 538222 h 604115"/>
                <a:gd name="connsiteX71" fmla="*/ 284009 w 567904"/>
                <a:gd name="connsiteY71" fmla="*/ 563878 h 604115"/>
                <a:gd name="connsiteX72" fmla="*/ 167065 w 567904"/>
                <a:gd name="connsiteY72" fmla="*/ 538222 h 604115"/>
                <a:gd name="connsiteX73" fmla="*/ 107745 w 567904"/>
                <a:gd name="connsiteY73" fmla="*/ 597560 h 604115"/>
                <a:gd name="connsiteX74" fmla="*/ 91782 w 567904"/>
                <a:gd name="connsiteY74" fmla="*/ 604115 h 604115"/>
                <a:gd name="connsiteX75" fmla="*/ 75707 w 567904"/>
                <a:gd name="connsiteY75" fmla="*/ 597560 h 604115"/>
                <a:gd name="connsiteX76" fmla="*/ 75707 w 567904"/>
                <a:gd name="connsiteY76" fmla="*/ 565574 h 604115"/>
                <a:gd name="connsiteX77" fmla="*/ 126311 w 567904"/>
                <a:gd name="connsiteY77" fmla="*/ 515052 h 604115"/>
                <a:gd name="connsiteX78" fmla="*/ 4726 w 567904"/>
                <a:gd name="connsiteY78" fmla="*/ 285160 h 604115"/>
                <a:gd name="connsiteX79" fmla="*/ 54424 w 567904"/>
                <a:gd name="connsiteY79" fmla="*/ 126474 h 604115"/>
                <a:gd name="connsiteX80" fmla="*/ 26575 w 567904"/>
                <a:gd name="connsiteY80" fmla="*/ 154391 h 604115"/>
                <a:gd name="connsiteX81" fmla="*/ 26575 w 567904"/>
                <a:gd name="connsiteY81" fmla="*/ 26448 h 604115"/>
                <a:gd name="connsiteX82" fmla="*/ 90594 w 567904"/>
                <a:gd name="connsiteY82" fmla="*/ 0 h 6041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</a:cxnLst>
              <a:rect l="l" t="t" r="r" b="b"/>
              <a:pathLst>
                <a:path w="567904" h="604115">
                  <a:moveTo>
                    <a:pt x="283988" y="165481"/>
                  </a:moveTo>
                  <a:cubicBezTo>
                    <a:pt x="292368" y="165481"/>
                    <a:pt x="299163" y="172264"/>
                    <a:pt x="299163" y="180516"/>
                  </a:cubicBezTo>
                  <a:lnTo>
                    <a:pt x="299163" y="272309"/>
                  </a:lnTo>
                  <a:cubicBezTo>
                    <a:pt x="302561" y="274457"/>
                    <a:pt x="305505" y="277396"/>
                    <a:pt x="307657" y="280788"/>
                  </a:cubicBezTo>
                  <a:lnTo>
                    <a:pt x="366094" y="280788"/>
                  </a:lnTo>
                  <a:cubicBezTo>
                    <a:pt x="374474" y="280788"/>
                    <a:pt x="381156" y="287570"/>
                    <a:pt x="381156" y="295936"/>
                  </a:cubicBezTo>
                  <a:cubicBezTo>
                    <a:pt x="381156" y="304188"/>
                    <a:pt x="374474" y="310971"/>
                    <a:pt x="366094" y="310971"/>
                  </a:cubicBezTo>
                  <a:lnTo>
                    <a:pt x="307657" y="310971"/>
                  </a:lnTo>
                  <a:cubicBezTo>
                    <a:pt x="302674" y="318771"/>
                    <a:pt x="293954" y="323971"/>
                    <a:pt x="283988" y="323971"/>
                  </a:cubicBezTo>
                  <a:cubicBezTo>
                    <a:pt x="268586" y="323971"/>
                    <a:pt x="255902" y="311310"/>
                    <a:pt x="255902" y="295936"/>
                  </a:cubicBezTo>
                  <a:cubicBezTo>
                    <a:pt x="255902" y="285988"/>
                    <a:pt x="261111" y="277283"/>
                    <a:pt x="268926" y="272309"/>
                  </a:cubicBezTo>
                  <a:lnTo>
                    <a:pt x="268926" y="180516"/>
                  </a:lnTo>
                  <a:cubicBezTo>
                    <a:pt x="268926" y="172264"/>
                    <a:pt x="275721" y="165481"/>
                    <a:pt x="283988" y="165481"/>
                  </a:cubicBezTo>
                  <a:close/>
                  <a:moveTo>
                    <a:pt x="268839" y="63180"/>
                  </a:moveTo>
                  <a:cubicBezTo>
                    <a:pt x="216084" y="66684"/>
                    <a:pt x="168311" y="88724"/>
                    <a:pt x="131858" y="122631"/>
                  </a:cubicBezTo>
                  <a:lnTo>
                    <a:pt x="178160" y="168971"/>
                  </a:lnTo>
                  <a:cubicBezTo>
                    <a:pt x="184046" y="174849"/>
                    <a:pt x="184046" y="184343"/>
                    <a:pt x="178160" y="190220"/>
                  </a:cubicBezTo>
                  <a:cubicBezTo>
                    <a:pt x="175216" y="193159"/>
                    <a:pt x="171367" y="194628"/>
                    <a:pt x="167518" y="194628"/>
                  </a:cubicBezTo>
                  <a:cubicBezTo>
                    <a:pt x="163669" y="194628"/>
                    <a:pt x="159820" y="193159"/>
                    <a:pt x="156877" y="190220"/>
                  </a:cubicBezTo>
                  <a:lnTo>
                    <a:pt x="111254" y="144671"/>
                  </a:lnTo>
                  <a:cubicBezTo>
                    <a:pt x="80801" y="181969"/>
                    <a:pt x="62235" y="229213"/>
                    <a:pt x="61216" y="280752"/>
                  </a:cubicBezTo>
                  <a:lnTo>
                    <a:pt x="119292" y="280752"/>
                  </a:lnTo>
                  <a:cubicBezTo>
                    <a:pt x="127669" y="280752"/>
                    <a:pt x="134348" y="287534"/>
                    <a:pt x="134348" y="295898"/>
                  </a:cubicBezTo>
                  <a:cubicBezTo>
                    <a:pt x="134348" y="304148"/>
                    <a:pt x="127669" y="310930"/>
                    <a:pt x="119292" y="310930"/>
                  </a:cubicBezTo>
                  <a:lnTo>
                    <a:pt x="62688" y="310930"/>
                  </a:lnTo>
                  <a:cubicBezTo>
                    <a:pt x="68235" y="359304"/>
                    <a:pt x="89518" y="403045"/>
                    <a:pt x="121330" y="436952"/>
                  </a:cubicBezTo>
                  <a:lnTo>
                    <a:pt x="156877" y="401462"/>
                  </a:lnTo>
                  <a:cubicBezTo>
                    <a:pt x="162763" y="395585"/>
                    <a:pt x="172273" y="395585"/>
                    <a:pt x="178160" y="401462"/>
                  </a:cubicBezTo>
                  <a:cubicBezTo>
                    <a:pt x="184046" y="407340"/>
                    <a:pt x="184046" y="416834"/>
                    <a:pt x="178160" y="422824"/>
                  </a:cubicBezTo>
                  <a:lnTo>
                    <a:pt x="143405" y="457523"/>
                  </a:lnTo>
                  <a:cubicBezTo>
                    <a:pt x="178046" y="485779"/>
                    <a:pt x="221518" y="503862"/>
                    <a:pt x="268839" y="507027"/>
                  </a:cubicBezTo>
                  <a:lnTo>
                    <a:pt x="268839" y="460235"/>
                  </a:lnTo>
                  <a:cubicBezTo>
                    <a:pt x="268839" y="451984"/>
                    <a:pt x="275631" y="445203"/>
                    <a:pt x="284009" y="445203"/>
                  </a:cubicBezTo>
                  <a:cubicBezTo>
                    <a:pt x="292273" y="445203"/>
                    <a:pt x="299065" y="451984"/>
                    <a:pt x="299065" y="460235"/>
                  </a:cubicBezTo>
                  <a:lnTo>
                    <a:pt x="299065" y="507027"/>
                  </a:lnTo>
                  <a:cubicBezTo>
                    <a:pt x="346499" y="503862"/>
                    <a:pt x="389858" y="485779"/>
                    <a:pt x="424612" y="457523"/>
                  </a:cubicBezTo>
                  <a:lnTo>
                    <a:pt x="389744" y="422824"/>
                  </a:lnTo>
                  <a:cubicBezTo>
                    <a:pt x="383858" y="416834"/>
                    <a:pt x="383858" y="407340"/>
                    <a:pt x="389744" y="401462"/>
                  </a:cubicBezTo>
                  <a:cubicBezTo>
                    <a:pt x="395631" y="395585"/>
                    <a:pt x="405254" y="395585"/>
                    <a:pt x="411141" y="401462"/>
                  </a:cubicBezTo>
                  <a:lnTo>
                    <a:pt x="446688" y="436952"/>
                  </a:lnTo>
                  <a:cubicBezTo>
                    <a:pt x="478386" y="403045"/>
                    <a:pt x="499669" y="359304"/>
                    <a:pt x="505329" y="310930"/>
                  </a:cubicBezTo>
                  <a:lnTo>
                    <a:pt x="448612" y="310930"/>
                  </a:lnTo>
                  <a:cubicBezTo>
                    <a:pt x="440348" y="310930"/>
                    <a:pt x="433556" y="304148"/>
                    <a:pt x="433556" y="295898"/>
                  </a:cubicBezTo>
                  <a:cubicBezTo>
                    <a:pt x="433556" y="287534"/>
                    <a:pt x="440348" y="280752"/>
                    <a:pt x="448612" y="280752"/>
                  </a:cubicBezTo>
                  <a:lnTo>
                    <a:pt x="506801" y="280752"/>
                  </a:lnTo>
                  <a:cubicBezTo>
                    <a:pt x="505782" y="229213"/>
                    <a:pt x="487103" y="181969"/>
                    <a:pt x="456650" y="144671"/>
                  </a:cubicBezTo>
                  <a:lnTo>
                    <a:pt x="411141" y="190220"/>
                  </a:lnTo>
                  <a:cubicBezTo>
                    <a:pt x="408197" y="193159"/>
                    <a:pt x="404235" y="194628"/>
                    <a:pt x="400386" y="194628"/>
                  </a:cubicBezTo>
                  <a:cubicBezTo>
                    <a:pt x="396537" y="194628"/>
                    <a:pt x="392688" y="193159"/>
                    <a:pt x="389744" y="190220"/>
                  </a:cubicBezTo>
                  <a:cubicBezTo>
                    <a:pt x="383858" y="184343"/>
                    <a:pt x="383858" y="174849"/>
                    <a:pt x="389744" y="168971"/>
                  </a:cubicBezTo>
                  <a:lnTo>
                    <a:pt x="436046" y="122631"/>
                  </a:lnTo>
                  <a:cubicBezTo>
                    <a:pt x="399707" y="88724"/>
                    <a:pt x="351820" y="66684"/>
                    <a:pt x="299065" y="63180"/>
                  </a:cubicBezTo>
                  <a:lnTo>
                    <a:pt x="299065" y="131447"/>
                  </a:lnTo>
                  <a:cubicBezTo>
                    <a:pt x="299065" y="139698"/>
                    <a:pt x="292273" y="146479"/>
                    <a:pt x="284009" y="146479"/>
                  </a:cubicBezTo>
                  <a:cubicBezTo>
                    <a:pt x="275631" y="146479"/>
                    <a:pt x="268839" y="139698"/>
                    <a:pt x="268839" y="131447"/>
                  </a:cubicBezTo>
                  <a:close/>
                  <a:moveTo>
                    <a:pt x="90594" y="0"/>
                  </a:moveTo>
                  <a:cubicBezTo>
                    <a:pt x="113773" y="0"/>
                    <a:pt x="136952" y="8816"/>
                    <a:pt x="154613" y="26448"/>
                  </a:cubicBezTo>
                  <a:lnTo>
                    <a:pt x="125179" y="55947"/>
                  </a:lnTo>
                  <a:cubicBezTo>
                    <a:pt x="170235" y="24639"/>
                    <a:pt x="225028" y="6329"/>
                    <a:pt x="284009" y="6329"/>
                  </a:cubicBezTo>
                  <a:cubicBezTo>
                    <a:pt x="342990" y="6329"/>
                    <a:pt x="397669" y="24639"/>
                    <a:pt x="442839" y="55947"/>
                  </a:cubicBezTo>
                  <a:lnTo>
                    <a:pt x="413291" y="26448"/>
                  </a:lnTo>
                  <a:cubicBezTo>
                    <a:pt x="448725" y="-8816"/>
                    <a:pt x="506008" y="-8816"/>
                    <a:pt x="541329" y="26448"/>
                  </a:cubicBezTo>
                  <a:cubicBezTo>
                    <a:pt x="576763" y="61824"/>
                    <a:pt x="576763" y="119014"/>
                    <a:pt x="541329" y="154391"/>
                  </a:cubicBezTo>
                  <a:lnTo>
                    <a:pt x="513480" y="126474"/>
                  </a:lnTo>
                  <a:cubicBezTo>
                    <a:pt x="544839" y="171571"/>
                    <a:pt x="563178" y="226275"/>
                    <a:pt x="563178" y="285160"/>
                  </a:cubicBezTo>
                  <a:cubicBezTo>
                    <a:pt x="563178" y="380440"/>
                    <a:pt x="514952" y="464756"/>
                    <a:pt x="441593" y="515052"/>
                  </a:cubicBezTo>
                  <a:lnTo>
                    <a:pt x="492197" y="565574"/>
                  </a:lnTo>
                  <a:cubicBezTo>
                    <a:pt x="501027" y="574390"/>
                    <a:pt x="501027" y="588744"/>
                    <a:pt x="492197" y="597560"/>
                  </a:cubicBezTo>
                  <a:cubicBezTo>
                    <a:pt x="487782" y="601968"/>
                    <a:pt x="482008" y="604115"/>
                    <a:pt x="476235" y="604115"/>
                  </a:cubicBezTo>
                  <a:cubicBezTo>
                    <a:pt x="470348" y="604115"/>
                    <a:pt x="464574" y="601968"/>
                    <a:pt x="460159" y="597560"/>
                  </a:cubicBezTo>
                  <a:lnTo>
                    <a:pt x="400839" y="538222"/>
                  </a:lnTo>
                  <a:cubicBezTo>
                    <a:pt x="365292" y="554723"/>
                    <a:pt x="325669" y="563878"/>
                    <a:pt x="284009" y="563878"/>
                  </a:cubicBezTo>
                  <a:cubicBezTo>
                    <a:pt x="242235" y="563878"/>
                    <a:pt x="202726" y="554723"/>
                    <a:pt x="167065" y="538222"/>
                  </a:cubicBezTo>
                  <a:lnTo>
                    <a:pt x="107745" y="597560"/>
                  </a:lnTo>
                  <a:cubicBezTo>
                    <a:pt x="103330" y="601968"/>
                    <a:pt x="97556" y="604115"/>
                    <a:pt x="91782" y="604115"/>
                  </a:cubicBezTo>
                  <a:cubicBezTo>
                    <a:pt x="85896" y="604115"/>
                    <a:pt x="80122" y="601968"/>
                    <a:pt x="75707" y="597560"/>
                  </a:cubicBezTo>
                  <a:cubicBezTo>
                    <a:pt x="66877" y="588744"/>
                    <a:pt x="66877" y="574390"/>
                    <a:pt x="75707" y="565574"/>
                  </a:cubicBezTo>
                  <a:lnTo>
                    <a:pt x="126311" y="515052"/>
                  </a:lnTo>
                  <a:cubicBezTo>
                    <a:pt x="52952" y="464756"/>
                    <a:pt x="4726" y="380440"/>
                    <a:pt x="4726" y="285160"/>
                  </a:cubicBezTo>
                  <a:cubicBezTo>
                    <a:pt x="4726" y="226275"/>
                    <a:pt x="23065" y="171571"/>
                    <a:pt x="54424" y="126474"/>
                  </a:cubicBezTo>
                  <a:lnTo>
                    <a:pt x="26575" y="154391"/>
                  </a:lnTo>
                  <a:cubicBezTo>
                    <a:pt x="-8859" y="119014"/>
                    <a:pt x="-8859" y="61824"/>
                    <a:pt x="26575" y="26448"/>
                  </a:cubicBezTo>
                  <a:cubicBezTo>
                    <a:pt x="44235" y="8816"/>
                    <a:pt x="67415" y="0"/>
                    <a:pt x="90594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0" name="ïṣļïḋé">
              <a:extLst>
                <a:ext uri="{FF2B5EF4-FFF2-40B4-BE49-F238E27FC236}">
                  <a16:creationId xmlns:a16="http://schemas.microsoft.com/office/drawing/2014/main" id="{26E8F3F2-ED5E-403C-A137-C81290300EB3}"/>
                </a:ext>
              </a:extLst>
            </p:cNvPr>
            <p:cNvSpPr/>
            <p:nvPr/>
          </p:nvSpPr>
          <p:spPr bwMode="auto">
            <a:xfrm>
              <a:off x="9603320" y="1915189"/>
              <a:ext cx="459194" cy="488470"/>
            </a:xfrm>
            <a:custGeom>
              <a:avLst/>
              <a:gdLst>
                <a:gd name="connsiteX0" fmla="*/ 283988 w 567904"/>
                <a:gd name="connsiteY0" fmla="*/ 165481 h 604115"/>
                <a:gd name="connsiteX1" fmla="*/ 299163 w 567904"/>
                <a:gd name="connsiteY1" fmla="*/ 180516 h 604115"/>
                <a:gd name="connsiteX2" fmla="*/ 299163 w 567904"/>
                <a:gd name="connsiteY2" fmla="*/ 272309 h 604115"/>
                <a:gd name="connsiteX3" fmla="*/ 307657 w 567904"/>
                <a:gd name="connsiteY3" fmla="*/ 280788 h 604115"/>
                <a:gd name="connsiteX4" fmla="*/ 366094 w 567904"/>
                <a:gd name="connsiteY4" fmla="*/ 280788 h 604115"/>
                <a:gd name="connsiteX5" fmla="*/ 381156 w 567904"/>
                <a:gd name="connsiteY5" fmla="*/ 295936 h 604115"/>
                <a:gd name="connsiteX6" fmla="*/ 366094 w 567904"/>
                <a:gd name="connsiteY6" fmla="*/ 310971 h 604115"/>
                <a:gd name="connsiteX7" fmla="*/ 307657 w 567904"/>
                <a:gd name="connsiteY7" fmla="*/ 310971 h 604115"/>
                <a:gd name="connsiteX8" fmla="*/ 283988 w 567904"/>
                <a:gd name="connsiteY8" fmla="*/ 323971 h 604115"/>
                <a:gd name="connsiteX9" fmla="*/ 255902 w 567904"/>
                <a:gd name="connsiteY9" fmla="*/ 295936 h 604115"/>
                <a:gd name="connsiteX10" fmla="*/ 268926 w 567904"/>
                <a:gd name="connsiteY10" fmla="*/ 272309 h 604115"/>
                <a:gd name="connsiteX11" fmla="*/ 268926 w 567904"/>
                <a:gd name="connsiteY11" fmla="*/ 180516 h 604115"/>
                <a:gd name="connsiteX12" fmla="*/ 283988 w 567904"/>
                <a:gd name="connsiteY12" fmla="*/ 165481 h 604115"/>
                <a:gd name="connsiteX13" fmla="*/ 268839 w 567904"/>
                <a:gd name="connsiteY13" fmla="*/ 63180 h 604115"/>
                <a:gd name="connsiteX14" fmla="*/ 131858 w 567904"/>
                <a:gd name="connsiteY14" fmla="*/ 122631 h 604115"/>
                <a:gd name="connsiteX15" fmla="*/ 178160 w 567904"/>
                <a:gd name="connsiteY15" fmla="*/ 168971 h 604115"/>
                <a:gd name="connsiteX16" fmla="*/ 178160 w 567904"/>
                <a:gd name="connsiteY16" fmla="*/ 190220 h 604115"/>
                <a:gd name="connsiteX17" fmla="*/ 167518 w 567904"/>
                <a:gd name="connsiteY17" fmla="*/ 194628 h 604115"/>
                <a:gd name="connsiteX18" fmla="*/ 156877 w 567904"/>
                <a:gd name="connsiteY18" fmla="*/ 190220 h 604115"/>
                <a:gd name="connsiteX19" fmla="*/ 111254 w 567904"/>
                <a:gd name="connsiteY19" fmla="*/ 144671 h 604115"/>
                <a:gd name="connsiteX20" fmla="*/ 61216 w 567904"/>
                <a:gd name="connsiteY20" fmla="*/ 280752 h 604115"/>
                <a:gd name="connsiteX21" fmla="*/ 119292 w 567904"/>
                <a:gd name="connsiteY21" fmla="*/ 280752 h 604115"/>
                <a:gd name="connsiteX22" fmla="*/ 134348 w 567904"/>
                <a:gd name="connsiteY22" fmla="*/ 295898 h 604115"/>
                <a:gd name="connsiteX23" fmla="*/ 119292 w 567904"/>
                <a:gd name="connsiteY23" fmla="*/ 310930 h 604115"/>
                <a:gd name="connsiteX24" fmla="*/ 62688 w 567904"/>
                <a:gd name="connsiteY24" fmla="*/ 310930 h 604115"/>
                <a:gd name="connsiteX25" fmla="*/ 121330 w 567904"/>
                <a:gd name="connsiteY25" fmla="*/ 436952 h 604115"/>
                <a:gd name="connsiteX26" fmla="*/ 156877 w 567904"/>
                <a:gd name="connsiteY26" fmla="*/ 401462 h 604115"/>
                <a:gd name="connsiteX27" fmla="*/ 178160 w 567904"/>
                <a:gd name="connsiteY27" fmla="*/ 401462 h 604115"/>
                <a:gd name="connsiteX28" fmla="*/ 178160 w 567904"/>
                <a:gd name="connsiteY28" fmla="*/ 422824 h 604115"/>
                <a:gd name="connsiteX29" fmla="*/ 143405 w 567904"/>
                <a:gd name="connsiteY29" fmla="*/ 457523 h 604115"/>
                <a:gd name="connsiteX30" fmla="*/ 268839 w 567904"/>
                <a:gd name="connsiteY30" fmla="*/ 507027 h 604115"/>
                <a:gd name="connsiteX31" fmla="*/ 268839 w 567904"/>
                <a:gd name="connsiteY31" fmla="*/ 460235 h 604115"/>
                <a:gd name="connsiteX32" fmla="*/ 284009 w 567904"/>
                <a:gd name="connsiteY32" fmla="*/ 445203 h 604115"/>
                <a:gd name="connsiteX33" fmla="*/ 299065 w 567904"/>
                <a:gd name="connsiteY33" fmla="*/ 460235 h 604115"/>
                <a:gd name="connsiteX34" fmla="*/ 299065 w 567904"/>
                <a:gd name="connsiteY34" fmla="*/ 507027 h 604115"/>
                <a:gd name="connsiteX35" fmla="*/ 424612 w 567904"/>
                <a:gd name="connsiteY35" fmla="*/ 457523 h 604115"/>
                <a:gd name="connsiteX36" fmla="*/ 389744 w 567904"/>
                <a:gd name="connsiteY36" fmla="*/ 422824 h 604115"/>
                <a:gd name="connsiteX37" fmla="*/ 389744 w 567904"/>
                <a:gd name="connsiteY37" fmla="*/ 401462 h 604115"/>
                <a:gd name="connsiteX38" fmla="*/ 411141 w 567904"/>
                <a:gd name="connsiteY38" fmla="*/ 401462 h 604115"/>
                <a:gd name="connsiteX39" fmla="*/ 446688 w 567904"/>
                <a:gd name="connsiteY39" fmla="*/ 436952 h 604115"/>
                <a:gd name="connsiteX40" fmla="*/ 505329 w 567904"/>
                <a:gd name="connsiteY40" fmla="*/ 310930 h 604115"/>
                <a:gd name="connsiteX41" fmla="*/ 448612 w 567904"/>
                <a:gd name="connsiteY41" fmla="*/ 310930 h 604115"/>
                <a:gd name="connsiteX42" fmla="*/ 433556 w 567904"/>
                <a:gd name="connsiteY42" fmla="*/ 295898 h 604115"/>
                <a:gd name="connsiteX43" fmla="*/ 448612 w 567904"/>
                <a:gd name="connsiteY43" fmla="*/ 280752 h 604115"/>
                <a:gd name="connsiteX44" fmla="*/ 506801 w 567904"/>
                <a:gd name="connsiteY44" fmla="*/ 280752 h 604115"/>
                <a:gd name="connsiteX45" fmla="*/ 456650 w 567904"/>
                <a:gd name="connsiteY45" fmla="*/ 144671 h 604115"/>
                <a:gd name="connsiteX46" fmla="*/ 411141 w 567904"/>
                <a:gd name="connsiteY46" fmla="*/ 190220 h 604115"/>
                <a:gd name="connsiteX47" fmla="*/ 400386 w 567904"/>
                <a:gd name="connsiteY47" fmla="*/ 194628 h 604115"/>
                <a:gd name="connsiteX48" fmla="*/ 389744 w 567904"/>
                <a:gd name="connsiteY48" fmla="*/ 190220 h 604115"/>
                <a:gd name="connsiteX49" fmla="*/ 389744 w 567904"/>
                <a:gd name="connsiteY49" fmla="*/ 168971 h 604115"/>
                <a:gd name="connsiteX50" fmla="*/ 436046 w 567904"/>
                <a:gd name="connsiteY50" fmla="*/ 122631 h 604115"/>
                <a:gd name="connsiteX51" fmla="*/ 299065 w 567904"/>
                <a:gd name="connsiteY51" fmla="*/ 63180 h 604115"/>
                <a:gd name="connsiteX52" fmla="*/ 299065 w 567904"/>
                <a:gd name="connsiteY52" fmla="*/ 131447 h 604115"/>
                <a:gd name="connsiteX53" fmla="*/ 284009 w 567904"/>
                <a:gd name="connsiteY53" fmla="*/ 146479 h 604115"/>
                <a:gd name="connsiteX54" fmla="*/ 268839 w 567904"/>
                <a:gd name="connsiteY54" fmla="*/ 131447 h 604115"/>
                <a:gd name="connsiteX55" fmla="*/ 90594 w 567904"/>
                <a:gd name="connsiteY55" fmla="*/ 0 h 604115"/>
                <a:gd name="connsiteX56" fmla="*/ 154613 w 567904"/>
                <a:gd name="connsiteY56" fmla="*/ 26448 h 604115"/>
                <a:gd name="connsiteX57" fmla="*/ 125179 w 567904"/>
                <a:gd name="connsiteY57" fmla="*/ 55947 h 604115"/>
                <a:gd name="connsiteX58" fmla="*/ 284009 w 567904"/>
                <a:gd name="connsiteY58" fmla="*/ 6329 h 604115"/>
                <a:gd name="connsiteX59" fmla="*/ 442839 w 567904"/>
                <a:gd name="connsiteY59" fmla="*/ 55947 h 604115"/>
                <a:gd name="connsiteX60" fmla="*/ 413291 w 567904"/>
                <a:gd name="connsiteY60" fmla="*/ 26448 h 604115"/>
                <a:gd name="connsiteX61" fmla="*/ 541329 w 567904"/>
                <a:gd name="connsiteY61" fmla="*/ 26448 h 604115"/>
                <a:gd name="connsiteX62" fmla="*/ 541329 w 567904"/>
                <a:gd name="connsiteY62" fmla="*/ 154391 h 604115"/>
                <a:gd name="connsiteX63" fmla="*/ 513480 w 567904"/>
                <a:gd name="connsiteY63" fmla="*/ 126474 h 604115"/>
                <a:gd name="connsiteX64" fmla="*/ 563178 w 567904"/>
                <a:gd name="connsiteY64" fmla="*/ 285160 h 604115"/>
                <a:gd name="connsiteX65" fmla="*/ 441593 w 567904"/>
                <a:gd name="connsiteY65" fmla="*/ 515052 h 604115"/>
                <a:gd name="connsiteX66" fmla="*/ 492197 w 567904"/>
                <a:gd name="connsiteY66" fmla="*/ 565574 h 604115"/>
                <a:gd name="connsiteX67" fmla="*/ 492197 w 567904"/>
                <a:gd name="connsiteY67" fmla="*/ 597560 h 604115"/>
                <a:gd name="connsiteX68" fmla="*/ 476235 w 567904"/>
                <a:gd name="connsiteY68" fmla="*/ 604115 h 604115"/>
                <a:gd name="connsiteX69" fmla="*/ 460159 w 567904"/>
                <a:gd name="connsiteY69" fmla="*/ 597560 h 604115"/>
                <a:gd name="connsiteX70" fmla="*/ 400839 w 567904"/>
                <a:gd name="connsiteY70" fmla="*/ 538222 h 604115"/>
                <a:gd name="connsiteX71" fmla="*/ 284009 w 567904"/>
                <a:gd name="connsiteY71" fmla="*/ 563878 h 604115"/>
                <a:gd name="connsiteX72" fmla="*/ 167065 w 567904"/>
                <a:gd name="connsiteY72" fmla="*/ 538222 h 604115"/>
                <a:gd name="connsiteX73" fmla="*/ 107745 w 567904"/>
                <a:gd name="connsiteY73" fmla="*/ 597560 h 604115"/>
                <a:gd name="connsiteX74" fmla="*/ 91782 w 567904"/>
                <a:gd name="connsiteY74" fmla="*/ 604115 h 604115"/>
                <a:gd name="connsiteX75" fmla="*/ 75707 w 567904"/>
                <a:gd name="connsiteY75" fmla="*/ 597560 h 604115"/>
                <a:gd name="connsiteX76" fmla="*/ 75707 w 567904"/>
                <a:gd name="connsiteY76" fmla="*/ 565574 h 604115"/>
                <a:gd name="connsiteX77" fmla="*/ 126311 w 567904"/>
                <a:gd name="connsiteY77" fmla="*/ 515052 h 604115"/>
                <a:gd name="connsiteX78" fmla="*/ 4726 w 567904"/>
                <a:gd name="connsiteY78" fmla="*/ 285160 h 604115"/>
                <a:gd name="connsiteX79" fmla="*/ 54424 w 567904"/>
                <a:gd name="connsiteY79" fmla="*/ 126474 h 604115"/>
                <a:gd name="connsiteX80" fmla="*/ 26575 w 567904"/>
                <a:gd name="connsiteY80" fmla="*/ 154391 h 604115"/>
                <a:gd name="connsiteX81" fmla="*/ 26575 w 567904"/>
                <a:gd name="connsiteY81" fmla="*/ 26448 h 604115"/>
                <a:gd name="connsiteX82" fmla="*/ 90594 w 567904"/>
                <a:gd name="connsiteY82" fmla="*/ 0 h 6041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</a:cxnLst>
              <a:rect l="l" t="t" r="r" b="b"/>
              <a:pathLst>
                <a:path w="567904" h="604115">
                  <a:moveTo>
                    <a:pt x="283988" y="165481"/>
                  </a:moveTo>
                  <a:cubicBezTo>
                    <a:pt x="292368" y="165481"/>
                    <a:pt x="299163" y="172264"/>
                    <a:pt x="299163" y="180516"/>
                  </a:cubicBezTo>
                  <a:lnTo>
                    <a:pt x="299163" y="272309"/>
                  </a:lnTo>
                  <a:cubicBezTo>
                    <a:pt x="302561" y="274457"/>
                    <a:pt x="305505" y="277396"/>
                    <a:pt x="307657" y="280788"/>
                  </a:cubicBezTo>
                  <a:lnTo>
                    <a:pt x="366094" y="280788"/>
                  </a:lnTo>
                  <a:cubicBezTo>
                    <a:pt x="374474" y="280788"/>
                    <a:pt x="381156" y="287570"/>
                    <a:pt x="381156" y="295936"/>
                  </a:cubicBezTo>
                  <a:cubicBezTo>
                    <a:pt x="381156" y="304188"/>
                    <a:pt x="374474" y="310971"/>
                    <a:pt x="366094" y="310971"/>
                  </a:cubicBezTo>
                  <a:lnTo>
                    <a:pt x="307657" y="310971"/>
                  </a:lnTo>
                  <a:cubicBezTo>
                    <a:pt x="302674" y="318771"/>
                    <a:pt x="293954" y="323971"/>
                    <a:pt x="283988" y="323971"/>
                  </a:cubicBezTo>
                  <a:cubicBezTo>
                    <a:pt x="268586" y="323971"/>
                    <a:pt x="255902" y="311310"/>
                    <a:pt x="255902" y="295936"/>
                  </a:cubicBezTo>
                  <a:cubicBezTo>
                    <a:pt x="255902" y="285988"/>
                    <a:pt x="261111" y="277283"/>
                    <a:pt x="268926" y="272309"/>
                  </a:cubicBezTo>
                  <a:lnTo>
                    <a:pt x="268926" y="180516"/>
                  </a:lnTo>
                  <a:cubicBezTo>
                    <a:pt x="268926" y="172264"/>
                    <a:pt x="275721" y="165481"/>
                    <a:pt x="283988" y="165481"/>
                  </a:cubicBezTo>
                  <a:close/>
                  <a:moveTo>
                    <a:pt x="268839" y="63180"/>
                  </a:moveTo>
                  <a:cubicBezTo>
                    <a:pt x="216084" y="66684"/>
                    <a:pt x="168311" y="88724"/>
                    <a:pt x="131858" y="122631"/>
                  </a:cubicBezTo>
                  <a:lnTo>
                    <a:pt x="178160" y="168971"/>
                  </a:lnTo>
                  <a:cubicBezTo>
                    <a:pt x="184046" y="174849"/>
                    <a:pt x="184046" y="184343"/>
                    <a:pt x="178160" y="190220"/>
                  </a:cubicBezTo>
                  <a:cubicBezTo>
                    <a:pt x="175216" y="193159"/>
                    <a:pt x="171367" y="194628"/>
                    <a:pt x="167518" y="194628"/>
                  </a:cubicBezTo>
                  <a:cubicBezTo>
                    <a:pt x="163669" y="194628"/>
                    <a:pt x="159820" y="193159"/>
                    <a:pt x="156877" y="190220"/>
                  </a:cubicBezTo>
                  <a:lnTo>
                    <a:pt x="111254" y="144671"/>
                  </a:lnTo>
                  <a:cubicBezTo>
                    <a:pt x="80801" y="181969"/>
                    <a:pt x="62235" y="229213"/>
                    <a:pt x="61216" y="280752"/>
                  </a:cubicBezTo>
                  <a:lnTo>
                    <a:pt x="119292" y="280752"/>
                  </a:lnTo>
                  <a:cubicBezTo>
                    <a:pt x="127669" y="280752"/>
                    <a:pt x="134348" y="287534"/>
                    <a:pt x="134348" y="295898"/>
                  </a:cubicBezTo>
                  <a:cubicBezTo>
                    <a:pt x="134348" y="304148"/>
                    <a:pt x="127669" y="310930"/>
                    <a:pt x="119292" y="310930"/>
                  </a:cubicBezTo>
                  <a:lnTo>
                    <a:pt x="62688" y="310930"/>
                  </a:lnTo>
                  <a:cubicBezTo>
                    <a:pt x="68235" y="359304"/>
                    <a:pt x="89518" y="403045"/>
                    <a:pt x="121330" y="436952"/>
                  </a:cubicBezTo>
                  <a:lnTo>
                    <a:pt x="156877" y="401462"/>
                  </a:lnTo>
                  <a:cubicBezTo>
                    <a:pt x="162763" y="395585"/>
                    <a:pt x="172273" y="395585"/>
                    <a:pt x="178160" y="401462"/>
                  </a:cubicBezTo>
                  <a:cubicBezTo>
                    <a:pt x="184046" y="407340"/>
                    <a:pt x="184046" y="416834"/>
                    <a:pt x="178160" y="422824"/>
                  </a:cubicBezTo>
                  <a:lnTo>
                    <a:pt x="143405" y="457523"/>
                  </a:lnTo>
                  <a:cubicBezTo>
                    <a:pt x="178046" y="485779"/>
                    <a:pt x="221518" y="503862"/>
                    <a:pt x="268839" y="507027"/>
                  </a:cubicBezTo>
                  <a:lnTo>
                    <a:pt x="268839" y="460235"/>
                  </a:lnTo>
                  <a:cubicBezTo>
                    <a:pt x="268839" y="451984"/>
                    <a:pt x="275631" y="445203"/>
                    <a:pt x="284009" y="445203"/>
                  </a:cubicBezTo>
                  <a:cubicBezTo>
                    <a:pt x="292273" y="445203"/>
                    <a:pt x="299065" y="451984"/>
                    <a:pt x="299065" y="460235"/>
                  </a:cubicBezTo>
                  <a:lnTo>
                    <a:pt x="299065" y="507027"/>
                  </a:lnTo>
                  <a:cubicBezTo>
                    <a:pt x="346499" y="503862"/>
                    <a:pt x="389858" y="485779"/>
                    <a:pt x="424612" y="457523"/>
                  </a:cubicBezTo>
                  <a:lnTo>
                    <a:pt x="389744" y="422824"/>
                  </a:lnTo>
                  <a:cubicBezTo>
                    <a:pt x="383858" y="416834"/>
                    <a:pt x="383858" y="407340"/>
                    <a:pt x="389744" y="401462"/>
                  </a:cubicBezTo>
                  <a:cubicBezTo>
                    <a:pt x="395631" y="395585"/>
                    <a:pt x="405254" y="395585"/>
                    <a:pt x="411141" y="401462"/>
                  </a:cubicBezTo>
                  <a:lnTo>
                    <a:pt x="446688" y="436952"/>
                  </a:lnTo>
                  <a:cubicBezTo>
                    <a:pt x="478386" y="403045"/>
                    <a:pt x="499669" y="359304"/>
                    <a:pt x="505329" y="310930"/>
                  </a:cubicBezTo>
                  <a:lnTo>
                    <a:pt x="448612" y="310930"/>
                  </a:lnTo>
                  <a:cubicBezTo>
                    <a:pt x="440348" y="310930"/>
                    <a:pt x="433556" y="304148"/>
                    <a:pt x="433556" y="295898"/>
                  </a:cubicBezTo>
                  <a:cubicBezTo>
                    <a:pt x="433556" y="287534"/>
                    <a:pt x="440348" y="280752"/>
                    <a:pt x="448612" y="280752"/>
                  </a:cubicBezTo>
                  <a:lnTo>
                    <a:pt x="506801" y="280752"/>
                  </a:lnTo>
                  <a:cubicBezTo>
                    <a:pt x="505782" y="229213"/>
                    <a:pt x="487103" y="181969"/>
                    <a:pt x="456650" y="144671"/>
                  </a:cubicBezTo>
                  <a:lnTo>
                    <a:pt x="411141" y="190220"/>
                  </a:lnTo>
                  <a:cubicBezTo>
                    <a:pt x="408197" y="193159"/>
                    <a:pt x="404235" y="194628"/>
                    <a:pt x="400386" y="194628"/>
                  </a:cubicBezTo>
                  <a:cubicBezTo>
                    <a:pt x="396537" y="194628"/>
                    <a:pt x="392688" y="193159"/>
                    <a:pt x="389744" y="190220"/>
                  </a:cubicBezTo>
                  <a:cubicBezTo>
                    <a:pt x="383858" y="184343"/>
                    <a:pt x="383858" y="174849"/>
                    <a:pt x="389744" y="168971"/>
                  </a:cubicBezTo>
                  <a:lnTo>
                    <a:pt x="436046" y="122631"/>
                  </a:lnTo>
                  <a:cubicBezTo>
                    <a:pt x="399707" y="88724"/>
                    <a:pt x="351820" y="66684"/>
                    <a:pt x="299065" y="63180"/>
                  </a:cubicBezTo>
                  <a:lnTo>
                    <a:pt x="299065" y="131447"/>
                  </a:lnTo>
                  <a:cubicBezTo>
                    <a:pt x="299065" y="139698"/>
                    <a:pt x="292273" y="146479"/>
                    <a:pt x="284009" y="146479"/>
                  </a:cubicBezTo>
                  <a:cubicBezTo>
                    <a:pt x="275631" y="146479"/>
                    <a:pt x="268839" y="139698"/>
                    <a:pt x="268839" y="131447"/>
                  </a:cubicBezTo>
                  <a:close/>
                  <a:moveTo>
                    <a:pt x="90594" y="0"/>
                  </a:moveTo>
                  <a:cubicBezTo>
                    <a:pt x="113773" y="0"/>
                    <a:pt x="136952" y="8816"/>
                    <a:pt x="154613" y="26448"/>
                  </a:cubicBezTo>
                  <a:lnTo>
                    <a:pt x="125179" y="55947"/>
                  </a:lnTo>
                  <a:cubicBezTo>
                    <a:pt x="170235" y="24639"/>
                    <a:pt x="225028" y="6329"/>
                    <a:pt x="284009" y="6329"/>
                  </a:cubicBezTo>
                  <a:cubicBezTo>
                    <a:pt x="342990" y="6329"/>
                    <a:pt x="397669" y="24639"/>
                    <a:pt x="442839" y="55947"/>
                  </a:cubicBezTo>
                  <a:lnTo>
                    <a:pt x="413291" y="26448"/>
                  </a:lnTo>
                  <a:cubicBezTo>
                    <a:pt x="448725" y="-8816"/>
                    <a:pt x="506008" y="-8816"/>
                    <a:pt x="541329" y="26448"/>
                  </a:cubicBezTo>
                  <a:cubicBezTo>
                    <a:pt x="576763" y="61824"/>
                    <a:pt x="576763" y="119014"/>
                    <a:pt x="541329" y="154391"/>
                  </a:cubicBezTo>
                  <a:lnTo>
                    <a:pt x="513480" y="126474"/>
                  </a:lnTo>
                  <a:cubicBezTo>
                    <a:pt x="544839" y="171571"/>
                    <a:pt x="563178" y="226275"/>
                    <a:pt x="563178" y="285160"/>
                  </a:cubicBezTo>
                  <a:cubicBezTo>
                    <a:pt x="563178" y="380440"/>
                    <a:pt x="514952" y="464756"/>
                    <a:pt x="441593" y="515052"/>
                  </a:cubicBezTo>
                  <a:lnTo>
                    <a:pt x="492197" y="565574"/>
                  </a:lnTo>
                  <a:cubicBezTo>
                    <a:pt x="501027" y="574390"/>
                    <a:pt x="501027" y="588744"/>
                    <a:pt x="492197" y="597560"/>
                  </a:cubicBezTo>
                  <a:cubicBezTo>
                    <a:pt x="487782" y="601968"/>
                    <a:pt x="482008" y="604115"/>
                    <a:pt x="476235" y="604115"/>
                  </a:cubicBezTo>
                  <a:cubicBezTo>
                    <a:pt x="470348" y="604115"/>
                    <a:pt x="464574" y="601968"/>
                    <a:pt x="460159" y="597560"/>
                  </a:cubicBezTo>
                  <a:lnTo>
                    <a:pt x="400839" y="538222"/>
                  </a:lnTo>
                  <a:cubicBezTo>
                    <a:pt x="365292" y="554723"/>
                    <a:pt x="325669" y="563878"/>
                    <a:pt x="284009" y="563878"/>
                  </a:cubicBezTo>
                  <a:cubicBezTo>
                    <a:pt x="242235" y="563878"/>
                    <a:pt x="202726" y="554723"/>
                    <a:pt x="167065" y="538222"/>
                  </a:cubicBezTo>
                  <a:lnTo>
                    <a:pt x="107745" y="597560"/>
                  </a:lnTo>
                  <a:cubicBezTo>
                    <a:pt x="103330" y="601968"/>
                    <a:pt x="97556" y="604115"/>
                    <a:pt x="91782" y="604115"/>
                  </a:cubicBezTo>
                  <a:cubicBezTo>
                    <a:pt x="85896" y="604115"/>
                    <a:pt x="80122" y="601968"/>
                    <a:pt x="75707" y="597560"/>
                  </a:cubicBezTo>
                  <a:cubicBezTo>
                    <a:pt x="66877" y="588744"/>
                    <a:pt x="66877" y="574390"/>
                    <a:pt x="75707" y="565574"/>
                  </a:cubicBezTo>
                  <a:lnTo>
                    <a:pt x="126311" y="515052"/>
                  </a:lnTo>
                  <a:cubicBezTo>
                    <a:pt x="52952" y="464756"/>
                    <a:pt x="4726" y="380440"/>
                    <a:pt x="4726" y="285160"/>
                  </a:cubicBezTo>
                  <a:cubicBezTo>
                    <a:pt x="4726" y="226275"/>
                    <a:pt x="23065" y="171571"/>
                    <a:pt x="54424" y="126474"/>
                  </a:cubicBezTo>
                  <a:lnTo>
                    <a:pt x="26575" y="154391"/>
                  </a:lnTo>
                  <a:cubicBezTo>
                    <a:pt x="-8859" y="119014"/>
                    <a:pt x="-8859" y="61824"/>
                    <a:pt x="26575" y="26448"/>
                  </a:cubicBezTo>
                  <a:cubicBezTo>
                    <a:pt x="44235" y="8816"/>
                    <a:pt x="67415" y="0"/>
                    <a:pt x="90594" y="0"/>
                  </a:cubicBez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>
              <a:noFill/>
            </a:ln>
          </p:spPr>
          <p:txBody>
            <a:bodyPr/>
            <a:lstStyle/>
            <a:p>
              <a:endParaRPr lang="zh-CN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278729327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>
          <a:xfrm>
            <a:off x="2077588" y="1945758"/>
            <a:ext cx="6641109" cy="2860159"/>
          </a:xfrm>
        </p:spPr>
        <p:txBody>
          <a:bodyPr anchor="ctr">
            <a:normAutofit/>
          </a:bodyPr>
          <a:lstStyle/>
          <a:p>
            <a:pPr>
              <a:lnSpc>
                <a:spcPct val="100000"/>
              </a:lnSpc>
            </a:pPr>
            <a:r>
              <a:rPr lang="zh-CN" altLang="en-US" sz="5400" dirty="0">
                <a:solidFill>
                  <a:schemeClr val="tx2">
                    <a:alpha val="99000"/>
                  </a:schemeClr>
                </a:solidFill>
              </a:rPr>
              <a:t>直肠和肛管</a:t>
            </a:r>
            <a:br>
              <a:rPr lang="en-US" altLang="zh-CN" sz="5400" dirty="0">
                <a:solidFill>
                  <a:schemeClr val="tx2">
                    <a:alpha val="99000"/>
                  </a:schemeClr>
                </a:solidFill>
              </a:rPr>
            </a:br>
            <a:r>
              <a:rPr lang="zh-CN" altLang="en-US" sz="5400" dirty="0">
                <a:solidFill>
                  <a:schemeClr val="tx2">
                    <a:alpha val="99000"/>
                  </a:schemeClr>
                </a:solidFill>
              </a:rPr>
              <a:t>良性疾病病人的护理</a:t>
            </a: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935162" y="2830939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3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1</a:t>
            </a:r>
            <a:endParaRPr lang="zh-CN" altLang="en-US" spc="100" dirty="0">
              <a:solidFill>
                <a:schemeClr val="accent3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7159738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框 2">
            <a:extLst>
              <a:ext uri="{FF2B5EF4-FFF2-40B4-BE49-F238E27FC236}">
                <a16:creationId xmlns:a16="http://schemas.microsoft.com/office/drawing/2014/main" id="{9B60BF93-EA8A-46AD-9628-FAD9C828F3E8}"/>
              </a:ext>
            </a:extLst>
          </p:cNvPr>
          <p:cNvSpPr txBox="1"/>
          <p:nvPr/>
        </p:nvSpPr>
        <p:spPr>
          <a:xfrm>
            <a:off x="669925" y="422414"/>
            <a:ext cx="5454503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4000" b="1" dirty="0"/>
              <a:t>护理措施</a:t>
            </a:r>
          </a:p>
        </p:txBody>
      </p:sp>
      <p:pic>
        <p:nvPicPr>
          <p:cNvPr id="2" name="图片 1">
            <a:extLst>
              <a:ext uri="{FF2B5EF4-FFF2-40B4-BE49-F238E27FC236}">
                <a16:creationId xmlns:a16="http://schemas.microsoft.com/office/drawing/2014/main" id="{8F7A9814-A752-4AEF-9CD6-31B316914E8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96734" y="1409856"/>
            <a:ext cx="6179973" cy="44008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894360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框 2">
            <a:extLst>
              <a:ext uri="{FF2B5EF4-FFF2-40B4-BE49-F238E27FC236}">
                <a16:creationId xmlns:a16="http://schemas.microsoft.com/office/drawing/2014/main" id="{D08B12B2-BA1A-4444-8321-21AD54E9B832}"/>
              </a:ext>
            </a:extLst>
          </p:cNvPr>
          <p:cNvSpPr txBox="1"/>
          <p:nvPr/>
        </p:nvSpPr>
        <p:spPr>
          <a:xfrm>
            <a:off x="1" y="258431"/>
            <a:ext cx="10058400" cy="830997"/>
          </a:xfrm>
          <a:prstGeom prst="rect">
            <a:avLst/>
          </a:prstGeom>
          <a:solidFill>
            <a:schemeClr val="bg2">
              <a:lumMod val="75000"/>
              <a:alpha val="32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altLang="zh-CN" sz="4800" dirty="0"/>
              <a:t>    </a:t>
            </a:r>
            <a:r>
              <a:rPr lang="zh-CN" altLang="en-US" sz="4800" dirty="0"/>
              <a:t>三、直肠肛管周围脓肿病人的护理</a:t>
            </a:r>
          </a:p>
        </p:txBody>
      </p:sp>
      <p:sp>
        <p:nvSpPr>
          <p:cNvPr id="2" name="矩形 1">
            <a:extLst>
              <a:ext uri="{FF2B5EF4-FFF2-40B4-BE49-F238E27FC236}">
                <a16:creationId xmlns:a16="http://schemas.microsoft.com/office/drawing/2014/main" id="{D520BCD4-5CA1-42AB-AC05-86D75BC79F2A}"/>
              </a:ext>
            </a:extLst>
          </p:cNvPr>
          <p:cNvSpPr/>
          <p:nvPr/>
        </p:nvSpPr>
        <p:spPr>
          <a:xfrm>
            <a:off x="669925" y="2201790"/>
            <a:ext cx="10850563" cy="257878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4000" b="1" dirty="0">
                <a:solidFill>
                  <a:srgbClr val="C00000"/>
                </a:solidFill>
              </a:rPr>
              <a:t>直肠肛管周围脓肿</a:t>
            </a:r>
            <a:r>
              <a:rPr lang="zh-CN" altLang="en-US" sz="3600" dirty="0"/>
              <a:t>是指发生在直肠肛管周围软组织或周围间隙的急性化脓性感染，并形成脓肿。</a:t>
            </a:r>
            <a:r>
              <a:rPr lang="zh-CN" altLang="en-US" sz="3600" b="1" dirty="0"/>
              <a:t>多数脓肿在穿破或切开后形成肛瘘</a:t>
            </a:r>
            <a:r>
              <a:rPr lang="zh-CN" altLang="en-US" sz="3600" dirty="0"/>
              <a:t>。</a:t>
            </a:r>
          </a:p>
        </p:txBody>
      </p:sp>
    </p:spTree>
    <p:extLst>
      <p:ext uri="{BB962C8B-B14F-4D97-AF65-F5344CB8AC3E}">
        <p14:creationId xmlns:p14="http://schemas.microsoft.com/office/powerpoint/2010/main" val="85392986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框 2">
            <a:extLst>
              <a:ext uri="{FF2B5EF4-FFF2-40B4-BE49-F238E27FC236}">
                <a16:creationId xmlns:a16="http://schemas.microsoft.com/office/drawing/2014/main" id="{9B60BF93-EA8A-46AD-9628-FAD9C828F3E8}"/>
              </a:ext>
            </a:extLst>
          </p:cNvPr>
          <p:cNvSpPr txBox="1"/>
          <p:nvPr/>
        </p:nvSpPr>
        <p:spPr>
          <a:xfrm>
            <a:off x="669925" y="422414"/>
            <a:ext cx="5454503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4000" b="1" dirty="0"/>
              <a:t>病 因</a:t>
            </a:r>
          </a:p>
        </p:txBody>
      </p:sp>
      <p:pic>
        <p:nvPicPr>
          <p:cNvPr id="2" name="图片 1">
            <a:extLst>
              <a:ext uri="{FF2B5EF4-FFF2-40B4-BE49-F238E27FC236}">
                <a16:creationId xmlns:a16="http://schemas.microsoft.com/office/drawing/2014/main" id="{D59E728A-237F-4BDC-9EC2-DD73AFAF97F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14958" y="2128659"/>
            <a:ext cx="7012102" cy="4580486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4" name="图片 3">
            <a:extLst>
              <a:ext uri="{FF2B5EF4-FFF2-40B4-BE49-F238E27FC236}">
                <a16:creationId xmlns:a16="http://schemas.microsoft.com/office/drawing/2014/main" id="{E70A6B67-E404-49BF-97CE-ADC143FBEE3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2334" y="1253024"/>
            <a:ext cx="4244470" cy="7352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305720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框 2">
            <a:extLst>
              <a:ext uri="{FF2B5EF4-FFF2-40B4-BE49-F238E27FC236}">
                <a16:creationId xmlns:a16="http://schemas.microsoft.com/office/drawing/2014/main" id="{9B60BF93-EA8A-46AD-9628-FAD9C828F3E8}"/>
              </a:ext>
            </a:extLst>
          </p:cNvPr>
          <p:cNvSpPr txBox="1"/>
          <p:nvPr/>
        </p:nvSpPr>
        <p:spPr>
          <a:xfrm>
            <a:off x="669925" y="422414"/>
            <a:ext cx="5454503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4000" b="1" dirty="0"/>
              <a:t>临床表现</a:t>
            </a:r>
          </a:p>
        </p:txBody>
      </p:sp>
      <p:pic>
        <p:nvPicPr>
          <p:cNvPr id="2" name="图片 1">
            <a:extLst>
              <a:ext uri="{FF2B5EF4-FFF2-40B4-BE49-F238E27FC236}">
                <a16:creationId xmlns:a16="http://schemas.microsoft.com/office/drawing/2014/main" id="{2A3A70DB-5464-45AB-8C93-034793BAEB9C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3251" t="2107" r="2280"/>
          <a:stretch/>
        </p:blipFill>
        <p:spPr>
          <a:xfrm>
            <a:off x="1446029" y="1297170"/>
            <a:ext cx="9197162" cy="54509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957843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框 2">
            <a:extLst>
              <a:ext uri="{FF2B5EF4-FFF2-40B4-BE49-F238E27FC236}">
                <a16:creationId xmlns:a16="http://schemas.microsoft.com/office/drawing/2014/main" id="{9B60BF93-EA8A-46AD-9628-FAD9C828F3E8}"/>
              </a:ext>
            </a:extLst>
          </p:cNvPr>
          <p:cNvSpPr txBox="1"/>
          <p:nvPr/>
        </p:nvSpPr>
        <p:spPr>
          <a:xfrm>
            <a:off x="669925" y="422414"/>
            <a:ext cx="5454503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4000" b="1" dirty="0"/>
              <a:t>临床表现</a:t>
            </a:r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323647A3-5213-47DB-AB50-1C2506D69B4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13177" y="2009566"/>
            <a:ext cx="9547807" cy="26049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9933063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框 2">
            <a:extLst>
              <a:ext uri="{FF2B5EF4-FFF2-40B4-BE49-F238E27FC236}">
                <a16:creationId xmlns:a16="http://schemas.microsoft.com/office/drawing/2014/main" id="{9B60BF93-EA8A-46AD-9628-FAD9C828F3E8}"/>
              </a:ext>
            </a:extLst>
          </p:cNvPr>
          <p:cNvSpPr txBox="1"/>
          <p:nvPr/>
        </p:nvSpPr>
        <p:spPr>
          <a:xfrm>
            <a:off x="669925" y="422414"/>
            <a:ext cx="5454503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4000" b="1" dirty="0"/>
              <a:t>辅助检查</a:t>
            </a:r>
          </a:p>
        </p:txBody>
      </p:sp>
      <p:grpSp>
        <p:nvGrpSpPr>
          <p:cNvPr id="4" name="2915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80CFD506-EF9D-49E3-8DBE-D1D2AD57EFE9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1262510" y="2315051"/>
            <a:ext cx="9900805" cy="2193154"/>
            <a:chOff x="1156184" y="3474000"/>
            <a:chExt cx="9900805" cy="2065265"/>
          </a:xfrm>
        </p:grpSpPr>
        <p:grpSp>
          <p:nvGrpSpPr>
            <p:cNvPr id="5" name="íŝḻïḋe">
              <a:extLst>
                <a:ext uri="{FF2B5EF4-FFF2-40B4-BE49-F238E27FC236}">
                  <a16:creationId xmlns:a16="http://schemas.microsoft.com/office/drawing/2014/main" id="{19B5D24F-015C-4815-946A-A5D2C9739B8B}"/>
                </a:ext>
              </a:extLst>
            </p:cNvPr>
            <p:cNvGrpSpPr/>
            <p:nvPr/>
          </p:nvGrpSpPr>
          <p:grpSpPr>
            <a:xfrm>
              <a:off x="5633056" y="3474000"/>
              <a:ext cx="925888" cy="925889"/>
              <a:chOff x="5633057" y="2960953"/>
              <a:chExt cx="925888" cy="925889"/>
            </a:xfrm>
          </p:grpSpPr>
          <p:sp>
            <p:nvSpPr>
              <p:cNvPr id="24" name="î$ľîďe">
                <a:extLst>
                  <a:ext uri="{FF2B5EF4-FFF2-40B4-BE49-F238E27FC236}">
                    <a16:creationId xmlns:a16="http://schemas.microsoft.com/office/drawing/2014/main" id="{5002D99E-B2DA-469A-B7D7-F4201039F9D6}"/>
                  </a:ext>
                </a:extLst>
              </p:cNvPr>
              <p:cNvSpPr/>
              <p:nvPr/>
            </p:nvSpPr>
            <p:spPr>
              <a:xfrm>
                <a:off x="5633057" y="2960953"/>
                <a:ext cx="925888" cy="925889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5" name="îS1ïdé">
                <a:extLst>
                  <a:ext uri="{FF2B5EF4-FFF2-40B4-BE49-F238E27FC236}">
                    <a16:creationId xmlns:a16="http://schemas.microsoft.com/office/drawing/2014/main" id="{79726D07-46D7-450B-B77A-F0D28ADE97B7}"/>
                  </a:ext>
                </a:extLst>
              </p:cNvPr>
              <p:cNvSpPr/>
              <p:nvPr/>
            </p:nvSpPr>
            <p:spPr>
              <a:xfrm>
                <a:off x="5946891" y="3241666"/>
                <a:ext cx="298219" cy="364462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3800" y="18655"/>
                    </a:moveTo>
                    <a:cubicBezTo>
                      <a:pt x="13468" y="18655"/>
                      <a:pt x="13200" y="18874"/>
                      <a:pt x="13200" y="19145"/>
                    </a:cubicBezTo>
                    <a:cubicBezTo>
                      <a:pt x="13200" y="19417"/>
                      <a:pt x="13468" y="19636"/>
                      <a:pt x="13800" y="19636"/>
                    </a:cubicBezTo>
                    <a:cubicBezTo>
                      <a:pt x="14132" y="19636"/>
                      <a:pt x="14400" y="19417"/>
                      <a:pt x="14400" y="19145"/>
                    </a:cubicBezTo>
                    <a:cubicBezTo>
                      <a:pt x="14400" y="18874"/>
                      <a:pt x="14132" y="18655"/>
                      <a:pt x="13800" y="18655"/>
                    </a:cubicBezTo>
                    <a:moveTo>
                      <a:pt x="10200" y="15709"/>
                    </a:moveTo>
                    <a:cubicBezTo>
                      <a:pt x="9868" y="15709"/>
                      <a:pt x="9600" y="15490"/>
                      <a:pt x="9600" y="15218"/>
                    </a:cubicBezTo>
                    <a:cubicBezTo>
                      <a:pt x="9600" y="14947"/>
                      <a:pt x="9868" y="14727"/>
                      <a:pt x="10200" y="14727"/>
                    </a:cubicBezTo>
                    <a:cubicBezTo>
                      <a:pt x="10532" y="14727"/>
                      <a:pt x="10800" y="14947"/>
                      <a:pt x="10800" y="15218"/>
                    </a:cubicBezTo>
                    <a:cubicBezTo>
                      <a:pt x="10800" y="15490"/>
                      <a:pt x="10532" y="15709"/>
                      <a:pt x="10200" y="15709"/>
                    </a:cubicBezTo>
                    <a:moveTo>
                      <a:pt x="10200" y="13745"/>
                    </a:moveTo>
                    <a:cubicBezTo>
                      <a:pt x="9206" y="13745"/>
                      <a:pt x="8400" y="14405"/>
                      <a:pt x="8400" y="15218"/>
                    </a:cubicBezTo>
                    <a:cubicBezTo>
                      <a:pt x="8400" y="16031"/>
                      <a:pt x="9206" y="16691"/>
                      <a:pt x="10200" y="16691"/>
                    </a:cubicBezTo>
                    <a:cubicBezTo>
                      <a:pt x="11194" y="16691"/>
                      <a:pt x="12000" y="16031"/>
                      <a:pt x="12000" y="15218"/>
                    </a:cubicBezTo>
                    <a:cubicBezTo>
                      <a:pt x="12000" y="14405"/>
                      <a:pt x="11194" y="13745"/>
                      <a:pt x="10200" y="13745"/>
                    </a:cubicBezTo>
                    <a:moveTo>
                      <a:pt x="15600" y="13745"/>
                    </a:moveTo>
                    <a:cubicBezTo>
                      <a:pt x="14938" y="13745"/>
                      <a:pt x="14400" y="14186"/>
                      <a:pt x="14400" y="14727"/>
                    </a:cubicBezTo>
                    <a:cubicBezTo>
                      <a:pt x="14400" y="15269"/>
                      <a:pt x="14938" y="15709"/>
                      <a:pt x="15600" y="15709"/>
                    </a:cubicBezTo>
                    <a:cubicBezTo>
                      <a:pt x="16262" y="15709"/>
                      <a:pt x="16800" y="15269"/>
                      <a:pt x="16800" y="14727"/>
                    </a:cubicBezTo>
                    <a:cubicBezTo>
                      <a:pt x="16800" y="14186"/>
                      <a:pt x="16262" y="13745"/>
                      <a:pt x="15600" y="13745"/>
                    </a:cubicBezTo>
                    <a:moveTo>
                      <a:pt x="14400" y="20618"/>
                    </a:moveTo>
                    <a:lnTo>
                      <a:pt x="7200" y="20618"/>
                    </a:lnTo>
                    <a:cubicBezTo>
                      <a:pt x="3892" y="20618"/>
                      <a:pt x="1200" y="18416"/>
                      <a:pt x="1200" y="15709"/>
                    </a:cubicBezTo>
                    <a:cubicBezTo>
                      <a:pt x="1200" y="13123"/>
                      <a:pt x="2182" y="11620"/>
                      <a:pt x="3320" y="9880"/>
                    </a:cubicBezTo>
                    <a:cubicBezTo>
                      <a:pt x="3477" y="9639"/>
                      <a:pt x="3636" y="9392"/>
                      <a:pt x="3797" y="9140"/>
                    </a:cubicBezTo>
                    <a:cubicBezTo>
                      <a:pt x="3905" y="9093"/>
                      <a:pt x="6420" y="8038"/>
                      <a:pt x="9814" y="9625"/>
                    </a:cubicBezTo>
                    <a:cubicBezTo>
                      <a:pt x="10959" y="10160"/>
                      <a:pt x="12064" y="10360"/>
                      <a:pt x="13079" y="10360"/>
                    </a:cubicBezTo>
                    <a:cubicBezTo>
                      <a:pt x="15152" y="10360"/>
                      <a:pt x="16846" y="9523"/>
                      <a:pt x="17711" y="8991"/>
                    </a:cubicBezTo>
                    <a:cubicBezTo>
                      <a:pt x="17902" y="9295"/>
                      <a:pt x="18093" y="9592"/>
                      <a:pt x="18280" y="9880"/>
                    </a:cubicBezTo>
                    <a:cubicBezTo>
                      <a:pt x="19418" y="11620"/>
                      <a:pt x="20400" y="13123"/>
                      <a:pt x="20400" y="15709"/>
                    </a:cubicBezTo>
                    <a:cubicBezTo>
                      <a:pt x="20400" y="18416"/>
                      <a:pt x="17708" y="20618"/>
                      <a:pt x="14400" y="20618"/>
                    </a:cubicBezTo>
                    <a:moveTo>
                      <a:pt x="5967" y="2945"/>
                    </a:moveTo>
                    <a:lnTo>
                      <a:pt x="15633" y="2945"/>
                    </a:lnTo>
                    <a:cubicBezTo>
                      <a:pt x="15782" y="5133"/>
                      <a:pt x="16425" y="6735"/>
                      <a:pt x="17180" y="8090"/>
                    </a:cubicBezTo>
                    <a:cubicBezTo>
                      <a:pt x="16281" y="8690"/>
                      <a:pt x="13509" y="10220"/>
                      <a:pt x="10410" y="8772"/>
                    </a:cubicBezTo>
                    <a:cubicBezTo>
                      <a:pt x="7921" y="7609"/>
                      <a:pt x="5800" y="7679"/>
                      <a:pt x="4520" y="7912"/>
                    </a:cubicBezTo>
                    <a:cubicBezTo>
                      <a:pt x="5231" y="6594"/>
                      <a:pt x="5824" y="5037"/>
                      <a:pt x="5967" y="2945"/>
                    </a:cubicBezTo>
                    <a:moveTo>
                      <a:pt x="3600" y="982"/>
                    </a:moveTo>
                    <a:lnTo>
                      <a:pt x="18000" y="982"/>
                    </a:lnTo>
                    <a:lnTo>
                      <a:pt x="18000" y="1964"/>
                    </a:lnTo>
                    <a:lnTo>
                      <a:pt x="3600" y="1964"/>
                    </a:lnTo>
                    <a:cubicBezTo>
                      <a:pt x="3600" y="1964"/>
                      <a:pt x="3600" y="982"/>
                      <a:pt x="3600" y="982"/>
                    </a:cubicBezTo>
                    <a:close/>
                    <a:moveTo>
                      <a:pt x="16843" y="2945"/>
                    </a:moveTo>
                    <a:lnTo>
                      <a:pt x="18000" y="2945"/>
                    </a:lnTo>
                    <a:cubicBezTo>
                      <a:pt x="18662" y="2945"/>
                      <a:pt x="19200" y="2505"/>
                      <a:pt x="19200" y="1964"/>
                    </a:cubicBezTo>
                    <a:lnTo>
                      <a:pt x="19200" y="982"/>
                    </a:lnTo>
                    <a:cubicBezTo>
                      <a:pt x="19200" y="440"/>
                      <a:pt x="18662" y="0"/>
                      <a:pt x="18000" y="0"/>
                    </a:cubicBezTo>
                    <a:lnTo>
                      <a:pt x="3600" y="0"/>
                    </a:lnTo>
                    <a:cubicBezTo>
                      <a:pt x="2938" y="0"/>
                      <a:pt x="2400" y="440"/>
                      <a:pt x="2400" y="982"/>
                    </a:cubicBezTo>
                    <a:lnTo>
                      <a:pt x="2400" y="1964"/>
                    </a:lnTo>
                    <a:cubicBezTo>
                      <a:pt x="2400" y="2505"/>
                      <a:pt x="2938" y="2945"/>
                      <a:pt x="3600" y="2945"/>
                    </a:cubicBezTo>
                    <a:lnTo>
                      <a:pt x="4757" y="2945"/>
                    </a:lnTo>
                    <a:cubicBezTo>
                      <a:pt x="4322" y="8937"/>
                      <a:pt x="0" y="10114"/>
                      <a:pt x="0" y="15709"/>
                    </a:cubicBezTo>
                    <a:cubicBezTo>
                      <a:pt x="0" y="18962"/>
                      <a:pt x="3224" y="21600"/>
                      <a:pt x="7200" y="21600"/>
                    </a:cubicBezTo>
                    <a:lnTo>
                      <a:pt x="14400" y="21600"/>
                    </a:lnTo>
                    <a:cubicBezTo>
                      <a:pt x="18376" y="21600"/>
                      <a:pt x="21600" y="18962"/>
                      <a:pt x="21600" y="15709"/>
                    </a:cubicBezTo>
                    <a:cubicBezTo>
                      <a:pt x="21600" y="10114"/>
                      <a:pt x="17278" y="8937"/>
                      <a:pt x="16843" y="2945"/>
                    </a:cubicBezTo>
                    <a:moveTo>
                      <a:pt x="17400" y="11782"/>
                    </a:moveTo>
                    <a:cubicBezTo>
                      <a:pt x="17068" y="11782"/>
                      <a:pt x="16800" y="12001"/>
                      <a:pt x="16800" y="12273"/>
                    </a:cubicBezTo>
                    <a:cubicBezTo>
                      <a:pt x="16800" y="12544"/>
                      <a:pt x="17068" y="12764"/>
                      <a:pt x="17400" y="12764"/>
                    </a:cubicBezTo>
                    <a:cubicBezTo>
                      <a:pt x="17732" y="12764"/>
                      <a:pt x="18000" y="12544"/>
                      <a:pt x="18000" y="12273"/>
                    </a:cubicBezTo>
                    <a:cubicBezTo>
                      <a:pt x="18000" y="12001"/>
                      <a:pt x="17732" y="11782"/>
                      <a:pt x="17400" y="11782"/>
                    </a:cubicBezTo>
                    <a:moveTo>
                      <a:pt x="6000" y="10800"/>
                    </a:moveTo>
                    <a:cubicBezTo>
                      <a:pt x="5338" y="10800"/>
                      <a:pt x="4800" y="11240"/>
                      <a:pt x="4800" y="11782"/>
                    </a:cubicBezTo>
                    <a:cubicBezTo>
                      <a:pt x="4800" y="12324"/>
                      <a:pt x="5338" y="12764"/>
                      <a:pt x="6000" y="12764"/>
                    </a:cubicBezTo>
                    <a:cubicBezTo>
                      <a:pt x="6662" y="12764"/>
                      <a:pt x="7200" y="12324"/>
                      <a:pt x="7200" y="11782"/>
                    </a:cubicBezTo>
                    <a:cubicBezTo>
                      <a:pt x="7200" y="11240"/>
                      <a:pt x="6662" y="10800"/>
                      <a:pt x="6000" y="10800"/>
                    </a:cubicBezTo>
                    <a:moveTo>
                      <a:pt x="5400" y="16691"/>
                    </a:moveTo>
                    <a:cubicBezTo>
                      <a:pt x="5068" y="16691"/>
                      <a:pt x="4800" y="16910"/>
                      <a:pt x="4800" y="17182"/>
                    </a:cubicBezTo>
                    <a:cubicBezTo>
                      <a:pt x="4800" y="17453"/>
                      <a:pt x="5068" y="17673"/>
                      <a:pt x="5400" y="17673"/>
                    </a:cubicBezTo>
                    <a:cubicBezTo>
                      <a:pt x="5732" y="17673"/>
                      <a:pt x="6000" y="17453"/>
                      <a:pt x="6000" y="17182"/>
                    </a:cubicBezTo>
                    <a:cubicBezTo>
                      <a:pt x="6000" y="16910"/>
                      <a:pt x="5732" y="16691"/>
                      <a:pt x="5400" y="16691"/>
                    </a:cubicBezTo>
                  </a:path>
                </a:pathLst>
              </a:custGeom>
              <a:solidFill>
                <a:schemeClr val="bg2"/>
              </a:solidFill>
              <a:ln w="12700">
                <a:miter lim="400000"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</p:grpSp>
        <p:sp>
          <p:nvSpPr>
            <p:cNvPr id="22" name="îşḻíďe">
              <a:extLst>
                <a:ext uri="{FF2B5EF4-FFF2-40B4-BE49-F238E27FC236}">
                  <a16:creationId xmlns:a16="http://schemas.microsoft.com/office/drawing/2014/main" id="{011ACB46-2394-42BB-A672-87567F8DEFE2}"/>
                </a:ext>
              </a:extLst>
            </p:cNvPr>
            <p:cNvSpPr txBox="1"/>
            <p:nvPr/>
          </p:nvSpPr>
          <p:spPr bwMode="auto">
            <a:xfrm>
              <a:off x="4868140" y="4036432"/>
              <a:ext cx="2476800" cy="134263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90000" tIns="46800" rIns="90000" bIns="46800" anchor="b" anchorCtr="0">
              <a:noAutofit/>
              <a:scene3d>
                <a:camera prst="orthographicFront"/>
                <a:lightRig rig="threePt" dir="t"/>
              </a:scene3d>
              <a:sp3d>
                <a:bevelT w="0" h="0"/>
              </a:sp3d>
            </a:bodyPr>
            <a:lstStyle/>
            <a:p>
              <a:pPr marL="0" lvl="1" algn="ctr"/>
              <a:r>
                <a:rPr lang="zh-CN" altLang="en-US" sz="3600" b="1" dirty="0"/>
                <a:t>超声及</a:t>
              </a:r>
              <a:r>
                <a:rPr lang="en-US" altLang="zh-CN" sz="3600" b="1" dirty="0"/>
                <a:t>MRI</a:t>
              </a:r>
              <a:r>
                <a:rPr lang="zh-CN" altLang="en-US" sz="3600" b="1" dirty="0"/>
                <a:t>检查</a:t>
              </a:r>
            </a:p>
          </p:txBody>
        </p:sp>
        <p:grpSp>
          <p:nvGrpSpPr>
            <p:cNvPr id="7" name="ïSḻiḋe">
              <a:extLst>
                <a:ext uri="{FF2B5EF4-FFF2-40B4-BE49-F238E27FC236}">
                  <a16:creationId xmlns:a16="http://schemas.microsoft.com/office/drawing/2014/main" id="{BA27FE31-130E-42C1-ADE2-84495A43C3A6}"/>
                </a:ext>
              </a:extLst>
            </p:cNvPr>
            <p:cNvGrpSpPr/>
            <p:nvPr/>
          </p:nvGrpSpPr>
          <p:grpSpPr>
            <a:xfrm>
              <a:off x="1921007" y="3474000"/>
              <a:ext cx="925888" cy="925889"/>
              <a:chOff x="2248009" y="2960952"/>
              <a:chExt cx="925888" cy="925889"/>
            </a:xfrm>
          </p:grpSpPr>
          <p:sp>
            <p:nvSpPr>
              <p:cNvPr id="20" name="íṣļiḓe">
                <a:extLst>
                  <a:ext uri="{FF2B5EF4-FFF2-40B4-BE49-F238E27FC236}">
                    <a16:creationId xmlns:a16="http://schemas.microsoft.com/office/drawing/2014/main" id="{B2E82511-F9F2-4FCE-8383-9BBBD4584716}"/>
                  </a:ext>
                </a:extLst>
              </p:cNvPr>
              <p:cNvSpPr/>
              <p:nvPr/>
            </p:nvSpPr>
            <p:spPr>
              <a:xfrm>
                <a:off x="2248009" y="2960952"/>
                <a:ext cx="925888" cy="925889"/>
              </a:xfrm>
              <a:prstGeom prst="ellipse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1" name="iš1idè">
                <a:extLst>
                  <a:ext uri="{FF2B5EF4-FFF2-40B4-BE49-F238E27FC236}">
                    <a16:creationId xmlns:a16="http://schemas.microsoft.com/office/drawing/2014/main" id="{A9748AE2-6710-4D57-8AD1-D013922101EC}"/>
                  </a:ext>
                </a:extLst>
              </p:cNvPr>
              <p:cNvSpPr/>
              <p:nvPr/>
            </p:nvSpPr>
            <p:spPr>
              <a:xfrm>
                <a:off x="2528709" y="3274798"/>
                <a:ext cx="364489" cy="298197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0618" y="14400"/>
                    </a:moveTo>
                    <a:lnTo>
                      <a:pt x="16349" y="14400"/>
                    </a:lnTo>
                    <a:cubicBezTo>
                      <a:pt x="16227" y="14820"/>
                      <a:pt x="16076" y="15221"/>
                      <a:pt x="15897" y="15600"/>
                    </a:cubicBezTo>
                    <a:lnTo>
                      <a:pt x="20618" y="15600"/>
                    </a:lnTo>
                    <a:lnTo>
                      <a:pt x="20618" y="19200"/>
                    </a:lnTo>
                    <a:cubicBezTo>
                      <a:pt x="20618" y="19862"/>
                      <a:pt x="20178" y="20400"/>
                      <a:pt x="19636" y="20400"/>
                    </a:cubicBezTo>
                    <a:lnTo>
                      <a:pt x="1964" y="20400"/>
                    </a:lnTo>
                    <a:cubicBezTo>
                      <a:pt x="1422" y="20400"/>
                      <a:pt x="982" y="19862"/>
                      <a:pt x="982" y="19200"/>
                    </a:cubicBezTo>
                    <a:lnTo>
                      <a:pt x="982" y="15600"/>
                    </a:lnTo>
                    <a:lnTo>
                      <a:pt x="5704" y="15600"/>
                    </a:lnTo>
                    <a:cubicBezTo>
                      <a:pt x="5524" y="15221"/>
                      <a:pt x="5373" y="14820"/>
                      <a:pt x="5251" y="14400"/>
                    </a:cubicBezTo>
                    <a:lnTo>
                      <a:pt x="982" y="14400"/>
                    </a:lnTo>
                    <a:lnTo>
                      <a:pt x="982" y="4800"/>
                    </a:lnTo>
                    <a:cubicBezTo>
                      <a:pt x="982" y="4138"/>
                      <a:pt x="1422" y="3600"/>
                      <a:pt x="1964" y="3600"/>
                    </a:cubicBezTo>
                    <a:lnTo>
                      <a:pt x="3927" y="3600"/>
                    </a:lnTo>
                    <a:cubicBezTo>
                      <a:pt x="5891" y="3600"/>
                      <a:pt x="5891" y="1200"/>
                      <a:pt x="7364" y="1200"/>
                    </a:cubicBezTo>
                    <a:lnTo>
                      <a:pt x="10800" y="1200"/>
                    </a:lnTo>
                    <a:lnTo>
                      <a:pt x="14236" y="1200"/>
                    </a:lnTo>
                    <a:cubicBezTo>
                      <a:pt x="15709" y="1200"/>
                      <a:pt x="15709" y="3600"/>
                      <a:pt x="17673" y="3600"/>
                    </a:cubicBezTo>
                    <a:lnTo>
                      <a:pt x="19636" y="3600"/>
                    </a:lnTo>
                    <a:cubicBezTo>
                      <a:pt x="20178" y="3600"/>
                      <a:pt x="20618" y="4138"/>
                      <a:pt x="20618" y="4800"/>
                    </a:cubicBezTo>
                    <a:cubicBezTo>
                      <a:pt x="20618" y="4800"/>
                      <a:pt x="20618" y="14400"/>
                      <a:pt x="20618" y="14400"/>
                    </a:cubicBezTo>
                    <a:close/>
                    <a:moveTo>
                      <a:pt x="19636" y="2400"/>
                    </a:moveTo>
                    <a:lnTo>
                      <a:pt x="17673" y="2400"/>
                    </a:lnTo>
                    <a:cubicBezTo>
                      <a:pt x="16200" y="2400"/>
                      <a:pt x="16200" y="0"/>
                      <a:pt x="14236" y="0"/>
                    </a:cubicBezTo>
                    <a:lnTo>
                      <a:pt x="10800" y="0"/>
                    </a:lnTo>
                    <a:lnTo>
                      <a:pt x="7364" y="0"/>
                    </a:lnTo>
                    <a:cubicBezTo>
                      <a:pt x="5400" y="0"/>
                      <a:pt x="5400" y="2400"/>
                      <a:pt x="3927" y="2400"/>
                    </a:cubicBezTo>
                    <a:lnTo>
                      <a:pt x="1964" y="2400"/>
                    </a:lnTo>
                    <a:cubicBezTo>
                      <a:pt x="879" y="2400"/>
                      <a:pt x="0" y="3475"/>
                      <a:pt x="0" y="4800"/>
                    </a:cubicBezTo>
                    <a:lnTo>
                      <a:pt x="0" y="19200"/>
                    </a:lnTo>
                    <a:cubicBezTo>
                      <a:pt x="0" y="20525"/>
                      <a:pt x="879" y="21600"/>
                      <a:pt x="1964" y="21600"/>
                    </a:cubicBezTo>
                    <a:lnTo>
                      <a:pt x="19636" y="21600"/>
                    </a:lnTo>
                    <a:cubicBezTo>
                      <a:pt x="20721" y="21600"/>
                      <a:pt x="21600" y="20525"/>
                      <a:pt x="21600" y="19200"/>
                    </a:cubicBezTo>
                    <a:lnTo>
                      <a:pt x="21600" y="4800"/>
                    </a:lnTo>
                    <a:cubicBezTo>
                      <a:pt x="21600" y="3475"/>
                      <a:pt x="20721" y="2400"/>
                      <a:pt x="19636" y="2400"/>
                    </a:cubicBezTo>
                    <a:moveTo>
                      <a:pt x="18164" y="7200"/>
                    </a:moveTo>
                    <a:cubicBezTo>
                      <a:pt x="17892" y="7200"/>
                      <a:pt x="17673" y="6932"/>
                      <a:pt x="17673" y="6600"/>
                    </a:cubicBezTo>
                    <a:cubicBezTo>
                      <a:pt x="17673" y="6269"/>
                      <a:pt x="17892" y="6000"/>
                      <a:pt x="18164" y="6000"/>
                    </a:cubicBezTo>
                    <a:cubicBezTo>
                      <a:pt x="18435" y="6000"/>
                      <a:pt x="18655" y="6269"/>
                      <a:pt x="18655" y="6600"/>
                    </a:cubicBezTo>
                    <a:cubicBezTo>
                      <a:pt x="18655" y="6932"/>
                      <a:pt x="18435" y="7200"/>
                      <a:pt x="18164" y="7200"/>
                    </a:cubicBezTo>
                    <a:moveTo>
                      <a:pt x="18164" y="4800"/>
                    </a:moveTo>
                    <a:cubicBezTo>
                      <a:pt x="17351" y="4800"/>
                      <a:pt x="16691" y="5607"/>
                      <a:pt x="16691" y="6600"/>
                    </a:cubicBezTo>
                    <a:cubicBezTo>
                      <a:pt x="16691" y="7594"/>
                      <a:pt x="17351" y="8400"/>
                      <a:pt x="18164" y="8400"/>
                    </a:cubicBezTo>
                    <a:cubicBezTo>
                      <a:pt x="18977" y="8400"/>
                      <a:pt x="19636" y="7594"/>
                      <a:pt x="19636" y="6600"/>
                    </a:cubicBezTo>
                    <a:cubicBezTo>
                      <a:pt x="19636" y="5607"/>
                      <a:pt x="18977" y="4800"/>
                      <a:pt x="18164" y="4800"/>
                    </a:cubicBezTo>
                    <a:moveTo>
                      <a:pt x="18164" y="9600"/>
                    </a:moveTo>
                    <a:cubicBezTo>
                      <a:pt x="17892" y="9600"/>
                      <a:pt x="17673" y="9869"/>
                      <a:pt x="17673" y="10200"/>
                    </a:cubicBezTo>
                    <a:cubicBezTo>
                      <a:pt x="17673" y="10532"/>
                      <a:pt x="17892" y="10800"/>
                      <a:pt x="18164" y="10800"/>
                    </a:cubicBezTo>
                    <a:cubicBezTo>
                      <a:pt x="18435" y="10800"/>
                      <a:pt x="18655" y="10532"/>
                      <a:pt x="18655" y="10200"/>
                    </a:cubicBezTo>
                    <a:cubicBezTo>
                      <a:pt x="18655" y="9869"/>
                      <a:pt x="18435" y="9600"/>
                      <a:pt x="18164" y="9600"/>
                    </a:cubicBezTo>
                    <a:moveTo>
                      <a:pt x="10800" y="16800"/>
                    </a:moveTo>
                    <a:cubicBezTo>
                      <a:pt x="8631" y="16800"/>
                      <a:pt x="6873" y="14651"/>
                      <a:pt x="6873" y="12000"/>
                    </a:cubicBezTo>
                    <a:cubicBezTo>
                      <a:pt x="6873" y="9349"/>
                      <a:pt x="8631" y="7200"/>
                      <a:pt x="10800" y="7200"/>
                    </a:cubicBezTo>
                    <a:cubicBezTo>
                      <a:pt x="12969" y="7200"/>
                      <a:pt x="14727" y="9349"/>
                      <a:pt x="14727" y="12000"/>
                    </a:cubicBezTo>
                    <a:cubicBezTo>
                      <a:pt x="14727" y="14651"/>
                      <a:pt x="12969" y="16800"/>
                      <a:pt x="10800" y="16800"/>
                    </a:cubicBezTo>
                    <a:moveTo>
                      <a:pt x="10800" y="6000"/>
                    </a:moveTo>
                    <a:cubicBezTo>
                      <a:pt x="8088" y="6000"/>
                      <a:pt x="5891" y="8687"/>
                      <a:pt x="5891" y="12000"/>
                    </a:cubicBezTo>
                    <a:cubicBezTo>
                      <a:pt x="5891" y="15314"/>
                      <a:pt x="8088" y="18000"/>
                      <a:pt x="10800" y="18000"/>
                    </a:cubicBezTo>
                    <a:cubicBezTo>
                      <a:pt x="13512" y="18000"/>
                      <a:pt x="15709" y="15314"/>
                      <a:pt x="15709" y="12000"/>
                    </a:cubicBezTo>
                    <a:cubicBezTo>
                      <a:pt x="15709" y="8687"/>
                      <a:pt x="13512" y="6000"/>
                      <a:pt x="10800" y="6000"/>
                    </a:cubicBezTo>
                    <a:moveTo>
                      <a:pt x="10800" y="14400"/>
                    </a:moveTo>
                    <a:cubicBezTo>
                      <a:pt x="9716" y="14400"/>
                      <a:pt x="8836" y="13325"/>
                      <a:pt x="8836" y="12000"/>
                    </a:cubicBezTo>
                    <a:cubicBezTo>
                      <a:pt x="8836" y="10675"/>
                      <a:pt x="9716" y="9600"/>
                      <a:pt x="10800" y="9600"/>
                    </a:cubicBezTo>
                    <a:cubicBezTo>
                      <a:pt x="11884" y="9600"/>
                      <a:pt x="12764" y="10675"/>
                      <a:pt x="12764" y="12000"/>
                    </a:cubicBezTo>
                    <a:cubicBezTo>
                      <a:pt x="12764" y="13325"/>
                      <a:pt x="11884" y="14400"/>
                      <a:pt x="10800" y="14400"/>
                    </a:cubicBezTo>
                    <a:moveTo>
                      <a:pt x="10800" y="8400"/>
                    </a:moveTo>
                    <a:cubicBezTo>
                      <a:pt x="9173" y="8400"/>
                      <a:pt x="7855" y="10012"/>
                      <a:pt x="7855" y="12000"/>
                    </a:cubicBezTo>
                    <a:cubicBezTo>
                      <a:pt x="7855" y="13988"/>
                      <a:pt x="9173" y="15600"/>
                      <a:pt x="10800" y="15600"/>
                    </a:cubicBezTo>
                    <a:cubicBezTo>
                      <a:pt x="12426" y="15600"/>
                      <a:pt x="13745" y="13988"/>
                      <a:pt x="13745" y="12000"/>
                    </a:cubicBezTo>
                    <a:cubicBezTo>
                      <a:pt x="13745" y="10012"/>
                      <a:pt x="12426" y="8400"/>
                      <a:pt x="10800" y="8400"/>
                    </a:cubicBezTo>
                    <a:moveTo>
                      <a:pt x="8345" y="3600"/>
                    </a:moveTo>
                    <a:lnTo>
                      <a:pt x="13255" y="3600"/>
                    </a:lnTo>
                    <a:cubicBezTo>
                      <a:pt x="13526" y="3600"/>
                      <a:pt x="13745" y="3332"/>
                      <a:pt x="13745" y="3000"/>
                    </a:cubicBezTo>
                    <a:cubicBezTo>
                      <a:pt x="13745" y="2669"/>
                      <a:pt x="13526" y="2400"/>
                      <a:pt x="13255" y="2400"/>
                    </a:cubicBezTo>
                    <a:lnTo>
                      <a:pt x="8345" y="2400"/>
                    </a:lnTo>
                    <a:cubicBezTo>
                      <a:pt x="8074" y="2400"/>
                      <a:pt x="7855" y="2669"/>
                      <a:pt x="7855" y="3000"/>
                    </a:cubicBezTo>
                    <a:cubicBezTo>
                      <a:pt x="7855" y="3332"/>
                      <a:pt x="8074" y="3600"/>
                      <a:pt x="8345" y="3600"/>
                    </a:cubicBezTo>
                  </a:path>
                </a:pathLst>
              </a:custGeom>
              <a:solidFill>
                <a:schemeClr val="bg2"/>
              </a:solidFill>
              <a:ln w="12700">
                <a:miter lim="400000"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</p:grpSp>
        <p:sp>
          <p:nvSpPr>
            <p:cNvPr id="18" name="ïṡlîḑe">
              <a:extLst>
                <a:ext uri="{FF2B5EF4-FFF2-40B4-BE49-F238E27FC236}">
                  <a16:creationId xmlns:a16="http://schemas.microsoft.com/office/drawing/2014/main" id="{55583C41-3B2A-4C5F-868E-C88D32F578A2}"/>
                </a:ext>
              </a:extLst>
            </p:cNvPr>
            <p:cNvSpPr txBox="1"/>
            <p:nvPr/>
          </p:nvSpPr>
          <p:spPr bwMode="auto">
            <a:xfrm>
              <a:off x="1156184" y="4036432"/>
              <a:ext cx="2476800" cy="134263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90000" tIns="46800" rIns="90000" bIns="46800" anchor="b" anchorCtr="0">
              <a:noAutofit/>
              <a:scene3d>
                <a:camera prst="orthographicFront"/>
                <a:lightRig rig="threePt" dir="t"/>
              </a:scene3d>
              <a:sp3d>
                <a:bevelT w="0" h="0"/>
              </a:sp3d>
            </a:bodyPr>
            <a:lstStyle/>
            <a:p>
              <a:pPr marL="0" lvl="1" algn="ctr"/>
              <a:r>
                <a:rPr lang="zh-CN" altLang="en-US" sz="3600" b="1" dirty="0"/>
                <a:t>实验室检查</a:t>
              </a:r>
            </a:p>
          </p:txBody>
        </p:sp>
        <p:grpSp>
          <p:nvGrpSpPr>
            <p:cNvPr id="9" name="ïṥḻîḓe">
              <a:extLst>
                <a:ext uri="{FF2B5EF4-FFF2-40B4-BE49-F238E27FC236}">
                  <a16:creationId xmlns:a16="http://schemas.microsoft.com/office/drawing/2014/main" id="{A6ABAA85-5922-4749-9018-88273213DF08}"/>
                </a:ext>
              </a:extLst>
            </p:cNvPr>
            <p:cNvGrpSpPr/>
            <p:nvPr/>
          </p:nvGrpSpPr>
          <p:grpSpPr>
            <a:xfrm>
              <a:off x="9345105" y="3474000"/>
              <a:ext cx="925888" cy="925889"/>
              <a:chOff x="9018106" y="2960951"/>
              <a:chExt cx="925888" cy="925889"/>
            </a:xfrm>
          </p:grpSpPr>
          <p:sp>
            <p:nvSpPr>
              <p:cNvPr id="16" name="ïṥlîḍé">
                <a:extLst>
                  <a:ext uri="{FF2B5EF4-FFF2-40B4-BE49-F238E27FC236}">
                    <a16:creationId xmlns:a16="http://schemas.microsoft.com/office/drawing/2014/main" id="{4786AB2A-BFEC-46A2-85B6-DDEF50049A1C}"/>
                  </a:ext>
                </a:extLst>
              </p:cNvPr>
              <p:cNvSpPr/>
              <p:nvPr/>
            </p:nvSpPr>
            <p:spPr>
              <a:xfrm>
                <a:off x="9018106" y="2960951"/>
                <a:ext cx="925888" cy="925889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7" name="iŝḷïḍè">
                <a:extLst>
                  <a:ext uri="{FF2B5EF4-FFF2-40B4-BE49-F238E27FC236}">
                    <a16:creationId xmlns:a16="http://schemas.microsoft.com/office/drawing/2014/main" id="{62FC1A3D-CF7E-4AD9-8528-053206D1EC7D}"/>
                  </a:ext>
                </a:extLst>
              </p:cNvPr>
              <p:cNvSpPr/>
              <p:nvPr/>
            </p:nvSpPr>
            <p:spPr>
              <a:xfrm>
                <a:off x="9298804" y="3241664"/>
                <a:ext cx="364489" cy="364462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0618" y="2945"/>
                    </a:moveTo>
                    <a:lnTo>
                      <a:pt x="982" y="2945"/>
                    </a:lnTo>
                    <a:lnTo>
                      <a:pt x="982" y="1964"/>
                    </a:lnTo>
                    <a:lnTo>
                      <a:pt x="20618" y="1964"/>
                    </a:lnTo>
                    <a:cubicBezTo>
                      <a:pt x="20618" y="1964"/>
                      <a:pt x="20618" y="2945"/>
                      <a:pt x="20618" y="2945"/>
                    </a:cubicBezTo>
                    <a:close/>
                    <a:moveTo>
                      <a:pt x="19636" y="15709"/>
                    </a:moveTo>
                    <a:lnTo>
                      <a:pt x="1964" y="15709"/>
                    </a:lnTo>
                    <a:lnTo>
                      <a:pt x="1964" y="3927"/>
                    </a:lnTo>
                    <a:lnTo>
                      <a:pt x="19636" y="3927"/>
                    </a:lnTo>
                    <a:cubicBezTo>
                      <a:pt x="19636" y="3927"/>
                      <a:pt x="19636" y="15709"/>
                      <a:pt x="19636" y="15709"/>
                    </a:cubicBezTo>
                    <a:close/>
                    <a:moveTo>
                      <a:pt x="20618" y="982"/>
                    </a:moveTo>
                    <a:lnTo>
                      <a:pt x="11782" y="982"/>
                    </a:lnTo>
                    <a:cubicBezTo>
                      <a:pt x="11782" y="440"/>
                      <a:pt x="11342" y="0"/>
                      <a:pt x="10800" y="0"/>
                    </a:cubicBezTo>
                    <a:cubicBezTo>
                      <a:pt x="10257" y="0"/>
                      <a:pt x="9818" y="440"/>
                      <a:pt x="9818" y="982"/>
                    </a:cubicBezTo>
                    <a:lnTo>
                      <a:pt x="982" y="982"/>
                    </a:lnTo>
                    <a:cubicBezTo>
                      <a:pt x="439" y="982"/>
                      <a:pt x="0" y="1422"/>
                      <a:pt x="0" y="1964"/>
                    </a:cubicBezTo>
                    <a:lnTo>
                      <a:pt x="0" y="2945"/>
                    </a:lnTo>
                    <a:cubicBezTo>
                      <a:pt x="0" y="3488"/>
                      <a:pt x="439" y="3927"/>
                      <a:pt x="982" y="3927"/>
                    </a:cubicBezTo>
                    <a:lnTo>
                      <a:pt x="982" y="15709"/>
                    </a:lnTo>
                    <a:cubicBezTo>
                      <a:pt x="982" y="16252"/>
                      <a:pt x="1421" y="16691"/>
                      <a:pt x="1964" y="16691"/>
                    </a:cubicBezTo>
                    <a:lnTo>
                      <a:pt x="10309" y="16691"/>
                    </a:lnTo>
                    <a:lnTo>
                      <a:pt x="10309" y="17960"/>
                    </a:lnTo>
                    <a:lnTo>
                      <a:pt x="7507" y="20762"/>
                    </a:lnTo>
                    <a:cubicBezTo>
                      <a:pt x="7419" y="20851"/>
                      <a:pt x="7364" y="20974"/>
                      <a:pt x="7364" y="21109"/>
                    </a:cubicBezTo>
                    <a:cubicBezTo>
                      <a:pt x="7364" y="21380"/>
                      <a:pt x="7583" y="21600"/>
                      <a:pt x="7855" y="21600"/>
                    </a:cubicBezTo>
                    <a:cubicBezTo>
                      <a:pt x="7990" y="21600"/>
                      <a:pt x="8113" y="21545"/>
                      <a:pt x="8202" y="21456"/>
                    </a:cubicBezTo>
                    <a:lnTo>
                      <a:pt x="10800" y="18858"/>
                    </a:lnTo>
                    <a:lnTo>
                      <a:pt x="13398" y="21456"/>
                    </a:lnTo>
                    <a:cubicBezTo>
                      <a:pt x="13488" y="21545"/>
                      <a:pt x="13610" y="21600"/>
                      <a:pt x="13745" y="21600"/>
                    </a:cubicBezTo>
                    <a:cubicBezTo>
                      <a:pt x="14017" y="21600"/>
                      <a:pt x="14236" y="21380"/>
                      <a:pt x="14236" y="21109"/>
                    </a:cubicBezTo>
                    <a:cubicBezTo>
                      <a:pt x="14236" y="20974"/>
                      <a:pt x="14182" y="20851"/>
                      <a:pt x="14093" y="20762"/>
                    </a:cubicBezTo>
                    <a:lnTo>
                      <a:pt x="11291" y="17960"/>
                    </a:lnTo>
                    <a:lnTo>
                      <a:pt x="11291" y="16691"/>
                    </a:lnTo>
                    <a:lnTo>
                      <a:pt x="19636" y="16691"/>
                    </a:lnTo>
                    <a:cubicBezTo>
                      <a:pt x="20178" y="16691"/>
                      <a:pt x="20618" y="16252"/>
                      <a:pt x="20618" y="15709"/>
                    </a:cubicBezTo>
                    <a:lnTo>
                      <a:pt x="20618" y="3927"/>
                    </a:lnTo>
                    <a:cubicBezTo>
                      <a:pt x="21160" y="3927"/>
                      <a:pt x="21600" y="3488"/>
                      <a:pt x="21600" y="2945"/>
                    </a:cubicBezTo>
                    <a:lnTo>
                      <a:pt x="21600" y="1964"/>
                    </a:lnTo>
                    <a:cubicBezTo>
                      <a:pt x="21600" y="1422"/>
                      <a:pt x="21160" y="982"/>
                      <a:pt x="20618" y="982"/>
                    </a:cubicBezTo>
                    <a:moveTo>
                      <a:pt x="16200" y="5891"/>
                    </a:moveTo>
                    <a:cubicBezTo>
                      <a:pt x="16471" y="5891"/>
                      <a:pt x="16691" y="6111"/>
                      <a:pt x="16691" y="6382"/>
                    </a:cubicBezTo>
                    <a:cubicBezTo>
                      <a:pt x="16691" y="6653"/>
                      <a:pt x="16471" y="6873"/>
                      <a:pt x="16200" y="6873"/>
                    </a:cubicBezTo>
                    <a:cubicBezTo>
                      <a:pt x="15929" y="6873"/>
                      <a:pt x="15709" y="6653"/>
                      <a:pt x="15709" y="6382"/>
                    </a:cubicBezTo>
                    <a:cubicBezTo>
                      <a:pt x="15709" y="6111"/>
                      <a:pt x="15929" y="5891"/>
                      <a:pt x="16200" y="5891"/>
                    </a:cubicBezTo>
                    <a:moveTo>
                      <a:pt x="16200" y="7855"/>
                    </a:moveTo>
                    <a:cubicBezTo>
                      <a:pt x="17013" y="7855"/>
                      <a:pt x="17673" y="7196"/>
                      <a:pt x="17673" y="6382"/>
                    </a:cubicBezTo>
                    <a:cubicBezTo>
                      <a:pt x="17673" y="5569"/>
                      <a:pt x="17013" y="4909"/>
                      <a:pt x="16200" y="4909"/>
                    </a:cubicBezTo>
                    <a:cubicBezTo>
                      <a:pt x="15387" y="4909"/>
                      <a:pt x="14727" y="5569"/>
                      <a:pt x="14727" y="6382"/>
                    </a:cubicBezTo>
                    <a:cubicBezTo>
                      <a:pt x="14727" y="7196"/>
                      <a:pt x="15387" y="7855"/>
                      <a:pt x="16200" y="7855"/>
                    </a:cubicBezTo>
                    <a:moveTo>
                      <a:pt x="8422" y="8135"/>
                    </a:moveTo>
                    <a:lnTo>
                      <a:pt x="11926" y="11638"/>
                    </a:lnTo>
                    <a:cubicBezTo>
                      <a:pt x="12015" y="11727"/>
                      <a:pt x="12138" y="11782"/>
                      <a:pt x="12273" y="11782"/>
                    </a:cubicBezTo>
                    <a:cubicBezTo>
                      <a:pt x="12408" y="11782"/>
                      <a:pt x="12531" y="11727"/>
                      <a:pt x="12620" y="11638"/>
                    </a:cubicBezTo>
                    <a:lnTo>
                      <a:pt x="14183" y="10075"/>
                    </a:lnTo>
                    <a:lnTo>
                      <a:pt x="16200" y="12764"/>
                    </a:lnTo>
                    <a:lnTo>
                      <a:pt x="5336" y="12764"/>
                    </a:lnTo>
                    <a:cubicBezTo>
                      <a:pt x="5336" y="12764"/>
                      <a:pt x="8422" y="8135"/>
                      <a:pt x="8422" y="8135"/>
                    </a:cubicBezTo>
                    <a:close/>
                    <a:moveTo>
                      <a:pt x="4418" y="13745"/>
                    </a:moveTo>
                    <a:lnTo>
                      <a:pt x="17182" y="13745"/>
                    </a:lnTo>
                    <a:cubicBezTo>
                      <a:pt x="17453" y="13745"/>
                      <a:pt x="17673" y="13526"/>
                      <a:pt x="17673" y="13255"/>
                    </a:cubicBezTo>
                    <a:cubicBezTo>
                      <a:pt x="17673" y="13144"/>
                      <a:pt x="17630" y="13047"/>
                      <a:pt x="17568" y="12965"/>
                    </a:cubicBezTo>
                    <a:lnTo>
                      <a:pt x="17575" y="12960"/>
                    </a:lnTo>
                    <a:lnTo>
                      <a:pt x="14629" y="9033"/>
                    </a:lnTo>
                    <a:lnTo>
                      <a:pt x="14622" y="9038"/>
                    </a:lnTo>
                    <a:cubicBezTo>
                      <a:pt x="14533" y="8919"/>
                      <a:pt x="14397" y="8836"/>
                      <a:pt x="14236" y="8836"/>
                    </a:cubicBezTo>
                    <a:cubicBezTo>
                      <a:pt x="14101" y="8836"/>
                      <a:pt x="13978" y="8891"/>
                      <a:pt x="13889" y="8980"/>
                    </a:cubicBezTo>
                    <a:lnTo>
                      <a:pt x="12273" y="10597"/>
                    </a:lnTo>
                    <a:lnTo>
                      <a:pt x="8693" y="7017"/>
                    </a:lnTo>
                    <a:cubicBezTo>
                      <a:pt x="8604" y="6928"/>
                      <a:pt x="8481" y="6873"/>
                      <a:pt x="8345" y="6873"/>
                    </a:cubicBezTo>
                    <a:cubicBezTo>
                      <a:pt x="8175" y="6873"/>
                      <a:pt x="8033" y="6965"/>
                      <a:pt x="7945" y="7097"/>
                    </a:cubicBezTo>
                    <a:lnTo>
                      <a:pt x="7937" y="7091"/>
                    </a:lnTo>
                    <a:lnTo>
                      <a:pt x="4010" y="12982"/>
                    </a:lnTo>
                    <a:lnTo>
                      <a:pt x="4017" y="12988"/>
                    </a:lnTo>
                    <a:cubicBezTo>
                      <a:pt x="3965" y="13066"/>
                      <a:pt x="3927" y="13154"/>
                      <a:pt x="3927" y="13255"/>
                    </a:cubicBezTo>
                    <a:cubicBezTo>
                      <a:pt x="3927" y="13526"/>
                      <a:pt x="4147" y="13745"/>
                      <a:pt x="4418" y="13745"/>
                    </a:cubicBezTo>
                  </a:path>
                </a:pathLst>
              </a:custGeom>
              <a:solidFill>
                <a:schemeClr val="bg2"/>
              </a:solidFill>
              <a:ln w="12700">
                <a:miter lim="400000"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</p:grpSp>
        <p:sp>
          <p:nvSpPr>
            <p:cNvPr id="14" name="íśliḓe">
              <a:extLst>
                <a:ext uri="{FF2B5EF4-FFF2-40B4-BE49-F238E27FC236}">
                  <a16:creationId xmlns:a16="http://schemas.microsoft.com/office/drawing/2014/main" id="{E7EB73BF-AC05-4BB9-936B-6DEE21663D1A}"/>
                </a:ext>
              </a:extLst>
            </p:cNvPr>
            <p:cNvSpPr txBox="1"/>
            <p:nvPr/>
          </p:nvSpPr>
          <p:spPr bwMode="auto">
            <a:xfrm>
              <a:off x="8580189" y="4036432"/>
              <a:ext cx="2476800" cy="134263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90000" tIns="46800" rIns="90000" bIns="46800" anchor="b" anchorCtr="0">
              <a:normAutofit/>
              <a:scene3d>
                <a:camera prst="orthographicFront"/>
                <a:lightRig rig="threePt" dir="t"/>
              </a:scene3d>
              <a:sp3d>
                <a:bevelT w="0" h="0"/>
              </a:sp3d>
            </a:bodyPr>
            <a:lstStyle/>
            <a:p>
              <a:pPr marL="0" lvl="1" algn="ctr"/>
              <a:r>
                <a:rPr lang="zh-CN" altLang="en-US" sz="3600" b="1" dirty="0"/>
                <a:t>局部穿刺抽脓</a:t>
              </a:r>
            </a:p>
          </p:txBody>
        </p:sp>
        <p:cxnSp>
          <p:nvCxnSpPr>
            <p:cNvPr id="12" name="直接连接符 11">
              <a:extLst>
                <a:ext uri="{FF2B5EF4-FFF2-40B4-BE49-F238E27FC236}">
                  <a16:creationId xmlns:a16="http://schemas.microsoft.com/office/drawing/2014/main" id="{37714CE8-43BF-42B3-805F-5B984F87233C}"/>
                </a:ext>
              </a:extLst>
            </p:cNvPr>
            <p:cNvCxnSpPr/>
            <p:nvPr/>
          </p:nvCxnSpPr>
          <p:spPr>
            <a:xfrm>
              <a:off x="4239976" y="4599000"/>
              <a:ext cx="0" cy="940265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  <a:headEnd type="none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直接连接符 12">
              <a:extLst>
                <a:ext uri="{FF2B5EF4-FFF2-40B4-BE49-F238E27FC236}">
                  <a16:creationId xmlns:a16="http://schemas.microsoft.com/office/drawing/2014/main" id="{2F378A6A-97E5-4EC2-9C90-2E5947A1473E}"/>
                </a:ext>
              </a:extLst>
            </p:cNvPr>
            <p:cNvCxnSpPr/>
            <p:nvPr/>
          </p:nvCxnSpPr>
          <p:spPr>
            <a:xfrm>
              <a:off x="7952025" y="4599000"/>
              <a:ext cx="0" cy="940265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  <a:headEnd type="none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188173705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框 2">
            <a:extLst>
              <a:ext uri="{FF2B5EF4-FFF2-40B4-BE49-F238E27FC236}">
                <a16:creationId xmlns:a16="http://schemas.microsoft.com/office/drawing/2014/main" id="{9B60BF93-EA8A-46AD-9628-FAD9C828F3E8}"/>
              </a:ext>
            </a:extLst>
          </p:cNvPr>
          <p:cNvSpPr txBox="1"/>
          <p:nvPr/>
        </p:nvSpPr>
        <p:spPr>
          <a:xfrm>
            <a:off x="669925" y="422414"/>
            <a:ext cx="5454503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4000" b="1" dirty="0"/>
              <a:t>治疗原则</a:t>
            </a:r>
          </a:p>
        </p:txBody>
      </p:sp>
      <p:pic>
        <p:nvPicPr>
          <p:cNvPr id="2" name="图片 1">
            <a:extLst>
              <a:ext uri="{FF2B5EF4-FFF2-40B4-BE49-F238E27FC236}">
                <a16:creationId xmlns:a16="http://schemas.microsoft.com/office/drawing/2014/main" id="{22D28350-AA38-4A6F-9549-BE392517B4DC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767" r="6325"/>
          <a:stretch/>
        </p:blipFill>
        <p:spPr>
          <a:xfrm>
            <a:off x="1403498" y="1861467"/>
            <a:ext cx="9524412" cy="40608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1345657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框 2">
            <a:extLst>
              <a:ext uri="{FF2B5EF4-FFF2-40B4-BE49-F238E27FC236}">
                <a16:creationId xmlns:a16="http://schemas.microsoft.com/office/drawing/2014/main" id="{9B60BF93-EA8A-46AD-9628-FAD9C828F3E8}"/>
              </a:ext>
            </a:extLst>
          </p:cNvPr>
          <p:cNvSpPr txBox="1"/>
          <p:nvPr/>
        </p:nvSpPr>
        <p:spPr>
          <a:xfrm>
            <a:off x="669925" y="422414"/>
            <a:ext cx="5454503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4000" b="1" dirty="0"/>
              <a:t>常见护理诊断</a:t>
            </a:r>
            <a:r>
              <a:rPr lang="en-US" altLang="zh-CN" sz="4000" b="1" dirty="0"/>
              <a:t>/</a:t>
            </a:r>
            <a:r>
              <a:rPr lang="zh-CN" altLang="en-US" sz="4000" b="1" dirty="0"/>
              <a:t>问题</a:t>
            </a:r>
          </a:p>
        </p:txBody>
      </p:sp>
      <p:pic>
        <p:nvPicPr>
          <p:cNvPr id="2" name="图片 1">
            <a:extLst>
              <a:ext uri="{FF2B5EF4-FFF2-40B4-BE49-F238E27FC236}">
                <a16:creationId xmlns:a16="http://schemas.microsoft.com/office/drawing/2014/main" id="{78C9CFF7-B0EF-4FA0-920C-C5CE2E35D794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6174" r="9987"/>
          <a:stretch/>
        </p:blipFill>
        <p:spPr>
          <a:xfrm>
            <a:off x="1531088" y="1516798"/>
            <a:ext cx="9080419" cy="41609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13875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框 2">
            <a:extLst>
              <a:ext uri="{FF2B5EF4-FFF2-40B4-BE49-F238E27FC236}">
                <a16:creationId xmlns:a16="http://schemas.microsoft.com/office/drawing/2014/main" id="{9B60BF93-EA8A-46AD-9628-FAD9C828F3E8}"/>
              </a:ext>
            </a:extLst>
          </p:cNvPr>
          <p:cNvSpPr txBox="1"/>
          <p:nvPr/>
        </p:nvSpPr>
        <p:spPr>
          <a:xfrm>
            <a:off x="669925" y="422414"/>
            <a:ext cx="5454503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4000" b="1" dirty="0"/>
              <a:t>护理措施</a:t>
            </a:r>
          </a:p>
        </p:txBody>
      </p:sp>
      <p:pic>
        <p:nvPicPr>
          <p:cNvPr id="2" name="图片 1">
            <a:extLst>
              <a:ext uri="{FF2B5EF4-FFF2-40B4-BE49-F238E27FC236}">
                <a16:creationId xmlns:a16="http://schemas.microsoft.com/office/drawing/2014/main" id="{5848D085-1968-485C-8FCD-01C7009BC94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80124" y="1802281"/>
            <a:ext cx="5486976" cy="40137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4258895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框 2">
            <a:extLst>
              <a:ext uri="{FF2B5EF4-FFF2-40B4-BE49-F238E27FC236}">
                <a16:creationId xmlns:a16="http://schemas.microsoft.com/office/drawing/2014/main" id="{D08B12B2-BA1A-4444-8321-21AD54E9B832}"/>
              </a:ext>
            </a:extLst>
          </p:cNvPr>
          <p:cNvSpPr txBox="1"/>
          <p:nvPr/>
        </p:nvSpPr>
        <p:spPr>
          <a:xfrm>
            <a:off x="0" y="258431"/>
            <a:ext cx="6762307" cy="830997"/>
          </a:xfrm>
          <a:prstGeom prst="rect">
            <a:avLst/>
          </a:prstGeom>
          <a:solidFill>
            <a:schemeClr val="bg2">
              <a:lumMod val="75000"/>
              <a:alpha val="32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altLang="zh-CN" sz="4800" dirty="0"/>
              <a:t>    </a:t>
            </a:r>
            <a:r>
              <a:rPr lang="zh-CN" altLang="en-US" sz="4800" dirty="0"/>
              <a:t>四、肛瘘病人的护理</a:t>
            </a:r>
          </a:p>
        </p:txBody>
      </p:sp>
      <p:sp>
        <p:nvSpPr>
          <p:cNvPr id="2" name="矩形 1">
            <a:extLst>
              <a:ext uri="{FF2B5EF4-FFF2-40B4-BE49-F238E27FC236}">
                <a16:creationId xmlns:a16="http://schemas.microsoft.com/office/drawing/2014/main" id="{F28F2DA0-B707-4A8E-940E-A9C0929E49E2}"/>
              </a:ext>
            </a:extLst>
          </p:cNvPr>
          <p:cNvSpPr/>
          <p:nvPr/>
        </p:nvSpPr>
        <p:spPr>
          <a:xfrm>
            <a:off x="669925" y="1584549"/>
            <a:ext cx="10850563" cy="424077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4000" b="1" dirty="0">
                <a:solidFill>
                  <a:srgbClr val="C00000"/>
                </a:solidFill>
              </a:rPr>
              <a:t>肛瘘</a:t>
            </a:r>
            <a:r>
              <a:rPr lang="zh-CN" altLang="en-US" sz="3600" b="1" dirty="0"/>
              <a:t>是肛管或直肠下段与肛周皮肤相通的肉芽肿性管道，由内口、瘘管、外口三部分组成</a:t>
            </a:r>
            <a:r>
              <a:rPr lang="zh-CN" altLang="en-US" sz="3600" dirty="0"/>
              <a:t>。内口常位于直肠下段或肛管，多为一个</a:t>
            </a:r>
            <a:r>
              <a:rPr lang="en-US" altLang="zh-CN" sz="3600" dirty="0"/>
              <a:t>;</a:t>
            </a:r>
            <a:r>
              <a:rPr lang="zh-CN" altLang="en-US" sz="3600" dirty="0"/>
              <a:t>外口在肛周皮肤上</a:t>
            </a:r>
            <a:r>
              <a:rPr lang="en-US" altLang="zh-CN" sz="3600" dirty="0"/>
              <a:t>,</a:t>
            </a:r>
            <a:r>
              <a:rPr lang="zh-CN" altLang="en-US" sz="3600" dirty="0"/>
              <a:t>可为一个或多个，</a:t>
            </a:r>
            <a:r>
              <a:rPr lang="zh-CN" altLang="en-US" sz="3600" b="1" dirty="0"/>
              <a:t>经久不愈或间歇性反复发作</a:t>
            </a:r>
            <a:r>
              <a:rPr lang="zh-CN" altLang="en-US" sz="3600" dirty="0"/>
              <a:t>。任何年龄都可发病，多见于青壮年男性。 </a:t>
            </a:r>
          </a:p>
        </p:txBody>
      </p:sp>
    </p:spTree>
    <p:extLst>
      <p:ext uri="{BB962C8B-B14F-4D97-AF65-F5344CB8AC3E}">
        <p14:creationId xmlns:p14="http://schemas.microsoft.com/office/powerpoint/2010/main" val="96664827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框 2">
            <a:extLst>
              <a:ext uri="{FF2B5EF4-FFF2-40B4-BE49-F238E27FC236}">
                <a16:creationId xmlns:a16="http://schemas.microsoft.com/office/drawing/2014/main" id="{D08B12B2-BA1A-4444-8321-21AD54E9B832}"/>
              </a:ext>
            </a:extLst>
          </p:cNvPr>
          <p:cNvSpPr txBox="1"/>
          <p:nvPr/>
        </p:nvSpPr>
        <p:spPr>
          <a:xfrm>
            <a:off x="0" y="258431"/>
            <a:ext cx="6103088" cy="830997"/>
          </a:xfrm>
          <a:prstGeom prst="rect">
            <a:avLst/>
          </a:prstGeom>
          <a:solidFill>
            <a:schemeClr val="bg2">
              <a:lumMod val="90000"/>
              <a:alpha val="78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altLang="zh-CN" sz="4800" dirty="0"/>
              <a:t>    </a:t>
            </a:r>
            <a:r>
              <a:rPr lang="zh-CN" altLang="en-US" sz="4800" dirty="0"/>
              <a:t>一、痔病人的护理</a:t>
            </a:r>
          </a:p>
        </p:txBody>
      </p:sp>
      <p:sp>
        <p:nvSpPr>
          <p:cNvPr id="4" name="矩形 3">
            <a:extLst>
              <a:ext uri="{FF2B5EF4-FFF2-40B4-BE49-F238E27FC236}">
                <a16:creationId xmlns:a16="http://schemas.microsoft.com/office/drawing/2014/main" id="{2EBBBE63-A926-4EA4-BC34-B04AE85CDBAE}"/>
              </a:ext>
            </a:extLst>
          </p:cNvPr>
          <p:cNvSpPr/>
          <p:nvPr/>
        </p:nvSpPr>
        <p:spPr>
          <a:xfrm>
            <a:off x="425376" y="1605371"/>
            <a:ext cx="11522075" cy="51603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4400" b="1" dirty="0">
                <a:solidFill>
                  <a:srgbClr val="C00000"/>
                </a:solidFill>
              </a:rPr>
              <a:t>痔</a:t>
            </a:r>
            <a:r>
              <a:rPr lang="zh-CN" altLang="en-US" sz="3600" dirty="0"/>
              <a:t>是最常见的肛肠疾病，任何年龄均可发生。痔分内痔外痔和混合痔三种。</a:t>
            </a:r>
            <a:r>
              <a:rPr lang="zh-CN" altLang="en-US" sz="3600" b="1" dirty="0"/>
              <a:t>内痔是肛垫的支持结构、静脉丛及动静脉吻合支发生病理性改变和移位</a:t>
            </a:r>
            <a:r>
              <a:rPr lang="en-US" altLang="zh-CN" sz="3600" b="1" dirty="0"/>
              <a:t>;</a:t>
            </a:r>
            <a:r>
              <a:rPr lang="zh-CN" altLang="en-US" sz="3600" b="1" dirty="0"/>
              <a:t>外痔是齿状线远侧皮下静脉丛的病理性扩张或血栓形成</a:t>
            </a:r>
            <a:r>
              <a:rPr lang="en-US" altLang="zh-CN" sz="3600" b="1" dirty="0"/>
              <a:t>;</a:t>
            </a:r>
            <a:r>
              <a:rPr lang="zh-CN" altLang="en-US" sz="3600" dirty="0"/>
              <a:t>齿状线上、下静脉丛相互融合形成的痔为混合痔。</a:t>
            </a:r>
            <a:br>
              <a:rPr lang="zh-CN" altLang="en-US" sz="3600" dirty="0"/>
            </a:br>
            <a:endParaRPr lang="zh-CN" altLang="en-US" sz="3600" dirty="0"/>
          </a:p>
        </p:txBody>
      </p:sp>
    </p:spTree>
    <p:extLst>
      <p:ext uri="{BB962C8B-B14F-4D97-AF65-F5344CB8AC3E}">
        <p14:creationId xmlns:p14="http://schemas.microsoft.com/office/powerpoint/2010/main" val="911933172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框 2">
            <a:extLst>
              <a:ext uri="{FF2B5EF4-FFF2-40B4-BE49-F238E27FC236}">
                <a16:creationId xmlns:a16="http://schemas.microsoft.com/office/drawing/2014/main" id="{9B60BF93-EA8A-46AD-9628-FAD9C828F3E8}"/>
              </a:ext>
            </a:extLst>
          </p:cNvPr>
          <p:cNvSpPr txBox="1"/>
          <p:nvPr/>
        </p:nvSpPr>
        <p:spPr>
          <a:xfrm>
            <a:off x="669925" y="422414"/>
            <a:ext cx="5454503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4000" b="1" dirty="0"/>
              <a:t>病 因</a:t>
            </a:r>
          </a:p>
        </p:txBody>
      </p:sp>
      <p:pic>
        <p:nvPicPr>
          <p:cNvPr id="2" name="图片 1">
            <a:extLst>
              <a:ext uri="{FF2B5EF4-FFF2-40B4-BE49-F238E27FC236}">
                <a16:creationId xmlns:a16="http://schemas.microsoft.com/office/drawing/2014/main" id="{FEAF6171-9A0A-40F3-810C-01F221714E5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56734" y="1651655"/>
            <a:ext cx="8793052" cy="938439"/>
          </a:xfrm>
          <a:prstGeom prst="rect">
            <a:avLst/>
          </a:prstGeom>
        </p:spPr>
      </p:pic>
      <p:pic>
        <p:nvPicPr>
          <p:cNvPr id="4" name="图片 3">
            <a:extLst>
              <a:ext uri="{FF2B5EF4-FFF2-40B4-BE49-F238E27FC236}">
                <a16:creationId xmlns:a16="http://schemas.microsoft.com/office/drawing/2014/main" id="{54C6608D-54C6-4211-A7C3-008586B70CF3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8195"/>
          <a:stretch/>
        </p:blipFill>
        <p:spPr>
          <a:xfrm>
            <a:off x="6277399" y="3063024"/>
            <a:ext cx="5820343" cy="3794976"/>
          </a:xfrm>
          <a:prstGeom prst="rect">
            <a:avLst/>
          </a:prstGeom>
        </p:spPr>
      </p:pic>
      <p:pic>
        <p:nvPicPr>
          <p:cNvPr id="5" name="图片 4">
            <a:extLst>
              <a:ext uri="{FF2B5EF4-FFF2-40B4-BE49-F238E27FC236}">
                <a16:creationId xmlns:a16="http://schemas.microsoft.com/office/drawing/2014/main" id="{10BC7575-D061-4ED3-9758-CFDAC540FE8D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r="2114"/>
          <a:stretch/>
        </p:blipFill>
        <p:spPr>
          <a:xfrm>
            <a:off x="116958" y="3032398"/>
            <a:ext cx="6134986" cy="36684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6481554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框 2">
            <a:extLst>
              <a:ext uri="{FF2B5EF4-FFF2-40B4-BE49-F238E27FC236}">
                <a16:creationId xmlns:a16="http://schemas.microsoft.com/office/drawing/2014/main" id="{9B60BF93-EA8A-46AD-9628-FAD9C828F3E8}"/>
              </a:ext>
            </a:extLst>
          </p:cNvPr>
          <p:cNvSpPr txBox="1"/>
          <p:nvPr/>
        </p:nvSpPr>
        <p:spPr>
          <a:xfrm>
            <a:off x="669925" y="422414"/>
            <a:ext cx="5454503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4000" b="1" dirty="0"/>
              <a:t>临床表现</a:t>
            </a:r>
          </a:p>
        </p:txBody>
      </p:sp>
      <p:pic>
        <p:nvPicPr>
          <p:cNvPr id="2" name="图片 1">
            <a:extLst>
              <a:ext uri="{FF2B5EF4-FFF2-40B4-BE49-F238E27FC236}">
                <a16:creationId xmlns:a16="http://schemas.microsoft.com/office/drawing/2014/main" id="{AD599D2E-9C93-4C92-B58E-ACD465EAB7D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65072" y="1459908"/>
            <a:ext cx="7985191" cy="41540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4503798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框 2">
            <a:extLst>
              <a:ext uri="{FF2B5EF4-FFF2-40B4-BE49-F238E27FC236}">
                <a16:creationId xmlns:a16="http://schemas.microsoft.com/office/drawing/2014/main" id="{9B60BF93-EA8A-46AD-9628-FAD9C828F3E8}"/>
              </a:ext>
            </a:extLst>
          </p:cNvPr>
          <p:cNvSpPr txBox="1"/>
          <p:nvPr/>
        </p:nvSpPr>
        <p:spPr>
          <a:xfrm>
            <a:off x="669925" y="422414"/>
            <a:ext cx="5454503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4000" b="1" dirty="0"/>
              <a:t>临床表现</a:t>
            </a:r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A9EE6AB5-046A-4C91-B5A9-9768310E59B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9925" y="1883933"/>
            <a:ext cx="10657224" cy="31027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7062156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框 2">
            <a:extLst>
              <a:ext uri="{FF2B5EF4-FFF2-40B4-BE49-F238E27FC236}">
                <a16:creationId xmlns:a16="http://schemas.microsoft.com/office/drawing/2014/main" id="{9B60BF93-EA8A-46AD-9628-FAD9C828F3E8}"/>
              </a:ext>
            </a:extLst>
          </p:cNvPr>
          <p:cNvSpPr txBox="1"/>
          <p:nvPr/>
        </p:nvSpPr>
        <p:spPr>
          <a:xfrm>
            <a:off x="669925" y="422414"/>
            <a:ext cx="5454503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4000" b="1" dirty="0"/>
              <a:t>辅助检查</a:t>
            </a:r>
          </a:p>
        </p:txBody>
      </p:sp>
      <p:grpSp>
        <p:nvGrpSpPr>
          <p:cNvPr id="4" name="221081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C65301C6-65A7-427E-8DEF-2C509476DF77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950876" y="922374"/>
            <a:ext cx="10217150" cy="4797387"/>
            <a:chOff x="1301750" y="922374"/>
            <a:chExt cx="10217150" cy="4797387"/>
          </a:xfrm>
        </p:grpSpPr>
        <p:grpSp>
          <p:nvGrpSpPr>
            <p:cNvPr id="5" name="íṣļíḑê">
              <a:extLst>
                <a:ext uri="{FF2B5EF4-FFF2-40B4-BE49-F238E27FC236}">
                  <a16:creationId xmlns:a16="http://schemas.microsoft.com/office/drawing/2014/main" id="{8BC047DD-0644-43D8-A5C9-8D0CA7626279}"/>
                </a:ext>
              </a:extLst>
            </p:cNvPr>
            <p:cNvGrpSpPr/>
            <p:nvPr/>
          </p:nvGrpSpPr>
          <p:grpSpPr>
            <a:xfrm>
              <a:off x="1620093" y="2125090"/>
              <a:ext cx="3277664" cy="3026914"/>
              <a:chOff x="673100" y="2257188"/>
              <a:chExt cx="2890653" cy="2669511"/>
            </a:xfrm>
          </p:grpSpPr>
          <p:sp>
            <p:nvSpPr>
              <p:cNvPr id="28" name="íṥ1iḋe">
                <a:extLst>
                  <a:ext uri="{FF2B5EF4-FFF2-40B4-BE49-F238E27FC236}">
                    <a16:creationId xmlns:a16="http://schemas.microsoft.com/office/drawing/2014/main" id="{ACE3FDB1-980C-41CC-9E55-63E367769AFA}"/>
                  </a:ext>
                </a:extLst>
              </p:cNvPr>
              <p:cNvSpPr/>
              <p:nvPr/>
            </p:nvSpPr>
            <p:spPr bwMode="auto">
              <a:xfrm>
                <a:off x="945791" y="2309374"/>
                <a:ext cx="2617962" cy="2617325"/>
              </a:xfrm>
              <a:custGeom>
                <a:avLst/>
                <a:gdLst>
                  <a:gd name="T0" fmla="*/ 3082 w 6165"/>
                  <a:gd name="T1" fmla="*/ 0 h 6165"/>
                  <a:gd name="T2" fmla="*/ 0 w 6165"/>
                  <a:gd name="T3" fmla="*/ 3083 h 6165"/>
                  <a:gd name="T4" fmla="*/ 3082 w 6165"/>
                  <a:gd name="T5" fmla="*/ 6165 h 6165"/>
                  <a:gd name="T6" fmla="*/ 6165 w 6165"/>
                  <a:gd name="T7" fmla="*/ 3083 h 6165"/>
                  <a:gd name="T8" fmla="*/ 3082 w 6165"/>
                  <a:gd name="T9" fmla="*/ 0 h 6165"/>
                  <a:gd name="T10" fmla="*/ 3082 w 6165"/>
                  <a:gd name="T11" fmla="*/ 5725 h 6165"/>
                  <a:gd name="T12" fmla="*/ 439 w 6165"/>
                  <a:gd name="T13" fmla="*/ 3083 h 6165"/>
                  <a:gd name="T14" fmla="*/ 3082 w 6165"/>
                  <a:gd name="T15" fmla="*/ 440 h 6165"/>
                  <a:gd name="T16" fmla="*/ 5725 w 6165"/>
                  <a:gd name="T17" fmla="*/ 3083 h 6165"/>
                  <a:gd name="T18" fmla="*/ 3082 w 6165"/>
                  <a:gd name="T19" fmla="*/ 5725 h 6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165" h="6165">
                    <a:moveTo>
                      <a:pt x="3082" y="0"/>
                    </a:moveTo>
                    <a:cubicBezTo>
                      <a:pt x="1382" y="0"/>
                      <a:pt x="0" y="1383"/>
                      <a:pt x="0" y="3083"/>
                    </a:cubicBezTo>
                    <a:cubicBezTo>
                      <a:pt x="0" y="4782"/>
                      <a:pt x="1382" y="6165"/>
                      <a:pt x="3082" y="6165"/>
                    </a:cubicBezTo>
                    <a:cubicBezTo>
                      <a:pt x="4782" y="6165"/>
                      <a:pt x="6165" y="4782"/>
                      <a:pt x="6165" y="3083"/>
                    </a:cubicBezTo>
                    <a:cubicBezTo>
                      <a:pt x="6165" y="1383"/>
                      <a:pt x="4782" y="0"/>
                      <a:pt x="3082" y="0"/>
                    </a:cubicBezTo>
                    <a:moveTo>
                      <a:pt x="3082" y="5725"/>
                    </a:moveTo>
                    <a:cubicBezTo>
                      <a:pt x="1625" y="5725"/>
                      <a:pt x="439" y="4540"/>
                      <a:pt x="439" y="3083"/>
                    </a:cubicBezTo>
                    <a:cubicBezTo>
                      <a:pt x="439" y="1625"/>
                      <a:pt x="1625" y="440"/>
                      <a:pt x="3082" y="440"/>
                    </a:cubicBezTo>
                    <a:cubicBezTo>
                      <a:pt x="4539" y="440"/>
                      <a:pt x="5725" y="1625"/>
                      <a:pt x="5725" y="3083"/>
                    </a:cubicBezTo>
                    <a:cubicBezTo>
                      <a:pt x="5725" y="4540"/>
                      <a:pt x="4539" y="5725"/>
                      <a:pt x="3082" y="5725"/>
                    </a:cubicBezTo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en-US"/>
                </a:defPPr>
                <a:lvl1pPr marL="0" algn="l" defTabSz="1828800" rtl="0" eaLnBrk="1" latinLnBrk="0" hangingPunct="1">
                  <a:defRPr sz="3600" kern="1200">
                    <a:solidFill>
                      <a:schemeClr val="tx1"/>
                    </a:solidFill>
                  </a:defRPr>
                </a:lvl1pPr>
                <a:lvl2pPr marL="914400" algn="l" defTabSz="1828800" rtl="0" eaLnBrk="1" latinLnBrk="0" hangingPunct="1">
                  <a:defRPr sz="3600" kern="1200">
                    <a:solidFill>
                      <a:schemeClr val="tx1"/>
                    </a:solidFill>
                  </a:defRPr>
                </a:lvl2pPr>
                <a:lvl3pPr marL="1828800" algn="l" defTabSz="1828800" rtl="0" eaLnBrk="1" latinLnBrk="0" hangingPunct="1">
                  <a:defRPr sz="3600" kern="1200">
                    <a:solidFill>
                      <a:schemeClr val="tx1"/>
                    </a:solidFill>
                  </a:defRPr>
                </a:lvl3pPr>
                <a:lvl4pPr marL="2743200" algn="l" defTabSz="1828800" rtl="0" eaLnBrk="1" latinLnBrk="0" hangingPunct="1">
                  <a:defRPr sz="3600" kern="1200">
                    <a:solidFill>
                      <a:schemeClr val="tx1"/>
                    </a:solidFill>
                  </a:defRPr>
                </a:lvl4pPr>
                <a:lvl5pPr marL="3657600" algn="l" defTabSz="1828800" rtl="0" eaLnBrk="1" latinLnBrk="0" hangingPunct="1">
                  <a:defRPr sz="3600" kern="1200">
                    <a:solidFill>
                      <a:schemeClr val="tx1"/>
                    </a:solidFill>
                  </a:defRPr>
                </a:lvl5pPr>
                <a:lvl6pPr marL="4572000" algn="l" defTabSz="1828800" rtl="0" eaLnBrk="1" latinLnBrk="0" hangingPunct="1">
                  <a:defRPr sz="3600" kern="1200">
                    <a:solidFill>
                      <a:schemeClr val="tx1"/>
                    </a:solidFill>
                  </a:defRPr>
                </a:lvl6pPr>
                <a:lvl7pPr marL="5486400" algn="l" defTabSz="1828800" rtl="0" eaLnBrk="1" latinLnBrk="0" hangingPunct="1">
                  <a:defRPr sz="3600" kern="1200">
                    <a:solidFill>
                      <a:schemeClr val="tx1"/>
                    </a:solidFill>
                  </a:defRPr>
                </a:lvl7pPr>
                <a:lvl8pPr marL="6400800" algn="l" defTabSz="1828800" rtl="0" eaLnBrk="1" latinLnBrk="0" hangingPunct="1">
                  <a:defRPr sz="3600" kern="1200">
                    <a:solidFill>
                      <a:schemeClr val="tx1"/>
                    </a:solidFill>
                  </a:defRPr>
                </a:lvl8pPr>
                <a:lvl9pPr marL="7315200" algn="l" defTabSz="1828800" rtl="0" eaLnBrk="1" latinLnBrk="0" hangingPunct="1">
                  <a:defRPr sz="3600" kern="1200">
                    <a:solidFill>
                      <a:schemeClr val="tx1"/>
                    </a:solidFill>
                  </a:defRPr>
                </a:lvl9pPr>
              </a:lstStyle>
              <a:p>
                <a:endParaRPr lang="en-US"/>
              </a:p>
            </p:txBody>
          </p:sp>
          <p:sp>
            <p:nvSpPr>
              <p:cNvPr id="29" name="ïṡļíḓé">
                <a:extLst>
                  <a:ext uri="{FF2B5EF4-FFF2-40B4-BE49-F238E27FC236}">
                    <a16:creationId xmlns:a16="http://schemas.microsoft.com/office/drawing/2014/main" id="{C5056B6F-273D-4123-AC29-3F62C8571FD4}"/>
                  </a:ext>
                </a:extLst>
              </p:cNvPr>
              <p:cNvSpPr/>
              <p:nvPr/>
            </p:nvSpPr>
            <p:spPr bwMode="auto">
              <a:xfrm>
                <a:off x="1319149" y="2682731"/>
                <a:ext cx="1870610" cy="1871248"/>
              </a:xfrm>
              <a:custGeom>
                <a:avLst/>
                <a:gdLst>
                  <a:gd name="T0" fmla="*/ 2203 w 4406"/>
                  <a:gd name="T1" fmla="*/ 0 h 4407"/>
                  <a:gd name="T2" fmla="*/ 0 w 4406"/>
                  <a:gd name="T3" fmla="*/ 2204 h 4407"/>
                  <a:gd name="T4" fmla="*/ 2203 w 4406"/>
                  <a:gd name="T5" fmla="*/ 4407 h 4407"/>
                  <a:gd name="T6" fmla="*/ 4406 w 4406"/>
                  <a:gd name="T7" fmla="*/ 2204 h 4407"/>
                  <a:gd name="T8" fmla="*/ 2203 w 4406"/>
                  <a:gd name="T9" fmla="*/ 0 h 4407"/>
                  <a:gd name="T10" fmla="*/ 2203 w 4406"/>
                  <a:gd name="T11" fmla="*/ 3967 h 4407"/>
                  <a:gd name="T12" fmla="*/ 439 w 4406"/>
                  <a:gd name="T13" fmla="*/ 2204 h 4407"/>
                  <a:gd name="T14" fmla="*/ 2203 w 4406"/>
                  <a:gd name="T15" fmla="*/ 440 h 4407"/>
                  <a:gd name="T16" fmla="*/ 3967 w 4406"/>
                  <a:gd name="T17" fmla="*/ 2204 h 4407"/>
                  <a:gd name="T18" fmla="*/ 2203 w 4406"/>
                  <a:gd name="T19" fmla="*/ 3967 h 44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406" h="4407">
                    <a:moveTo>
                      <a:pt x="2203" y="0"/>
                    </a:moveTo>
                    <a:cubicBezTo>
                      <a:pt x="988" y="0"/>
                      <a:pt x="0" y="989"/>
                      <a:pt x="0" y="2204"/>
                    </a:cubicBezTo>
                    <a:cubicBezTo>
                      <a:pt x="0" y="3418"/>
                      <a:pt x="988" y="4407"/>
                      <a:pt x="2203" y="4407"/>
                    </a:cubicBezTo>
                    <a:cubicBezTo>
                      <a:pt x="3418" y="4407"/>
                      <a:pt x="4406" y="3418"/>
                      <a:pt x="4406" y="2204"/>
                    </a:cubicBezTo>
                    <a:cubicBezTo>
                      <a:pt x="4406" y="989"/>
                      <a:pt x="3418" y="0"/>
                      <a:pt x="2203" y="0"/>
                    </a:cubicBezTo>
                    <a:moveTo>
                      <a:pt x="2203" y="3967"/>
                    </a:moveTo>
                    <a:cubicBezTo>
                      <a:pt x="1231" y="3967"/>
                      <a:pt x="439" y="3176"/>
                      <a:pt x="439" y="2204"/>
                    </a:cubicBezTo>
                    <a:cubicBezTo>
                      <a:pt x="439" y="1231"/>
                      <a:pt x="1231" y="440"/>
                      <a:pt x="2203" y="440"/>
                    </a:cubicBezTo>
                    <a:cubicBezTo>
                      <a:pt x="3176" y="440"/>
                      <a:pt x="3967" y="1231"/>
                      <a:pt x="3967" y="2204"/>
                    </a:cubicBezTo>
                    <a:cubicBezTo>
                      <a:pt x="3967" y="3176"/>
                      <a:pt x="3176" y="3967"/>
                      <a:pt x="2203" y="3967"/>
                    </a:cubicBezTo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en-US"/>
                </a:defPPr>
                <a:lvl1pPr marL="0" algn="l" defTabSz="1828800" rtl="0" eaLnBrk="1" latinLnBrk="0" hangingPunct="1">
                  <a:defRPr sz="3600" kern="1200">
                    <a:solidFill>
                      <a:schemeClr val="tx1"/>
                    </a:solidFill>
                  </a:defRPr>
                </a:lvl1pPr>
                <a:lvl2pPr marL="914400" algn="l" defTabSz="1828800" rtl="0" eaLnBrk="1" latinLnBrk="0" hangingPunct="1">
                  <a:defRPr sz="3600" kern="1200">
                    <a:solidFill>
                      <a:schemeClr val="tx1"/>
                    </a:solidFill>
                  </a:defRPr>
                </a:lvl2pPr>
                <a:lvl3pPr marL="1828800" algn="l" defTabSz="1828800" rtl="0" eaLnBrk="1" latinLnBrk="0" hangingPunct="1">
                  <a:defRPr sz="3600" kern="1200">
                    <a:solidFill>
                      <a:schemeClr val="tx1"/>
                    </a:solidFill>
                  </a:defRPr>
                </a:lvl3pPr>
                <a:lvl4pPr marL="2743200" algn="l" defTabSz="1828800" rtl="0" eaLnBrk="1" latinLnBrk="0" hangingPunct="1">
                  <a:defRPr sz="3600" kern="1200">
                    <a:solidFill>
                      <a:schemeClr val="tx1"/>
                    </a:solidFill>
                  </a:defRPr>
                </a:lvl4pPr>
                <a:lvl5pPr marL="3657600" algn="l" defTabSz="1828800" rtl="0" eaLnBrk="1" latinLnBrk="0" hangingPunct="1">
                  <a:defRPr sz="3600" kern="1200">
                    <a:solidFill>
                      <a:schemeClr val="tx1"/>
                    </a:solidFill>
                  </a:defRPr>
                </a:lvl5pPr>
                <a:lvl6pPr marL="4572000" algn="l" defTabSz="1828800" rtl="0" eaLnBrk="1" latinLnBrk="0" hangingPunct="1">
                  <a:defRPr sz="3600" kern="1200">
                    <a:solidFill>
                      <a:schemeClr val="tx1"/>
                    </a:solidFill>
                  </a:defRPr>
                </a:lvl6pPr>
                <a:lvl7pPr marL="5486400" algn="l" defTabSz="1828800" rtl="0" eaLnBrk="1" latinLnBrk="0" hangingPunct="1">
                  <a:defRPr sz="3600" kern="1200">
                    <a:solidFill>
                      <a:schemeClr val="tx1"/>
                    </a:solidFill>
                  </a:defRPr>
                </a:lvl7pPr>
                <a:lvl8pPr marL="6400800" algn="l" defTabSz="1828800" rtl="0" eaLnBrk="1" latinLnBrk="0" hangingPunct="1">
                  <a:defRPr sz="3600" kern="1200">
                    <a:solidFill>
                      <a:schemeClr val="tx1"/>
                    </a:solidFill>
                  </a:defRPr>
                </a:lvl8pPr>
                <a:lvl9pPr marL="7315200" algn="l" defTabSz="1828800" rtl="0" eaLnBrk="1" latinLnBrk="0" hangingPunct="1">
                  <a:defRPr sz="3600" kern="1200">
                    <a:solidFill>
                      <a:schemeClr val="tx1"/>
                    </a:solidFill>
                  </a:defRPr>
                </a:lvl9pPr>
              </a:lstStyle>
              <a:p>
                <a:endParaRPr lang="en-US"/>
              </a:p>
            </p:txBody>
          </p:sp>
          <p:sp>
            <p:nvSpPr>
              <p:cNvPr id="30" name="îšlîḍé">
                <a:extLst>
                  <a:ext uri="{FF2B5EF4-FFF2-40B4-BE49-F238E27FC236}">
                    <a16:creationId xmlns:a16="http://schemas.microsoft.com/office/drawing/2014/main" id="{ED5DAE18-4186-45CB-B8DB-B8C7B79D1817}"/>
                  </a:ext>
                </a:extLst>
              </p:cNvPr>
              <p:cNvSpPr/>
              <p:nvPr/>
            </p:nvSpPr>
            <p:spPr bwMode="auto">
              <a:xfrm>
                <a:off x="1692506" y="3056089"/>
                <a:ext cx="1124532" cy="1124533"/>
              </a:xfrm>
              <a:custGeom>
                <a:avLst/>
                <a:gdLst>
                  <a:gd name="T0" fmla="*/ 1324 w 2648"/>
                  <a:gd name="T1" fmla="*/ 0 h 2649"/>
                  <a:gd name="T2" fmla="*/ 0 w 2648"/>
                  <a:gd name="T3" fmla="*/ 1325 h 2649"/>
                  <a:gd name="T4" fmla="*/ 1324 w 2648"/>
                  <a:gd name="T5" fmla="*/ 2649 h 2649"/>
                  <a:gd name="T6" fmla="*/ 2648 w 2648"/>
                  <a:gd name="T7" fmla="*/ 1325 h 2649"/>
                  <a:gd name="T8" fmla="*/ 1324 w 2648"/>
                  <a:gd name="T9" fmla="*/ 0 h 2649"/>
                  <a:gd name="T10" fmla="*/ 1324 w 2648"/>
                  <a:gd name="T11" fmla="*/ 2209 h 2649"/>
                  <a:gd name="T12" fmla="*/ 439 w 2648"/>
                  <a:gd name="T13" fmla="*/ 1325 h 2649"/>
                  <a:gd name="T14" fmla="*/ 1324 w 2648"/>
                  <a:gd name="T15" fmla="*/ 440 h 2649"/>
                  <a:gd name="T16" fmla="*/ 2209 w 2648"/>
                  <a:gd name="T17" fmla="*/ 1325 h 2649"/>
                  <a:gd name="T18" fmla="*/ 1324 w 2648"/>
                  <a:gd name="T19" fmla="*/ 2209 h 26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648" h="2649">
                    <a:moveTo>
                      <a:pt x="1324" y="0"/>
                    </a:moveTo>
                    <a:cubicBezTo>
                      <a:pt x="594" y="0"/>
                      <a:pt x="0" y="594"/>
                      <a:pt x="0" y="1325"/>
                    </a:cubicBezTo>
                    <a:cubicBezTo>
                      <a:pt x="0" y="2055"/>
                      <a:pt x="594" y="2649"/>
                      <a:pt x="1324" y="2649"/>
                    </a:cubicBezTo>
                    <a:cubicBezTo>
                      <a:pt x="2054" y="2649"/>
                      <a:pt x="2648" y="2055"/>
                      <a:pt x="2648" y="1325"/>
                    </a:cubicBezTo>
                    <a:cubicBezTo>
                      <a:pt x="2648" y="594"/>
                      <a:pt x="2054" y="0"/>
                      <a:pt x="1324" y="0"/>
                    </a:cubicBezTo>
                    <a:moveTo>
                      <a:pt x="1324" y="2209"/>
                    </a:moveTo>
                    <a:cubicBezTo>
                      <a:pt x="836" y="2209"/>
                      <a:pt x="439" y="1812"/>
                      <a:pt x="439" y="1325"/>
                    </a:cubicBezTo>
                    <a:cubicBezTo>
                      <a:pt x="439" y="837"/>
                      <a:pt x="836" y="440"/>
                      <a:pt x="1324" y="440"/>
                    </a:cubicBezTo>
                    <a:cubicBezTo>
                      <a:pt x="1812" y="440"/>
                      <a:pt x="2209" y="837"/>
                      <a:pt x="2209" y="1325"/>
                    </a:cubicBezTo>
                    <a:cubicBezTo>
                      <a:pt x="2209" y="1812"/>
                      <a:pt x="1812" y="2209"/>
                      <a:pt x="1324" y="2209"/>
                    </a:cubicBezTo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en-US"/>
                </a:defPPr>
                <a:lvl1pPr marL="0" algn="l" defTabSz="1828800" rtl="0" eaLnBrk="1" latinLnBrk="0" hangingPunct="1">
                  <a:defRPr sz="3600" kern="1200">
                    <a:solidFill>
                      <a:schemeClr val="tx1"/>
                    </a:solidFill>
                  </a:defRPr>
                </a:lvl1pPr>
                <a:lvl2pPr marL="914400" algn="l" defTabSz="1828800" rtl="0" eaLnBrk="1" latinLnBrk="0" hangingPunct="1">
                  <a:defRPr sz="3600" kern="1200">
                    <a:solidFill>
                      <a:schemeClr val="tx1"/>
                    </a:solidFill>
                  </a:defRPr>
                </a:lvl2pPr>
                <a:lvl3pPr marL="1828800" algn="l" defTabSz="1828800" rtl="0" eaLnBrk="1" latinLnBrk="0" hangingPunct="1">
                  <a:defRPr sz="3600" kern="1200">
                    <a:solidFill>
                      <a:schemeClr val="tx1"/>
                    </a:solidFill>
                  </a:defRPr>
                </a:lvl3pPr>
                <a:lvl4pPr marL="2743200" algn="l" defTabSz="1828800" rtl="0" eaLnBrk="1" latinLnBrk="0" hangingPunct="1">
                  <a:defRPr sz="3600" kern="1200">
                    <a:solidFill>
                      <a:schemeClr val="tx1"/>
                    </a:solidFill>
                  </a:defRPr>
                </a:lvl4pPr>
                <a:lvl5pPr marL="3657600" algn="l" defTabSz="1828800" rtl="0" eaLnBrk="1" latinLnBrk="0" hangingPunct="1">
                  <a:defRPr sz="3600" kern="1200">
                    <a:solidFill>
                      <a:schemeClr val="tx1"/>
                    </a:solidFill>
                  </a:defRPr>
                </a:lvl5pPr>
                <a:lvl6pPr marL="4572000" algn="l" defTabSz="1828800" rtl="0" eaLnBrk="1" latinLnBrk="0" hangingPunct="1">
                  <a:defRPr sz="3600" kern="1200">
                    <a:solidFill>
                      <a:schemeClr val="tx1"/>
                    </a:solidFill>
                  </a:defRPr>
                </a:lvl6pPr>
                <a:lvl7pPr marL="5486400" algn="l" defTabSz="1828800" rtl="0" eaLnBrk="1" latinLnBrk="0" hangingPunct="1">
                  <a:defRPr sz="3600" kern="1200">
                    <a:solidFill>
                      <a:schemeClr val="tx1"/>
                    </a:solidFill>
                  </a:defRPr>
                </a:lvl7pPr>
                <a:lvl8pPr marL="6400800" algn="l" defTabSz="1828800" rtl="0" eaLnBrk="1" latinLnBrk="0" hangingPunct="1">
                  <a:defRPr sz="3600" kern="1200">
                    <a:solidFill>
                      <a:schemeClr val="tx1"/>
                    </a:solidFill>
                  </a:defRPr>
                </a:lvl8pPr>
                <a:lvl9pPr marL="7315200" algn="l" defTabSz="1828800" rtl="0" eaLnBrk="1" latinLnBrk="0" hangingPunct="1">
                  <a:defRPr sz="3600" kern="1200">
                    <a:solidFill>
                      <a:schemeClr val="tx1"/>
                    </a:solidFill>
                  </a:defRPr>
                </a:lvl9pPr>
              </a:lstStyle>
              <a:p>
                <a:endParaRPr lang="en-US"/>
              </a:p>
            </p:txBody>
          </p:sp>
          <p:sp>
            <p:nvSpPr>
              <p:cNvPr id="31" name="îśḻîďé">
                <a:extLst>
                  <a:ext uri="{FF2B5EF4-FFF2-40B4-BE49-F238E27FC236}">
                    <a16:creationId xmlns:a16="http://schemas.microsoft.com/office/drawing/2014/main" id="{EFEBBCED-56B9-4242-9870-AD25D2C03D6B}"/>
                  </a:ext>
                </a:extLst>
              </p:cNvPr>
              <p:cNvSpPr/>
              <p:nvPr/>
            </p:nvSpPr>
            <p:spPr bwMode="auto">
              <a:xfrm>
                <a:off x="2065863" y="3428809"/>
                <a:ext cx="377817" cy="378455"/>
              </a:xfrm>
              <a:prstGeom prst="ellipse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 fontScale="47500" lnSpcReduction="20000"/>
              </a:bodyPr>
              <a:lstStyle>
                <a:defPPr>
                  <a:defRPr lang="en-US"/>
                </a:defPPr>
                <a:lvl1pPr marL="0" algn="l" defTabSz="1828800" rtl="0" eaLnBrk="1" latinLnBrk="0" hangingPunct="1">
                  <a:defRPr sz="3600" kern="1200">
                    <a:solidFill>
                      <a:schemeClr val="tx1"/>
                    </a:solidFill>
                  </a:defRPr>
                </a:lvl1pPr>
                <a:lvl2pPr marL="914400" algn="l" defTabSz="1828800" rtl="0" eaLnBrk="1" latinLnBrk="0" hangingPunct="1">
                  <a:defRPr sz="3600" kern="1200">
                    <a:solidFill>
                      <a:schemeClr val="tx1"/>
                    </a:solidFill>
                  </a:defRPr>
                </a:lvl2pPr>
                <a:lvl3pPr marL="1828800" algn="l" defTabSz="1828800" rtl="0" eaLnBrk="1" latinLnBrk="0" hangingPunct="1">
                  <a:defRPr sz="3600" kern="1200">
                    <a:solidFill>
                      <a:schemeClr val="tx1"/>
                    </a:solidFill>
                  </a:defRPr>
                </a:lvl3pPr>
                <a:lvl4pPr marL="2743200" algn="l" defTabSz="1828800" rtl="0" eaLnBrk="1" latinLnBrk="0" hangingPunct="1">
                  <a:defRPr sz="3600" kern="1200">
                    <a:solidFill>
                      <a:schemeClr val="tx1"/>
                    </a:solidFill>
                  </a:defRPr>
                </a:lvl4pPr>
                <a:lvl5pPr marL="3657600" algn="l" defTabSz="1828800" rtl="0" eaLnBrk="1" latinLnBrk="0" hangingPunct="1">
                  <a:defRPr sz="3600" kern="1200">
                    <a:solidFill>
                      <a:schemeClr val="tx1"/>
                    </a:solidFill>
                  </a:defRPr>
                </a:lvl5pPr>
                <a:lvl6pPr marL="4572000" algn="l" defTabSz="1828800" rtl="0" eaLnBrk="1" latinLnBrk="0" hangingPunct="1">
                  <a:defRPr sz="3600" kern="1200">
                    <a:solidFill>
                      <a:schemeClr val="tx1"/>
                    </a:solidFill>
                  </a:defRPr>
                </a:lvl6pPr>
                <a:lvl7pPr marL="5486400" algn="l" defTabSz="1828800" rtl="0" eaLnBrk="1" latinLnBrk="0" hangingPunct="1">
                  <a:defRPr sz="3600" kern="1200">
                    <a:solidFill>
                      <a:schemeClr val="tx1"/>
                    </a:solidFill>
                  </a:defRPr>
                </a:lvl7pPr>
                <a:lvl8pPr marL="6400800" algn="l" defTabSz="1828800" rtl="0" eaLnBrk="1" latinLnBrk="0" hangingPunct="1">
                  <a:defRPr sz="3600" kern="1200">
                    <a:solidFill>
                      <a:schemeClr val="tx1"/>
                    </a:solidFill>
                  </a:defRPr>
                </a:lvl8pPr>
                <a:lvl9pPr marL="7315200" algn="l" defTabSz="1828800" rtl="0" eaLnBrk="1" latinLnBrk="0" hangingPunct="1">
                  <a:defRPr sz="3600" kern="1200">
                    <a:solidFill>
                      <a:schemeClr val="tx1"/>
                    </a:solidFill>
                  </a:defRPr>
                </a:lvl9pPr>
              </a:lstStyle>
              <a:p>
                <a:endParaRPr lang="en-US"/>
              </a:p>
            </p:txBody>
          </p:sp>
          <p:grpSp>
            <p:nvGrpSpPr>
              <p:cNvPr id="32" name="íŝḻíḓé">
                <a:extLst>
                  <a:ext uri="{FF2B5EF4-FFF2-40B4-BE49-F238E27FC236}">
                    <a16:creationId xmlns:a16="http://schemas.microsoft.com/office/drawing/2014/main" id="{B4F8A596-74B3-4802-8095-32A1F0A74CC5}"/>
                  </a:ext>
                </a:extLst>
              </p:cNvPr>
              <p:cNvGrpSpPr/>
              <p:nvPr/>
            </p:nvGrpSpPr>
            <p:grpSpPr>
              <a:xfrm>
                <a:off x="673100" y="2257188"/>
                <a:ext cx="1610025" cy="1388882"/>
                <a:chOff x="673100" y="2257188"/>
                <a:chExt cx="1610025" cy="1388882"/>
              </a:xfrm>
            </p:grpSpPr>
            <p:sp>
              <p:nvSpPr>
                <p:cNvPr id="33" name="isḷíḑê">
                  <a:extLst>
                    <a:ext uri="{FF2B5EF4-FFF2-40B4-BE49-F238E27FC236}">
                      <a16:creationId xmlns:a16="http://schemas.microsoft.com/office/drawing/2014/main" id="{074AFF72-6CAF-4DAA-88C2-BFF7EFF6B5A1}"/>
                    </a:ext>
                  </a:extLst>
                </p:cNvPr>
                <p:cNvSpPr/>
                <p:nvPr/>
              </p:nvSpPr>
              <p:spPr bwMode="auto">
                <a:xfrm>
                  <a:off x="948977" y="2534917"/>
                  <a:ext cx="1334148" cy="1111153"/>
                </a:xfrm>
                <a:custGeom>
                  <a:avLst/>
                  <a:gdLst>
                    <a:gd name="T0" fmla="*/ 3129 w 3143"/>
                    <a:gd name="T1" fmla="*/ 2480 h 2617"/>
                    <a:gd name="T2" fmla="*/ 155 w 3143"/>
                    <a:gd name="T3" fmla="*/ 31 h 2617"/>
                    <a:gd name="T4" fmla="*/ 31 w 3143"/>
                    <a:gd name="T5" fmla="*/ 43 h 2617"/>
                    <a:gd name="T6" fmla="*/ 44 w 3143"/>
                    <a:gd name="T7" fmla="*/ 167 h 2617"/>
                    <a:gd name="T8" fmla="*/ 3017 w 3143"/>
                    <a:gd name="T9" fmla="*/ 2617 h 2617"/>
                    <a:gd name="T10" fmla="*/ 3105 w 3143"/>
                    <a:gd name="T11" fmla="*/ 2568 h 2617"/>
                    <a:gd name="T12" fmla="*/ 3129 w 3143"/>
                    <a:gd name="T13" fmla="*/ 2480 h 26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3143" h="2617">
                      <a:moveTo>
                        <a:pt x="3129" y="2480"/>
                      </a:moveTo>
                      <a:cubicBezTo>
                        <a:pt x="155" y="31"/>
                        <a:pt x="155" y="31"/>
                        <a:pt x="155" y="31"/>
                      </a:cubicBezTo>
                      <a:cubicBezTo>
                        <a:pt x="117" y="0"/>
                        <a:pt x="62" y="5"/>
                        <a:pt x="31" y="43"/>
                      </a:cubicBezTo>
                      <a:cubicBezTo>
                        <a:pt x="0" y="81"/>
                        <a:pt x="6" y="136"/>
                        <a:pt x="44" y="167"/>
                      </a:cubicBezTo>
                      <a:cubicBezTo>
                        <a:pt x="3017" y="2617"/>
                        <a:pt x="3017" y="2617"/>
                        <a:pt x="3017" y="2617"/>
                      </a:cubicBezTo>
                      <a:cubicBezTo>
                        <a:pt x="3017" y="2617"/>
                        <a:pt x="3067" y="2614"/>
                        <a:pt x="3105" y="2568"/>
                      </a:cubicBezTo>
                      <a:cubicBezTo>
                        <a:pt x="3143" y="2521"/>
                        <a:pt x="3129" y="2480"/>
                        <a:pt x="3129" y="2480"/>
                      </a:cubicBezTo>
                      <a:close/>
                    </a:path>
                  </a:pathLst>
                </a:custGeom>
                <a:solidFill>
                  <a:schemeClr val="bg1">
                    <a:lumMod val="75000"/>
                  </a:schemeClr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rmAutofit/>
                </a:bodyPr>
                <a:lstStyle>
                  <a:defPPr>
                    <a:defRPr lang="en-US"/>
                  </a:defPPr>
                  <a:lvl1pPr marL="0" algn="l" defTabSz="1828800" rtl="0" eaLnBrk="1" latinLnBrk="0" hangingPunct="1">
                    <a:defRPr sz="3600" kern="1200">
                      <a:solidFill>
                        <a:schemeClr val="tx1"/>
                      </a:solidFill>
                    </a:defRPr>
                  </a:lvl1pPr>
                  <a:lvl2pPr marL="914400" algn="l" defTabSz="1828800" rtl="0" eaLnBrk="1" latinLnBrk="0" hangingPunct="1">
                    <a:defRPr sz="3600" kern="1200">
                      <a:solidFill>
                        <a:schemeClr val="tx1"/>
                      </a:solidFill>
                    </a:defRPr>
                  </a:lvl2pPr>
                  <a:lvl3pPr marL="1828800" algn="l" defTabSz="1828800" rtl="0" eaLnBrk="1" latinLnBrk="0" hangingPunct="1">
                    <a:defRPr sz="3600" kern="1200">
                      <a:solidFill>
                        <a:schemeClr val="tx1"/>
                      </a:solidFill>
                    </a:defRPr>
                  </a:lvl3pPr>
                  <a:lvl4pPr marL="2743200" algn="l" defTabSz="1828800" rtl="0" eaLnBrk="1" latinLnBrk="0" hangingPunct="1">
                    <a:defRPr sz="3600" kern="1200">
                      <a:solidFill>
                        <a:schemeClr val="tx1"/>
                      </a:solidFill>
                    </a:defRPr>
                  </a:lvl4pPr>
                  <a:lvl5pPr marL="3657600" algn="l" defTabSz="1828800" rtl="0" eaLnBrk="1" latinLnBrk="0" hangingPunct="1">
                    <a:defRPr sz="3600" kern="1200">
                      <a:solidFill>
                        <a:schemeClr val="tx1"/>
                      </a:solidFill>
                    </a:defRPr>
                  </a:lvl5pPr>
                  <a:lvl6pPr marL="4572000" algn="l" defTabSz="1828800" rtl="0" eaLnBrk="1" latinLnBrk="0" hangingPunct="1">
                    <a:defRPr sz="3600" kern="1200">
                      <a:solidFill>
                        <a:schemeClr val="tx1"/>
                      </a:solidFill>
                    </a:defRPr>
                  </a:lvl6pPr>
                  <a:lvl7pPr marL="5486400" algn="l" defTabSz="1828800" rtl="0" eaLnBrk="1" latinLnBrk="0" hangingPunct="1">
                    <a:defRPr sz="3600" kern="1200">
                      <a:solidFill>
                        <a:schemeClr val="tx1"/>
                      </a:solidFill>
                    </a:defRPr>
                  </a:lvl7pPr>
                  <a:lvl8pPr marL="6400800" algn="l" defTabSz="1828800" rtl="0" eaLnBrk="1" latinLnBrk="0" hangingPunct="1">
                    <a:defRPr sz="3600" kern="1200">
                      <a:solidFill>
                        <a:schemeClr val="tx1"/>
                      </a:solidFill>
                    </a:defRPr>
                  </a:lvl8pPr>
                  <a:lvl9pPr marL="7315200" algn="l" defTabSz="1828800" rtl="0" eaLnBrk="1" latinLnBrk="0" hangingPunct="1">
                    <a:defRPr sz="3600" kern="1200">
                      <a:solidFill>
                        <a:schemeClr val="tx1"/>
                      </a:solidFill>
                    </a:defRPr>
                  </a:lvl9pPr>
                </a:lstStyle>
                <a:p>
                  <a:endParaRPr lang="en-US"/>
                </a:p>
              </p:txBody>
            </p:sp>
            <p:grpSp>
              <p:nvGrpSpPr>
                <p:cNvPr id="34" name="iṥliḋe">
                  <a:extLst>
                    <a:ext uri="{FF2B5EF4-FFF2-40B4-BE49-F238E27FC236}">
                      <a16:creationId xmlns:a16="http://schemas.microsoft.com/office/drawing/2014/main" id="{4491423D-6C7A-4CAB-8501-44FD4A2CDD15}"/>
                    </a:ext>
                  </a:extLst>
                </p:cNvPr>
                <p:cNvGrpSpPr/>
                <p:nvPr/>
              </p:nvGrpSpPr>
              <p:grpSpPr>
                <a:xfrm>
                  <a:off x="673100" y="2257188"/>
                  <a:ext cx="677586" cy="652770"/>
                  <a:chOff x="673100" y="2257188"/>
                  <a:chExt cx="677586" cy="652770"/>
                </a:xfrm>
              </p:grpSpPr>
              <p:sp>
                <p:nvSpPr>
                  <p:cNvPr id="35" name="i$ļíḑé">
                    <a:extLst>
                      <a:ext uri="{FF2B5EF4-FFF2-40B4-BE49-F238E27FC236}">
                        <a16:creationId xmlns:a16="http://schemas.microsoft.com/office/drawing/2014/main" id="{18A32A72-3BC8-4E2B-B3AB-6053AC5ADC09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974143" y="2257188"/>
                    <a:ext cx="376543" cy="543472"/>
                  </a:xfrm>
                  <a:custGeom>
                    <a:avLst/>
                    <a:gdLst>
                      <a:gd name="T0" fmla="*/ 0 w 591"/>
                      <a:gd name="T1" fmla="*/ 0 h 853"/>
                      <a:gd name="T2" fmla="*/ 72 w 591"/>
                      <a:gd name="T3" fmla="*/ 468 h 853"/>
                      <a:gd name="T4" fmla="*/ 544 w 591"/>
                      <a:gd name="T5" fmla="*/ 853 h 853"/>
                      <a:gd name="T6" fmla="*/ 591 w 591"/>
                      <a:gd name="T7" fmla="*/ 623 h 853"/>
                      <a:gd name="T8" fmla="*/ 0 w 591"/>
                      <a:gd name="T9" fmla="*/ 0 h 85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591" h="853">
                        <a:moveTo>
                          <a:pt x="0" y="0"/>
                        </a:moveTo>
                        <a:lnTo>
                          <a:pt x="72" y="468"/>
                        </a:lnTo>
                        <a:lnTo>
                          <a:pt x="544" y="853"/>
                        </a:lnTo>
                        <a:lnTo>
                          <a:pt x="591" y="623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chemeClr val="accent1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  <a:normAutofit lnSpcReduction="10000"/>
                  </a:bodyPr>
                  <a:lstStyle>
                    <a:defPPr>
                      <a:defRPr lang="en-US"/>
                    </a:defPPr>
                    <a:lvl1pPr marL="0" algn="l" defTabSz="1828800" rtl="0" eaLnBrk="1" latinLnBrk="0" hangingPunct="1">
                      <a:defRPr sz="3600" kern="1200">
                        <a:solidFill>
                          <a:schemeClr val="tx1"/>
                        </a:solidFill>
                      </a:defRPr>
                    </a:lvl1pPr>
                    <a:lvl2pPr marL="914400" algn="l" defTabSz="1828800" rtl="0" eaLnBrk="1" latinLnBrk="0" hangingPunct="1">
                      <a:defRPr sz="3600" kern="1200">
                        <a:solidFill>
                          <a:schemeClr val="tx1"/>
                        </a:solidFill>
                      </a:defRPr>
                    </a:lvl2pPr>
                    <a:lvl3pPr marL="1828800" algn="l" defTabSz="1828800" rtl="0" eaLnBrk="1" latinLnBrk="0" hangingPunct="1">
                      <a:defRPr sz="3600" kern="1200">
                        <a:solidFill>
                          <a:schemeClr val="tx1"/>
                        </a:solidFill>
                      </a:defRPr>
                    </a:lvl3pPr>
                    <a:lvl4pPr marL="2743200" algn="l" defTabSz="1828800" rtl="0" eaLnBrk="1" latinLnBrk="0" hangingPunct="1">
                      <a:defRPr sz="3600" kern="1200">
                        <a:solidFill>
                          <a:schemeClr val="tx1"/>
                        </a:solidFill>
                      </a:defRPr>
                    </a:lvl4pPr>
                    <a:lvl5pPr marL="3657600" algn="l" defTabSz="1828800" rtl="0" eaLnBrk="1" latinLnBrk="0" hangingPunct="1">
                      <a:defRPr sz="3600" kern="1200">
                        <a:solidFill>
                          <a:schemeClr val="tx1"/>
                        </a:solidFill>
                      </a:defRPr>
                    </a:lvl5pPr>
                    <a:lvl6pPr marL="4572000" algn="l" defTabSz="1828800" rtl="0" eaLnBrk="1" latinLnBrk="0" hangingPunct="1">
                      <a:defRPr sz="3600" kern="1200">
                        <a:solidFill>
                          <a:schemeClr val="tx1"/>
                        </a:solidFill>
                      </a:defRPr>
                    </a:lvl6pPr>
                    <a:lvl7pPr marL="5486400" algn="l" defTabSz="1828800" rtl="0" eaLnBrk="1" latinLnBrk="0" hangingPunct="1">
                      <a:defRPr sz="3600" kern="1200">
                        <a:solidFill>
                          <a:schemeClr val="tx1"/>
                        </a:solidFill>
                      </a:defRPr>
                    </a:lvl7pPr>
                    <a:lvl8pPr marL="6400800" algn="l" defTabSz="1828800" rtl="0" eaLnBrk="1" latinLnBrk="0" hangingPunct="1">
                      <a:defRPr sz="3600" kern="1200">
                        <a:solidFill>
                          <a:schemeClr val="tx1"/>
                        </a:solidFill>
                      </a:defRPr>
                    </a:lvl8pPr>
                    <a:lvl9pPr marL="7315200" algn="l" defTabSz="1828800" rtl="0" eaLnBrk="1" latinLnBrk="0" hangingPunct="1">
                      <a:defRPr sz="3600" kern="1200">
                        <a:solidFill>
                          <a:schemeClr val="tx1"/>
                        </a:solidFill>
                      </a:defRPr>
                    </a:lvl9pPr>
                  </a:lstStyle>
                  <a:p>
                    <a:endParaRPr lang="en-US"/>
                  </a:p>
                </p:txBody>
              </p:sp>
              <p:sp>
                <p:nvSpPr>
                  <p:cNvPr id="36" name="išľíḋè">
                    <a:extLst>
                      <a:ext uri="{FF2B5EF4-FFF2-40B4-BE49-F238E27FC236}">
                        <a16:creationId xmlns:a16="http://schemas.microsoft.com/office/drawing/2014/main" id="{D83449C0-E588-4358-9A42-018D70C0915C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673100" y="2606047"/>
                    <a:ext cx="602086" cy="303911"/>
                  </a:xfrm>
                  <a:custGeom>
                    <a:avLst/>
                    <a:gdLst>
                      <a:gd name="T0" fmla="*/ 473 w 945"/>
                      <a:gd name="T1" fmla="*/ 0 h 477"/>
                      <a:gd name="T2" fmla="*/ 0 w 945"/>
                      <a:gd name="T3" fmla="*/ 23 h 477"/>
                      <a:gd name="T4" fmla="*/ 729 w 945"/>
                      <a:gd name="T5" fmla="*/ 477 h 477"/>
                      <a:gd name="T6" fmla="*/ 945 w 945"/>
                      <a:gd name="T7" fmla="*/ 386 h 477"/>
                      <a:gd name="T8" fmla="*/ 473 w 945"/>
                      <a:gd name="T9" fmla="*/ 0 h 47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945" h="477">
                        <a:moveTo>
                          <a:pt x="473" y="0"/>
                        </a:moveTo>
                        <a:lnTo>
                          <a:pt x="0" y="23"/>
                        </a:lnTo>
                        <a:lnTo>
                          <a:pt x="729" y="477"/>
                        </a:lnTo>
                        <a:lnTo>
                          <a:pt x="945" y="386"/>
                        </a:lnTo>
                        <a:lnTo>
                          <a:pt x="473" y="0"/>
                        </a:lnTo>
                        <a:close/>
                      </a:path>
                    </a:pathLst>
                  </a:custGeom>
                  <a:solidFill>
                    <a:schemeClr val="accent1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  <a:normAutofit fontScale="55000" lnSpcReduction="20000"/>
                  </a:bodyPr>
                  <a:lstStyle>
                    <a:defPPr>
                      <a:defRPr lang="en-US"/>
                    </a:defPPr>
                    <a:lvl1pPr marL="0" algn="l" defTabSz="1828800" rtl="0" eaLnBrk="1" latinLnBrk="0" hangingPunct="1">
                      <a:defRPr sz="3600" kern="1200">
                        <a:solidFill>
                          <a:schemeClr val="tx1"/>
                        </a:solidFill>
                      </a:defRPr>
                    </a:lvl1pPr>
                    <a:lvl2pPr marL="914400" algn="l" defTabSz="1828800" rtl="0" eaLnBrk="1" latinLnBrk="0" hangingPunct="1">
                      <a:defRPr sz="3600" kern="1200">
                        <a:solidFill>
                          <a:schemeClr val="tx1"/>
                        </a:solidFill>
                      </a:defRPr>
                    </a:lvl2pPr>
                    <a:lvl3pPr marL="1828800" algn="l" defTabSz="1828800" rtl="0" eaLnBrk="1" latinLnBrk="0" hangingPunct="1">
                      <a:defRPr sz="3600" kern="1200">
                        <a:solidFill>
                          <a:schemeClr val="tx1"/>
                        </a:solidFill>
                      </a:defRPr>
                    </a:lvl3pPr>
                    <a:lvl4pPr marL="2743200" algn="l" defTabSz="1828800" rtl="0" eaLnBrk="1" latinLnBrk="0" hangingPunct="1">
                      <a:defRPr sz="3600" kern="1200">
                        <a:solidFill>
                          <a:schemeClr val="tx1"/>
                        </a:solidFill>
                      </a:defRPr>
                    </a:lvl4pPr>
                    <a:lvl5pPr marL="3657600" algn="l" defTabSz="1828800" rtl="0" eaLnBrk="1" latinLnBrk="0" hangingPunct="1">
                      <a:defRPr sz="3600" kern="1200">
                        <a:solidFill>
                          <a:schemeClr val="tx1"/>
                        </a:solidFill>
                      </a:defRPr>
                    </a:lvl5pPr>
                    <a:lvl6pPr marL="4572000" algn="l" defTabSz="1828800" rtl="0" eaLnBrk="1" latinLnBrk="0" hangingPunct="1">
                      <a:defRPr sz="3600" kern="1200">
                        <a:solidFill>
                          <a:schemeClr val="tx1"/>
                        </a:solidFill>
                      </a:defRPr>
                    </a:lvl6pPr>
                    <a:lvl7pPr marL="5486400" algn="l" defTabSz="1828800" rtl="0" eaLnBrk="1" latinLnBrk="0" hangingPunct="1">
                      <a:defRPr sz="3600" kern="1200">
                        <a:solidFill>
                          <a:schemeClr val="tx1"/>
                        </a:solidFill>
                      </a:defRPr>
                    </a:lvl7pPr>
                    <a:lvl8pPr marL="6400800" algn="l" defTabSz="1828800" rtl="0" eaLnBrk="1" latinLnBrk="0" hangingPunct="1">
                      <a:defRPr sz="3600" kern="1200">
                        <a:solidFill>
                          <a:schemeClr val="tx1"/>
                        </a:solidFill>
                      </a:defRPr>
                    </a:lvl8pPr>
                    <a:lvl9pPr marL="7315200" algn="l" defTabSz="1828800" rtl="0" eaLnBrk="1" latinLnBrk="0" hangingPunct="1">
                      <a:defRPr sz="3600" kern="1200">
                        <a:solidFill>
                          <a:schemeClr val="tx1"/>
                        </a:solidFill>
                      </a:defRPr>
                    </a:lvl9pPr>
                  </a:lstStyle>
                  <a:p>
                    <a:endParaRPr lang="en-US"/>
                  </a:p>
                </p:txBody>
              </p:sp>
            </p:grpSp>
          </p:grpSp>
        </p:grpSp>
        <p:sp>
          <p:nvSpPr>
            <p:cNvPr id="6" name="ïṥḷídê">
              <a:extLst>
                <a:ext uri="{FF2B5EF4-FFF2-40B4-BE49-F238E27FC236}">
                  <a16:creationId xmlns:a16="http://schemas.microsoft.com/office/drawing/2014/main" id="{1346126C-34A9-4EC8-9C9E-3B6986DEED55}"/>
                </a:ext>
              </a:extLst>
            </p:cNvPr>
            <p:cNvSpPr/>
            <p:nvPr/>
          </p:nvSpPr>
          <p:spPr>
            <a:xfrm>
              <a:off x="1301750" y="1557336"/>
              <a:ext cx="4174874" cy="4162425"/>
            </a:xfrm>
            <a:prstGeom prst="arc">
              <a:avLst>
                <a:gd name="adj1" fmla="val 16200000"/>
                <a:gd name="adj2" fmla="val 5412202"/>
              </a:avLst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endParaRPr lang="zh-CN" altLang="en-US"/>
            </a:p>
          </p:txBody>
        </p:sp>
        <p:grpSp>
          <p:nvGrpSpPr>
            <p:cNvPr id="7" name="iṡľíḋè">
              <a:extLst>
                <a:ext uri="{FF2B5EF4-FFF2-40B4-BE49-F238E27FC236}">
                  <a16:creationId xmlns:a16="http://schemas.microsoft.com/office/drawing/2014/main" id="{67C29297-3E51-4B18-892F-4EBA5A983A14}"/>
                </a:ext>
              </a:extLst>
            </p:cNvPr>
            <p:cNvGrpSpPr/>
            <p:nvPr/>
          </p:nvGrpSpPr>
          <p:grpSpPr>
            <a:xfrm>
              <a:off x="4378847" y="1692360"/>
              <a:ext cx="677708" cy="677708"/>
              <a:chOff x="4378847" y="1692360"/>
              <a:chExt cx="677708" cy="677708"/>
            </a:xfrm>
          </p:grpSpPr>
          <p:sp>
            <p:nvSpPr>
              <p:cNvPr id="26" name="ïSļïde">
                <a:extLst>
                  <a:ext uri="{FF2B5EF4-FFF2-40B4-BE49-F238E27FC236}">
                    <a16:creationId xmlns:a16="http://schemas.microsoft.com/office/drawing/2014/main" id="{D32B369B-94EA-4907-8C26-97B250C8336D}"/>
                  </a:ext>
                </a:extLst>
              </p:cNvPr>
              <p:cNvSpPr/>
              <p:nvPr/>
            </p:nvSpPr>
            <p:spPr>
              <a:xfrm>
                <a:off x="4378847" y="1692360"/>
                <a:ext cx="677708" cy="677708"/>
              </a:xfrm>
              <a:prstGeom prst="ellipse">
                <a:avLst/>
              </a:prstGeom>
              <a:solidFill>
                <a:schemeClr val="bg1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>
                <a:normAutofit/>
              </a:bodyPr>
              <a:lstStyle/>
              <a:p>
                <a:pPr algn="ctr"/>
                <a:endParaRPr lang="zh-CN" altLang="en-US"/>
              </a:p>
            </p:txBody>
          </p:sp>
          <p:sp>
            <p:nvSpPr>
              <p:cNvPr id="27" name="îṧļíḓe">
                <a:extLst>
                  <a:ext uri="{FF2B5EF4-FFF2-40B4-BE49-F238E27FC236}">
                    <a16:creationId xmlns:a16="http://schemas.microsoft.com/office/drawing/2014/main" id="{B386A033-F05D-4A1A-B983-FB27A73C6BBF}"/>
                  </a:ext>
                </a:extLst>
              </p:cNvPr>
              <p:cNvSpPr/>
              <p:nvPr/>
            </p:nvSpPr>
            <p:spPr>
              <a:xfrm>
                <a:off x="4520502" y="1814985"/>
                <a:ext cx="394398" cy="432458"/>
              </a:xfrm>
              <a:custGeom>
                <a:avLst/>
                <a:gdLst>
                  <a:gd name="connsiteX0" fmla="*/ 257952 w 552598"/>
                  <a:gd name="connsiteY0" fmla="*/ 238897 h 605921"/>
                  <a:gd name="connsiteX1" fmla="*/ 252845 w 552598"/>
                  <a:gd name="connsiteY1" fmla="*/ 243996 h 605921"/>
                  <a:gd name="connsiteX2" fmla="*/ 252845 w 552598"/>
                  <a:gd name="connsiteY2" fmla="*/ 308986 h 605921"/>
                  <a:gd name="connsiteX3" fmla="*/ 228056 w 552598"/>
                  <a:gd name="connsiteY3" fmla="*/ 308986 h 605921"/>
                  <a:gd name="connsiteX4" fmla="*/ 225642 w 552598"/>
                  <a:gd name="connsiteY4" fmla="*/ 314085 h 605921"/>
                  <a:gd name="connsiteX5" fmla="*/ 273271 w 552598"/>
                  <a:gd name="connsiteY5" fmla="*/ 372123 h 605921"/>
                  <a:gd name="connsiteX6" fmla="*/ 279306 w 552598"/>
                  <a:gd name="connsiteY6" fmla="*/ 372123 h 605921"/>
                  <a:gd name="connsiteX7" fmla="*/ 327027 w 552598"/>
                  <a:gd name="connsiteY7" fmla="*/ 314085 h 605921"/>
                  <a:gd name="connsiteX8" fmla="*/ 324520 w 552598"/>
                  <a:gd name="connsiteY8" fmla="*/ 308986 h 605921"/>
                  <a:gd name="connsiteX9" fmla="*/ 299731 w 552598"/>
                  <a:gd name="connsiteY9" fmla="*/ 308986 h 605921"/>
                  <a:gd name="connsiteX10" fmla="*/ 299731 w 552598"/>
                  <a:gd name="connsiteY10" fmla="*/ 243996 h 605921"/>
                  <a:gd name="connsiteX11" fmla="*/ 294718 w 552598"/>
                  <a:gd name="connsiteY11" fmla="*/ 238897 h 605921"/>
                  <a:gd name="connsiteX12" fmla="*/ 260737 w 552598"/>
                  <a:gd name="connsiteY12" fmla="*/ 130146 h 605921"/>
                  <a:gd name="connsiteX13" fmla="*/ 291932 w 552598"/>
                  <a:gd name="connsiteY13" fmla="*/ 130146 h 605921"/>
                  <a:gd name="connsiteX14" fmla="*/ 303445 w 552598"/>
                  <a:gd name="connsiteY14" fmla="*/ 141642 h 605921"/>
                  <a:gd name="connsiteX15" fmla="*/ 303445 w 552598"/>
                  <a:gd name="connsiteY15" fmla="*/ 167602 h 605921"/>
                  <a:gd name="connsiteX16" fmla="*/ 353580 w 552598"/>
                  <a:gd name="connsiteY16" fmla="*/ 188369 h 605921"/>
                  <a:gd name="connsiteX17" fmla="*/ 371963 w 552598"/>
                  <a:gd name="connsiteY17" fmla="*/ 170012 h 605921"/>
                  <a:gd name="connsiteX18" fmla="*/ 388118 w 552598"/>
                  <a:gd name="connsiteY18" fmla="*/ 170012 h 605921"/>
                  <a:gd name="connsiteX19" fmla="*/ 410215 w 552598"/>
                  <a:gd name="connsiteY19" fmla="*/ 192077 h 605921"/>
                  <a:gd name="connsiteX20" fmla="*/ 410215 w 552598"/>
                  <a:gd name="connsiteY20" fmla="*/ 208209 h 605921"/>
                  <a:gd name="connsiteX21" fmla="*/ 391832 w 552598"/>
                  <a:gd name="connsiteY21" fmla="*/ 226566 h 605921"/>
                  <a:gd name="connsiteX22" fmla="*/ 412628 w 552598"/>
                  <a:gd name="connsiteY22" fmla="*/ 276630 h 605921"/>
                  <a:gd name="connsiteX23" fmla="*/ 438625 w 552598"/>
                  <a:gd name="connsiteY23" fmla="*/ 276630 h 605921"/>
                  <a:gd name="connsiteX24" fmla="*/ 450137 w 552598"/>
                  <a:gd name="connsiteY24" fmla="*/ 288126 h 605921"/>
                  <a:gd name="connsiteX25" fmla="*/ 450137 w 552598"/>
                  <a:gd name="connsiteY25" fmla="*/ 319277 h 605921"/>
                  <a:gd name="connsiteX26" fmla="*/ 438625 w 552598"/>
                  <a:gd name="connsiteY26" fmla="*/ 330773 h 605921"/>
                  <a:gd name="connsiteX27" fmla="*/ 412628 w 552598"/>
                  <a:gd name="connsiteY27" fmla="*/ 330773 h 605921"/>
                  <a:gd name="connsiteX28" fmla="*/ 391832 w 552598"/>
                  <a:gd name="connsiteY28" fmla="*/ 380838 h 605921"/>
                  <a:gd name="connsiteX29" fmla="*/ 410215 w 552598"/>
                  <a:gd name="connsiteY29" fmla="*/ 399102 h 605921"/>
                  <a:gd name="connsiteX30" fmla="*/ 410215 w 552598"/>
                  <a:gd name="connsiteY30" fmla="*/ 415326 h 605921"/>
                  <a:gd name="connsiteX31" fmla="*/ 388118 w 552598"/>
                  <a:gd name="connsiteY31" fmla="*/ 437299 h 605921"/>
                  <a:gd name="connsiteX32" fmla="*/ 371963 w 552598"/>
                  <a:gd name="connsiteY32" fmla="*/ 437299 h 605921"/>
                  <a:gd name="connsiteX33" fmla="*/ 353580 w 552598"/>
                  <a:gd name="connsiteY33" fmla="*/ 419035 h 605921"/>
                  <a:gd name="connsiteX34" fmla="*/ 303445 w 552598"/>
                  <a:gd name="connsiteY34" fmla="*/ 439802 h 605921"/>
                  <a:gd name="connsiteX35" fmla="*/ 303445 w 552598"/>
                  <a:gd name="connsiteY35" fmla="*/ 465761 h 605921"/>
                  <a:gd name="connsiteX36" fmla="*/ 291932 w 552598"/>
                  <a:gd name="connsiteY36" fmla="*/ 477257 h 605921"/>
                  <a:gd name="connsiteX37" fmla="*/ 260737 w 552598"/>
                  <a:gd name="connsiteY37" fmla="*/ 477257 h 605921"/>
                  <a:gd name="connsiteX38" fmla="*/ 249224 w 552598"/>
                  <a:gd name="connsiteY38" fmla="*/ 465761 h 605921"/>
                  <a:gd name="connsiteX39" fmla="*/ 249224 w 552598"/>
                  <a:gd name="connsiteY39" fmla="*/ 439802 h 605921"/>
                  <a:gd name="connsiteX40" fmla="*/ 199089 w 552598"/>
                  <a:gd name="connsiteY40" fmla="*/ 419035 h 605921"/>
                  <a:gd name="connsiteX41" fmla="*/ 180799 w 552598"/>
                  <a:gd name="connsiteY41" fmla="*/ 437299 h 605921"/>
                  <a:gd name="connsiteX42" fmla="*/ 164551 w 552598"/>
                  <a:gd name="connsiteY42" fmla="*/ 437299 h 605921"/>
                  <a:gd name="connsiteX43" fmla="*/ 142547 w 552598"/>
                  <a:gd name="connsiteY43" fmla="*/ 415326 h 605921"/>
                  <a:gd name="connsiteX44" fmla="*/ 142547 w 552598"/>
                  <a:gd name="connsiteY44" fmla="*/ 399102 h 605921"/>
                  <a:gd name="connsiteX45" fmla="*/ 160837 w 552598"/>
                  <a:gd name="connsiteY45" fmla="*/ 380838 h 605921"/>
                  <a:gd name="connsiteX46" fmla="*/ 140041 w 552598"/>
                  <a:gd name="connsiteY46" fmla="*/ 330773 h 605921"/>
                  <a:gd name="connsiteX47" fmla="*/ 114044 w 552598"/>
                  <a:gd name="connsiteY47" fmla="*/ 330773 h 605921"/>
                  <a:gd name="connsiteX48" fmla="*/ 102532 w 552598"/>
                  <a:gd name="connsiteY48" fmla="*/ 319277 h 605921"/>
                  <a:gd name="connsiteX49" fmla="*/ 102532 w 552598"/>
                  <a:gd name="connsiteY49" fmla="*/ 288126 h 605921"/>
                  <a:gd name="connsiteX50" fmla="*/ 114044 w 552598"/>
                  <a:gd name="connsiteY50" fmla="*/ 276630 h 605921"/>
                  <a:gd name="connsiteX51" fmla="*/ 140041 w 552598"/>
                  <a:gd name="connsiteY51" fmla="*/ 276630 h 605921"/>
                  <a:gd name="connsiteX52" fmla="*/ 160837 w 552598"/>
                  <a:gd name="connsiteY52" fmla="*/ 226566 h 605921"/>
                  <a:gd name="connsiteX53" fmla="*/ 142547 w 552598"/>
                  <a:gd name="connsiteY53" fmla="*/ 208209 h 605921"/>
                  <a:gd name="connsiteX54" fmla="*/ 142547 w 552598"/>
                  <a:gd name="connsiteY54" fmla="*/ 192077 h 605921"/>
                  <a:gd name="connsiteX55" fmla="*/ 164551 w 552598"/>
                  <a:gd name="connsiteY55" fmla="*/ 170012 h 605921"/>
                  <a:gd name="connsiteX56" fmla="*/ 180799 w 552598"/>
                  <a:gd name="connsiteY56" fmla="*/ 170012 h 605921"/>
                  <a:gd name="connsiteX57" fmla="*/ 199089 w 552598"/>
                  <a:gd name="connsiteY57" fmla="*/ 188369 h 605921"/>
                  <a:gd name="connsiteX58" fmla="*/ 249224 w 552598"/>
                  <a:gd name="connsiteY58" fmla="*/ 167602 h 605921"/>
                  <a:gd name="connsiteX59" fmla="*/ 249224 w 552598"/>
                  <a:gd name="connsiteY59" fmla="*/ 141642 h 605921"/>
                  <a:gd name="connsiteX60" fmla="*/ 260737 w 552598"/>
                  <a:gd name="connsiteY60" fmla="*/ 130146 h 605921"/>
                  <a:gd name="connsiteX61" fmla="*/ 438507 w 552598"/>
                  <a:gd name="connsiteY61" fmla="*/ 79551 h 605921"/>
                  <a:gd name="connsiteX62" fmla="*/ 552598 w 552598"/>
                  <a:gd name="connsiteY62" fmla="*/ 302952 h 605921"/>
                  <a:gd name="connsiteX63" fmla="*/ 276329 w 552598"/>
                  <a:gd name="connsiteY63" fmla="*/ 578821 h 605921"/>
                  <a:gd name="connsiteX64" fmla="*/ 276329 w 552598"/>
                  <a:gd name="connsiteY64" fmla="*/ 602737 h 605921"/>
                  <a:gd name="connsiteX65" fmla="*/ 271316 w 552598"/>
                  <a:gd name="connsiteY65" fmla="*/ 605332 h 605921"/>
                  <a:gd name="connsiteX66" fmla="*/ 206426 w 552598"/>
                  <a:gd name="connsiteY66" fmla="*/ 560837 h 605921"/>
                  <a:gd name="connsiteX67" fmla="*/ 206426 w 552598"/>
                  <a:gd name="connsiteY67" fmla="*/ 555553 h 605921"/>
                  <a:gd name="connsiteX68" fmla="*/ 271316 w 552598"/>
                  <a:gd name="connsiteY68" fmla="*/ 511059 h 605921"/>
                  <a:gd name="connsiteX69" fmla="*/ 276329 w 552598"/>
                  <a:gd name="connsiteY69" fmla="*/ 513654 h 605921"/>
                  <a:gd name="connsiteX70" fmla="*/ 276329 w 552598"/>
                  <a:gd name="connsiteY70" fmla="*/ 537663 h 605921"/>
                  <a:gd name="connsiteX71" fmla="*/ 511381 w 552598"/>
                  <a:gd name="connsiteY71" fmla="*/ 302952 h 605921"/>
                  <a:gd name="connsiteX72" fmla="*/ 414278 w 552598"/>
                  <a:gd name="connsiteY72" fmla="*/ 112830 h 605921"/>
                  <a:gd name="connsiteX73" fmla="*/ 281414 w 552598"/>
                  <a:gd name="connsiteY73" fmla="*/ 589 h 605921"/>
                  <a:gd name="connsiteX74" fmla="*/ 346313 w 552598"/>
                  <a:gd name="connsiteY74" fmla="*/ 45086 h 605921"/>
                  <a:gd name="connsiteX75" fmla="*/ 346313 w 552598"/>
                  <a:gd name="connsiteY75" fmla="*/ 50277 h 605921"/>
                  <a:gd name="connsiteX76" fmla="*/ 281414 w 552598"/>
                  <a:gd name="connsiteY76" fmla="*/ 94775 h 605921"/>
                  <a:gd name="connsiteX77" fmla="*/ 276308 w 552598"/>
                  <a:gd name="connsiteY77" fmla="*/ 92179 h 605921"/>
                  <a:gd name="connsiteX78" fmla="*/ 276308 w 552598"/>
                  <a:gd name="connsiteY78" fmla="*/ 68262 h 605921"/>
                  <a:gd name="connsiteX79" fmla="*/ 41223 w 552598"/>
                  <a:gd name="connsiteY79" fmla="*/ 303077 h 605921"/>
                  <a:gd name="connsiteX80" fmla="*/ 138432 w 552598"/>
                  <a:gd name="connsiteY80" fmla="*/ 493302 h 605921"/>
                  <a:gd name="connsiteX81" fmla="*/ 114200 w 552598"/>
                  <a:gd name="connsiteY81" fmla="*/ 526582 h 605921"/>
                  <a:gd name="connsiteX82" fmla="*/ 0 w 552598"/>
                  <a:gd name="connsiteY82" fmla="*/ 303077 h 605921"/>
                  <a:gd name="connsiteX83" fmla="*/ 276308 w 552598"/>
                  <a:gd name="connsiteY83" fmla="*/ 27195 h 605921"/>
                  <a:gd name="connsiteX84" fmla="*/ 276308 w 552598"/>
                  <a:gd name="connsiteY84" fmla="*/ 3185 h 605921"/>
                  <a:gd name="connsiteX85" fmla="*/ 281414 w 552598"/>
                  <a:gd name="connsiteY85" fmla="*/ 589 h 6059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</a:cxnLst>
                <a:rect l="l" t="t" r="r" b="b"/>
                <a:pathLst>
                  <a:path w="552598" h="605921">
                    <a:moveTo>
                      <a:pt x="257952" y="238897"/>
                    </a:moveTo>
                    <a:cubicBezTo>
                      <a:pt x="255074" y="238897"/>
                      <a:pt x="252845" y="241122"/>
                      <a:pt x="252845" y="243996"/>
                    </a:cubicBezTo>
                    <a:lnTo>
                      <a:pt x="252845" y="308986"/>
                    </a:lnTo>
                    <a:lnTo>
                      <a:pt x="228056" y="308986"/>
                    </a:lnTo>
                    <a:cubicBezTo>
                      <a:pt x="225364" y="308986"/>
                      <a:pt x="223878" y="311953"/>
                      <a:pt x="225642" y="314085"/>
                    </a:cubicBezTo>
                    <a:lnTo>
                      <a:pt x="273271" y="372123"/>
                    </a:lnTo>
                    <a:cubicBezTo>
                      <a:pt x="274849" y="373977"/>
                      <a:pt x="277727" y="373977"/>
                      <a:pt x="279306" y="372123"/>
                    </a:cubicBezTo>
                    <a:lnTo>
                      <a:pt x="327027" y="314085"/>
                    </a:lnTo>
                    <a:cubicBezTo>
                      <a:pt x="328605" y="311953"/>
                      <a:pt x="327213" y="308894"/>
                      <a:pt x="324520" y="308986"/>
                    </a:cubicBezTo>
                    <a:lnTo>
                      <a:pt x="299731" y="308986"/>
                    </a:lnTo>
                    <a:lnTo>
                      <a:pt x="299731" y="243996"/>
                    </a:lnTo>
                    <a:cubicBezTo>
                      <a:pt x="299731" y="241122"/>
                      <a:pt x="297503" y="238897"/>
                      <a:pt x="294718" y="238897"/>
                    </a:cubicBezTo>
                    <a:close/>
                    <a:moveTo>
                      <a:pt x="260737" y="130146"/>
                    </a:moveTo>
                    <a:lnTo>
                      <a:pt x="291932" y="130146"/>
                    </a:lnTo>
                    <a:cubicBezTo>
                      <a:pt x="298431" y="130146"/>
                      <a:pt x="303445" y="135338"/>
                      <a:pt x="303445" y="141642"/>
                    </a:cubicBezTo>
                    <a:lnTo>
                      <a:pt x="303445" y="167602"/>
                    </a:lnTo>
                    <a:cubicBezTo>
                      <a:pt x="321642" y="171125"/>
                      <a:pt x="338632" y="178356"/>
                      <a:pt x="353580" y="188369"/>
                    </a:cubicBezTo>
                    <a:lnTo>
                      <a:pt x="371963" y="170012"/>
                    </a:lnTo>
                    <a:cubicBezTo>
                      <a:pt x="376420" y="165562"/>
                      <a:pt x="383661" y="165562"/>
                      <a:pt x="388118" y="170012"/>
                    </a:cubicBezTo>
                    <a:lnTo>
                      <a:pt x="410215" y="192077"/>
                    </a:lnTo>
                    <a:cubicBezTo>
                      <a:pt x="414671" y="196528"/>
                      <a:pt x="414671" y="203759"/>
                      <a:pt x="410215" y="208209"/>
                    </a:cubicBezTo>
                    <a:lnTo>
                      <a:pt x="391832" y="226566"/>
                    </a:lnTo>
                    <a:cubicBezTo>
                      <a:pt x="401859" y="241400"/>
                      <a:pt x="409100" y="258459"/>
                      <a:pt x="412628" y="276630"/>
                    </a:cubicBezTo>
                    <a:lnTo>
                      <a:pt x="438625" y="276630"/>
                    </a:lnTo>
                    <a:cubicBezTo>
                      <a:pt x="445124" y="276630"/>
                      <a:pt x="450137" y="281822"/>
                      <a:pt x="450137" y="288126"/>
                    </a:cubicBezTo>
                    <a:lnTo>
                      <a:pt x="450137" y="319277"/>
                    </a:lnTo>
                    <a:cubicBezTo>
                      <a:pt x="450137" y="325674"/>
                      <a:pt x="444938" y="330773"/>
                      <a:pt x="438625" y="330773"/>
                    </a:cubicBezTo>
                    <a:lnTo>
                      <a:pt x="412628" y="330773"/>
                    </a:lnTo>
                    <a:cubicBezTo>
                      <a:pt x="409100" y="348945"/>
                      <a:pt x="401859" y="365818"/>
                      <a:pt x="391832" y="380838"/>
                    </a:cubicBezTo>
                    <a:lnTo>
                      <a:pt x="410215" y="399102"/>
                    </a:lnTo>
                    <a:cubicBezTo>
                      <a:pt x="414671" y="403552"/>
                      <a:pt x="414671" y="410876"/>
                      <a:pt x="410215" y="415326"/>
                    </a:cubicBezTo>
                    <a:lnTo>
                      <a:pt x="388118" y="437299"/>
                    </a:lnTo>
                    <a:cubicBezTo>
                      <a:pt x="383661" y="441749"/>
                      <a:pt x="376420" y="441749"/>
                      <a:pt x="371963" y="437299"/>
                    </a:cubicBezTo>
                    <a:lnTo>
                      <a:pt x="353580" y="419035"/>
                    </a:lnTo>
                    <a:cubicBezTo>
                      <a:pt x="338725" y="429047"/>
                      <a:pt x="321642" y="436186"/>
                      <a:pt x="303445" y="439802"/>
                    </a:cubicBezTo>
                    <a:lnTo>
                      <a:pt x="303445" y="465761"/>
                    </a:lnTo>
                    <a:cubicBezTo>
                      <a:pt x="303445" y="472158"/>
                      <a:pt x="298246" y="477257"/>
                      <a:pt x="291932" y="477257"/>
                    </a:cubicBezTo>
                    <a:lnTo>
                      <a:pt x="260737" y="477257"/>
                    </a:lnTo>
                    <a:cubicBezTo>
                      <a:pt x="254331" y="477257"/>
                      <a:pt x="249224" y="472065"/>
                      <a:pt x="249224" y="465761"/>
                    </a:cubicBezTo>
                    <a:lnTo>
                      <a:pt x="249224" y="439802"/>
                    </a:lnTo>
                    <a:cubicBezTo>
                      <a:pt x="231027" y="436186"/>
                      <a:pt x="214130" y="429047"/>
                      <a:pt x="199089" y="419035"/>
                    </a:cubicBezTo>
                    <a:lnTo>
                      <a:pt x="180799" y="437299"/>
                    </a:lnTo>
                    <a:cubicBezTo>
                      <a:pt x="176342" y="441749"/>
                      <a:pt x="169008" y="441749"/>
                      <a:pt x="164551" y="437299"/>
                    </a:cubicBezTo>
                    <a:lnTo>
                      <a:pt x="142547" y="415326"/>
                    </a:lnTo>
                    <a:cubicBezTo>
                      <a:pt x="138091" y="410876"/>
                      <a:pt x="138091" y="403552"/>
                      <a:pt x="142547" y="399102"/>
                    </a:cubicBezTo>
                    <a:lnTo>
                      <a:pt x="160837" y="380838"/>
                    </a:lnTo>
                    <a:cubicBezTo>
                      <a:pt x="150810" y="366004"/>
                      <a:pt x="143661" y="348945"/>
                      <a:pt x="140041" y="330773"/>
                    </a:cubicBezTo>
                    <a:lnTo>
                      <a:pt x="114044" y="330773"/>
                    </a:lnTo>
                    <a:cubicBezTo>
                      <a:pt x="107638" y="330773"/>
                      <a:pt x="102532" y="325582"/>
                      <a:pt x="102532" y="319277"/>
                    </a:cubicBezTo>
                    <a:lnTo>
                      <a:pt x="102532" y="288126"/>
                    </a:lnTo>
                    <a:cubicBezTo>
                      <a:pt x="102532" y="281636"/>
                      <a:pt x="107731" y="276630"/>
                      <a:pt x="114044" y="276630"/>
                    </a:cubicBezTo>
                    <a:lnTo>
                      <a:pt x="140041" y="276630"/>
                    </a:lnTo>
                    <a:cubicBezTo>
                      <a:pt x="143661" y="258459"/>
                      <a:pt x="150810" y="241492"/>
                      <a:pt x="160837" y="226566"/>
                    </a:cubicBezTo>
                    <a:lnTo>
                      <a:pt x="142547" y="208209"/>
                    </a:lnTo>
                    <a:cubicBezTo>
                      <a:pt x="138091" y="203759"/>
                      <a:pt x="138091" y="196528"/>
                      <a:pt x="142547" y="192077"/>
                    </a:cubicBezTo>
                    <a:lnTo>
                      <a:pt x="164551" y="170012"/>
                    </a:lnTo>
                    <a:cubicBezTo>
                      <a:pt x="169008" y="165562"/>
                      <a:pt x="176342" y="165562"/>
                      <a:pt x="180799" y="170012"/>
                    </a:cubicBezTo>
                    <a:lnTo>
                      <a:pt x="199089" y="188369"/>
                    </a:lnTo>
                    <a:cubicBezTo>
                      <a:pt x="213944" y="178356"/>
                      <a:pt x="231027" y="171125"/>
                      <a:pt x="249224" y="167602"/>
                    </a:cubicBezTo>
                    <a:lnTo>
                      <a:pt x="249224" y="141642"/>
                    </a:lnTo>
                    <a:cubicBezTo>
                      <a:pt x="249224" y="135153"/>
                      <a:pt x="254424" y="130146"/>
                      <a:pt x="260737" y="130146"/>
                    </a:cubicBezTo>
                    <a:close/>
                    <a:moveTo>
                      <a:pt x="438507" y="79551"/>
                    </a:moveTo>
                    <a:cubicBezTo>
                      <a:pt x="510081" y="131462"/>
                      <a:pt x="552598" y="214890"/>
                      <a:pt x="552598" y="302952"/>
                    </a:cubicBezTo>
                    <a:cubicBezTo>
                      <a:pt x="552598" y="455069"/>
                      <a:pt x="428760" y="578821"/>
                      <a:pt x="276329" y="578821"/>
                    </a:cubicBezTo>
                    <a:lnTo>
                      <a:pt x="276329" y="602737"/>
                    </a:lnTo>
                    <a:cubicBezTo>
                      <a:pt x="276329" y="605332"/>
                      <a:pt x="273358" y="606815"/>
                      <a:pt x="271316" y="605332"/>
                    </a:cubicBezTo>
                    <a:lnTo>
                      <a:pt x="206426" y="560837"/>
                    </a:lnTo>
                    <a:cubicBezTo>
                      <a:pt x="204569" y="559539"/>
                      <a:pt x="204569" y="556759"/>
                      <a:pt x="206426" y="555553"/>
                    </a:cubicBezTo>
                    <a:lnTo>
                      <a:pt x="271316" y="511059"/>
                    </a:lnTo>
                    <a:cubicBezTo>
                      <a:pt x="273544" y="509575"/>
                      <a:pt x="276329" y="511059"/>
                      <a:pt x="276329" y="513654"/>
                    </a:cubicBezTo>
                    <a:lnTo>
                      <a:pt x="276329" y="537663"/>
                    </a:lnTo>
                    <a:cubicBezTo>
                      <a:pt x="405923" y="537663"/>
                      <a:pt x="511381" y="432358"/>
                      <a:pt x="511381" y="302952"/>
                    </a:cubicBezTo>
                    <a:cubicBezTo>
                      <a:pt x="511381" y="228053"/>
                      <a:pt x="475176" y="156954"/>
                      <a:pt x="414278" y="112830"/>
                    </a:cubicBezTo>
                    <a:close/>
                    <a:moveTo>
                      <a:pt x="281414" y="589"/>
                    </a:moveTo>
                    <a:lnTo>
                      <a:pt x="346313" y="45086"/>
                    </a:lnTo>
                    <a:cubicBezTo>
                      <a:pt x="348170" y="46384"/>
                      <a:pt x="348170" y="49072"/>
                      <a:pt x="346313" y="50277"/>
                    </a:cubicBezTo>
                    <a:lnTo>
                      <a:pt x="281414" y="94775"/>
                    </a:lnTo>
                    <a:cubicBezTo>
                      <a:pt x="279186" y="96258"/>
                      <a:pt x="276308" y="94775"/>
                      <a:pt x="276308" y="92179"/>
                    </a:cubicBezTo>
                    <a:lnTo>
                      <a:pt x="276308" y="68262"/>
                    </a:lnTo>
                    <a:cubicBezTo>
                      <a:pt x="146695" y="68262"/>
                      <a:pt x="41223" y="173665"/>
                      <a:pt x="41223" y="303077"/>
                    </a:cubicBezTo>
                    <a:cubicBezTo>
                      <a:pt x="41223" y="377980"/>
                      <a:pt x="77526" y="449176"/>
                      <a:pt x="138432" y="493302"/>
                    </a:cubicBezTo>
                    <a:lnTo>
                      <a:pt x="114200" y="526582"/>
                    </a:lnTo>
                    <a:cubicBezTo>
                      <a:pt x="42709" y="474762"/>
                      <a:pt x="0" y="391237"/>
                      <a:pt x="0" y="303077"/>
                    </a:cubicBezTo>
                    <a:cubicBezTo>
                      <a:pt x="0" y="150953"/>
                      <a:pt x="123948" y="27195"/>
                      <a:pt x="276308" y="27195"/>
                    </a:cubicBezTo>
                    <a:lnTo>
                      <a:pt x="276308" y="3185"/>
                    </a:lnTo>
                    <a:cubicBezTo>
                      <a:pt x="276308" y="589"/>
                      <a:pt x="279279" y="-894"/>
                      <a:pt x="281414" y="589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/>
                <a:endParaRPr lang="zh-CN" altLang="en-US"/>
              </a:p>
            </p:txBody>
          </p:sp>
        </p:grpSp>
        <p:grpSp>
          <p:nvGrpSpPr>
            <p:cNvPr id="8" name="ïṧ1idê">
              <a:extLst>
                <a:ext uri="{FF2B5EF4-FFF2-40B4-BE49-F238E27FC236}">
                  <a16:creationId xmlns:a16="http://schemas.microsoft.com/office/drawing/2014/main" id="{25523BB5-66DA-454A-8AE5-65F36ECFA281}"/>
                </a:ext>
              </a:extLst>
            </p:cNvPr>
            <p:cNvGrpSpPr/>
            <p:nvPr/>
          </p:nvGrpSpPr>
          <p:grpSpPr>
            <a:xfrm>
              <a:off x="5137770" y="3299694"/>
              <a:ext cx="677708" cy="677708"/>
              <a:chOff x="5137770" y="3299694"/>
              <a:chExt cx="677708" cy="677708"/>
            </a:xfrm>
          </p:grpSpPr>
          <p:sp>
            <p:nvSpPr>
              <p:cNvPr id="24" name="íṥḷîḍè">
                <a:extLst>
                  <a:ext uri="{FF2B5EF4-FFF2-40B4-BE49-F238E27FC236}">
                    <a16:creationId xmlns:a16="http://schemas.microsoft.com/office/drawing/2014/main" id="{DAC8721F-95AA-494D-8CAC-2BE4826FE29F}"/>
                  </a:ext>
                </a:extLst>
              </p:cNvPr>
              <p:cNvSpPr/>
              <p:nvPr/>
            </p:nvSpPr>
            <p:spPr>
              <a:xfrm>
                <a:off x="5137770" y="3299694"/>
                <a:ext cx="677708" cy="677708"/>
              </a:xfrm>
              <a:prstGeom prst="ellipse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>
                <a:normAutofit/>
              </a:bodyPr>
              <a:lstStyle/>
              <a:p>
                <a:pPr algn="ctr"/>
                <a:endParaRPr lang="zh-CN" altLang="en-US"/>
              </a:p>
            </p:txBody>
          </p:sp>
          <p:sp>
            <p:nvSpPr>
              <p:cNvPr id="25" name="ï$lîḑè">
                <a:extLst>
                  <a:ext uri="{FF2B5EF4-FFF2-40B4-BE49-F238E27FC236}">
                    <a16:creationId xmlns:a16="http://schemas.microsoft.com/office/drawing/2014/main" id="{E423D2D4-650F-4840-A151-B7E24952BCBA}"/>
                  </a:ext>
                </a:extLst>
              </p:cNvPr>
              <p:cNvSpPr/>
              <p:nvPr/>
            </p:nvSpPr>
            <p:spPr>
              <a:xfrm>
                <a:off x="5274207" y="3456015"/>
                <a:ext cx="404834" cy="365066"/>
              </a:xfrm>
              <a:custGeom>
                <a:avLst/>
                <a:gdLst>
                  <a:gd name="connsiteX0" fmla="*/ 521432 w 608344"/>
                  <a:gd name="connsiteY0" fmla="*/ 370453 h 548582"/>
                  <a:gd name="connsiteX1" fmla="*/ 465737 w 608344"/>
                  <a:gd name="connsiteY1" fmla="*/ 425787 h 548582"/>
                  <a:gd name="connsiteX2" fmla="*/ 442491 w 608344"/>
                  <a:gd name="connsiteY2" fmla="*/ 402479 h 548582"/>
                  <a:gd name="connsiteX3" fmla="*/ 418201 w 608344"/>
                  <a:gd name="connsiteY3" fmla="*/ 426545 h 548582"/>
                  <a:gd name="connsiteX4" fmla="*/ 441447 w 608344"/>
                  <a:gd name="connsiteY4" fmla="*/ 449948 h 548582"/>
                  <a:gd name="connsiteX5" fmla="*/ 465642 w 608344"/>
                  <a:gd name="connsiteY5" fmla="*/ 474204 h 548582"/>
                  <a:gd name="connsiteX6" fmla="*/ 489932 w 608344"/>
                  <a:gd name="connsiteY6" fmla="*/ 450043 h 548582"/>
                  <a:gd name="connsiteX7" fmla="*/ 545532 w 608344"/>
                  <a:gd name="connsiteY7" fmla="*/ 394709 h 548582"/>
                  <a:gd name="connsiteX8" fmla="*/ 481962 w 608344"/>
                  <a:gd name="connsiteY8" fmla="*/ 296170 h 548582"/>
                  <a:gd name="connsiteX9" fmla="*/ 608344 w 608344"/>
                  <a:gd name="connsiteY9" fmla="*/ 422376 h 548582"/>
                  <a:gd name="connsiteX10" fmla="*/ 481962 w 608344"/>
                  <a:gd name="connsiteY10" fmla="*/ 548582 h 548582"/>
                  <a:gd name="connsiteX11" fmla="*/ 355579 w 608344"/>
                  <a:gd name="connsiteY11" fmla="*/ 422376 h 548582"/>
                  <a:gd name="connsiteX12" fmla="*/ 481962 w 608344"/>
                  <a:gd name="connsiteY12" fmla="*/ 296170 h 548582"/>
                  <a:gd name="connsiteX13" fmla="*/ 255835 w 608344"/>
                  <a:gd name="connsiteY13" fmla="*/ 446 h 548582"/>
                  <a:gd name="connsiteX14" fmla="*/ 317801 w 608344"/>
                  <a:gd name="connsiteY14" fmla="*/ 13616 h 548582"/>
                  <a:gd name="connsiteX15" fmla="*/ 348072 w 608344"/>
                  <a:gd name="connsiteY15" fmla="*/ 41661 h 548582"/>
                  <a:gd name="connsiteX16" fmla="*/ 381190 w 608344"/>
                  <a:gd name="connsiteY16" fmla="*/ 146831 h 548582"/>
                  <a:gd name="connsiteX17" fmla="*/ 378913 w 608344"/>
                  <a:gd name="connsiteY17" fmla="*/ 156211 h 548582"/>
                  <a:gd name="connsiteX18" fmla="*/ 387833 w 608344"/>
                  <a:gd name="connsiteY18" fmla="*/ 200458 h 548582"/>
                  <a:gd name="connsiteX19" fmla="*/ 366387 w 608344"/>
                  <a:gd name="connsiteY19" fmla="*/ 237694 h 548582"/>
                  <a:gd name="connsiteX20" fmla="*/ 351393 w 608344"/>
                  <a:gd name="connsiteY20" fmla="*/ 278720 h 548582"/>
                  <a:gd name="connsiteX21" fmla="*/ 351393 w 608344"/>
                  <a:gd name="connsiteY21" fmla="*/ 322873 h 548582"/>
                  <a:gd name="connsiteX22" fmla="*/ 317611 w 608344"/>
                  <a:gd name="connsiteY22" fmla="*/ 422358 h 548582"/>
                  <a:gd name="connsiteX23" fmla="*/ 376635 w 608344"/>
                  <a:gd name="connsiteY23" fmla="*/ 548088 h 548582"/>
                  <a:gd name="connsiteX24" fmla="*/ 26855 w 608344"/>
                  <a:gd name="connsiteY24" fmla="*/ 548088 h 548582"/>
                  <a:gd name="connsiteX25" fmla="*/ 0 w 608344"/>
                  <a:gd name="connsiteY25" fmla="*/ 521274 h 548582"/>
                  <a:gd name="connsiteX26" fmla="*/ 0 w 608344"/>
                  <a:gd name="connsiteY26" fmla="*/ 473806 h 548582"/>
                  <a:gd name="connsiteX27" fmla="*/ 19453 w 608344"/>
                  <a:gd name="connsiteY27" fmla="*/ 432969 h 548582"/>
                  <a:gd name="connsiteX28" fmla="*/ 173751 w 608344"/>
                  <a:gd name="connsiteY28" fmla="*/ 334242 h 548582"/>
                  <a:gd name="connsiteX29" fmla="*/ 176408 w 608344"/>
                  <a:gd name="connsiteY29" fmla="*/ 329884 h 548582"/>
                  <a:gd name="connsiteX30" fmla="*/ 176408 w 608344"/>
                  <a:gd name="connsiteY30" fmla="*/ 278720 h 548582"/>
                  <a:gd name="connsiteX31" fmla="*/ 161320 w 608344"/>
                  <a:gd name="connsiteY31" fmla="*/ 237694 h 548582"/>
                  <a:gd name="connsiteX32" fmla="*/ 139969 w 608344"/>
                  <a:gd name="connsiteY32" fmla="*/ 200458 h 548582"/>
                  <a:gd name="connsiteX33" fmla="*/ 148320 w 608344"/>
                  <a:gd name="connsiteY33" fmla="*/ 156211 h 548582"/>
                  <a:gd name="connsiteX34" fmla="*/ 146042 w 608344"/>
                  <a:gd name="connsiteY34" fmla="*/ 146736 h 548582"/>
                  <a:gd name="connsiteX35" fmla="*/ 145758 w 608344"/>
                  <a:gd name="connsiteY35" fmla="*/ 95099 h 548582"/>
                  <a:gd name="connsiteX36" fmla="*/ 176029 w 608344"/>
                  <a:gd name="connsiteY36" fmla="*/ 42135 h 548582"/>
                  <a:gd name="connsiteX37" fmla="*/ 203928 w 608344"/>
                  <a:gd name="connsiteY37" fmla="*/ 19017 h 548582"/>
                  <a:gd name="connsiteX38" fmla="*/ 231162 w 608344"/>
                  <a:gd name="connsiteY38" fmla="*/ 5089 h 548582"/>
                  <a:gd name="connsiteX39" fmla="*/ 255835 w 608344"/>
                  <a:gd name="connsiteY39" fmla="*/ 446 h 5485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</a:cxnLst>
                <a:rect l="l" t="t" r="r" b="b"/>
                <a:pathLst>
                  <a:path w="608344" h="548582">
                    <a:moveTo>
                      <a:pt x="521432" y="370453"/>
                    </a:moveTo>
                    <a:lnTo>
                      <a:pt x="465737" y="425787"/>
                    </a:lnTo>
                    <a:lnTo>
                      <a:pt x="442491" y="402479"/>
                    </a:lnTo>
                    <a:lnTo>
                      <a:pt x="418201" y="426545"/>
                    </a:lnTo>
                    <a:lnTo>
                      <a:pt x="441447" y="449948"/>
                    </a:lnTo>
                    <a:lnTo>
                      <a:pt x="465642" y="474204"/>
                    </a:lnTo>
                    <a:lnTo>
                      <a:pt x="489932" y="450043"/>
                    </a:lnTo>
                    <a:lnTo>
                      <a:pt x="545532" y="394709"/>
                    </a:lnTo>
                    <a:close/>
                    <a:moveTo>
                      <a:pt x="481962" y="296170"/>
                    </a:moveTo>
                    <a:cubicBezTo>
                      <a:pt x="551795" y="296170"/>
                      <a:pt x="608344" y="352641"/>
                      <a:pt x="608344" y="422376"/>
                    </a:cubicBezTo>
                    <a:cubicBezTo>
                      <a:pt x="608344" y="492111"/>
                      <a:pt x="551795" y="548582"/>
                      <a:pt x="481962" y="548582"/>
                    </a:cubicBezTo>
                    <a:cubicBezTo>
                      <a:pt x="412129" y="548582"/>
                      <a:pt x="355579" y="492111"/>
                      <a:pt x="355579" y="422376"/>
                    </a:cubicBezTo>
                    <a:cubicBezTo>
                      <a:pt x="355579" y="352641"/>
                      <a:pt x="412129" y="296170"/>
                      <a:pt x="481962" y="296170"/>
                    </a:cubicBezTo>
                    <a:close/>
                    <a:moveTo>
                      <a:pt x="255835" y="446"/>
                    </a:moveTo>
                    <a:cubicBezTo>
                      <a:pt x="282785" y="-1828"/>
                      <a:pt x="303187" y="4899"/>
                      <a:pt x="317801" y="13616"/>
                    </a:cubicBezTo>
                    <a:cubicBezTo>
                      <a:pt x="339721" y="25744"/>
                      <a:pt x="348072" y="41661"/>
                      <a:pt x="348072" y="41661"/>
                    </a:cubicBezTo>
                    <a:cubicBezTo>
                      <a:pt x="348072" y="41661"/>
                      <a:pt x="398176" y="45167"/>
                      <a:pt x="381190" y="146831"/>
                    </a:cubicBezTo>
                    <a:cubicBezTo>
                      <a:pt x="380621" y="149863"/>
                      <a:pt x="379862" y="153085"/>
                      <a:pt x="378913" y="156211"/>
                    </a:cubicBezTo>
                    <a:cubicBezTo>
                      <a:pt x="388592" y="156211"/>
                      <a:pt x="398271" y="163507"/>
                      <a:pt x="387833" y="200458"/>
                    </a:cubicBezTo>
                    <a:cubicBezTo>
                      <a:pt x="379672" y="229262"/>
                      <a:pt x="372080" y="237221"/>
                      <a:pt x="366387" y="237694"/>
                    </a:cubicBezTo>
                    <a:cubicBezTo>
                      <a:pt x="364394" y="250675"/>
                      <a:pt x="359175" y="265076"/>
                      <a:pt x="351393" y="278720"/>
                    </a:cubicBezTo>
                    <a:lnTo>
                      <a:pt x="351393" y="322873"/>
                    </a:lnTo>
                    <a:cubicBezTo>
                      <a:pt x="330232" y="350539"/>
                      <a:pt x="317611" y="385027"/>
                      <a:pt x="317611" y="422358"/>
                    </a:cubicBezTo>
                    <a:cubicBezTo>
                      <a:pt x="317611" y="472764"/>
                      <a:pt x="340480" y="518053"/>
                      <a:pt x="376635" y="548088"/>
                    </a:cubicBezTo>
                    <a:lnTo>
                      <a:pt x="26855" y="548088"/>
                    </a:lnTo>
                    <a:cubicBezTo>
                      <a:pt x="12052" y="548088"/>
                      <a:pt x="0" y="536055"/>
                      <a:pt x="0" y="521274"/>
                    </a:cubicBezTo>
                    <a:lnTo>
                      <a:pt x="0" y="473806"/>
                    </a:lnTo>
                    <a:cubicBezTo>
                      <a:pt x="0" y="457983"/>
                      <a:pt x="7212" y="443013"/>
                      <a:pt x="19453" y="432969"/>
                    </a:cubicBezTo>
                    <a:cubicBezTo>
                      <a:pt x="86638" y="377921"/>
                      <a:pt x="159043" y="341443"/>
                      <a:pt x="173751" y="334242"/>
                    </a:cubicBezTo>
                    <a:cubicBezTo>
                      <a:pt x="175365" y="333484"/>
                      <a:pt x="176408" y="331779"/>
                      <a:pt x="176408" y="329884"/>
                    </a:cubicBezTo>
                    <a:lnTo>
                      <a:pt x="176408" y="278720"/>
                    </a:lnTo>
                    <a:cubicBezTo>
                      <a:pt x="168437" y="265076"/>
                      <a:pt x="163313" y="250675"/>
                      <a:pt x="161320" y="237694"/>
                    </a:cubicBezTo>
                    <a:cubicBezTo>
                      <a:pt x="155627" y="237221"/>
                      <a:pt x="148035" y="229072"/>
                      <a:pt x="139969" y="200458"/>
                    </a:cubicBezTo>
                    <a:cubicBezTo>
                      <a:pt x="129531" y="164170"/>
                      <a:pt x="138925" y="156496"/>
                      <a:pt x="148320" y="156211"/>
                    </a:cubicBezTo>
                    <a:cubicBezTo>
                      <a:pt x="147371" y="153085"/>
                      <a:pt x="146612" y="149863"/>
                      <a:pt x="146042" y="146736"/>
                    </a:cubicBezTo>
                    <a:cubicBezTo>
                      <a:pt x="142436" y="128450"/>
                      <a:pt x="141487" y="111396"/>
                      <a:pt x="145758" y="95099"/>
                    </a:cubicBezTo>
                    <a:cubicBezTo>
                      <a:pt x="150787" y="73212"/>
                      <a:pt x="162744" y="55684"/>
                      <a:pt x="176029" y="42135"/>
                    </a:cubicBezTo>
                    <a:cubicBezTo>
                      <a:pt x="184379" y="33134"/>
                      <a:pt x="193869" y="25459"/>
                      <a:pt x="203928" y="19017"/>
                    </a:cubicBezTo>
                    <a:cubicBezTo>
                      <a:pt x="212183" y="13332"/>
                      <a:pt x="221293" y="8405"/>
                      <a:pt x="231162" y="5089"/>
                    </a:cubicBezTo>
                    <a:cubicBezTo>
                      <a:pt x="238849" y="2625"/>
                      <a:pt x="247105" y="825"/>
                      <a:pt x="255835" y="446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 lnSpcReduction="1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/>
                <a:endParaRPr lang="zh-CN" altLang="en-US"/>
              </a:p>
            </p:txBody>
          </p:sp>
        </p:grpSp>
        <p:grpSp>
          <p:nvGrpSpPr>
            <p:cNvPr id="9" name="îś1ïdê">
              <a:extLst>
                <a:ext uri="{FF2B5EF4-FFF2-40B4-BE49-F238E27FC236}">
                  <a16:creationId xmlns:a16="http://schemas.microsoft.com/office/drawing/2014/main" id="{0F52B52E-6338-4D24-AEE3-730AFEF00FCA}"/>
                </a:ext>
              </a:extLst>
            </p:cNvPr>
            <p:cNvGrpSpPr/>
            <p:nvPr/>
          </p:nvGrpSpPr>
          <p:grpSpPr>
            <a:xfrm>
              <a:off x="4378847" y="4907029"/>
              <a:ext cx="677708" cy="677708"/>
              <a:chOff x="4378847" y="4907029"/>
              <a:chExt cx="677708" cy="677708"/>
            </a:xfrm>
          </p:grpSpPr>
          <p:sp>
            <p:nvSpPr>
              <p:cNvPr id="22" name="is1íḓè">
                <a:extLst>
                  <a:ext uri="{FF2B5EF4-FFF2-40B4-BE49-F238E27FC236}">
                    <a16:creationId xmlns:a16="http://schemas.microsoft.com/office/drawing/2014/main" id="{8E7496AE-B8FE-4F2F-85C4-258B246D1A36}"/>
                  </a:ext>
                </a:extLst>
              </p:cNvPr>
              <p:cNvSpPr/>
              <p:nvPr/>
            </p:nvSpPr>
            <p:spPr>
              <a:xfrm>
                <a:off x="4378847" y="4907029"/>
                <a:ext cx="677708" cy="677708"/>
              </a:xfrm>
              <a:prstGeom prst="ellipse">
                <a:avLst/>
              </a:prstGeom>
              <a:solidFill>
                <a:schemeClr val="bg1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>
                <a:normAutofit/>
              </a:bodyPr>
              <a:lstStyle/>
              <a:p>
                <a:pPr algn="ctr"/>
                <a:endParaRPr lang="zh-CN" altLang="en-US"/>
              </a:p>
            </p:txBody>
          </p:sp>
          <p:sp>
            <p:nvSpPr>
              <p:cNvPr id="23" name="ïṧḻïḍè">
                <a:extLst>
                  <a:ext uri="{FF2B5EF4-FFF2-40B4-BE49-F238E27FC236}">
                    <a16:creationId xmlns:a16="http://schemas.microsoft.com/office/drawing/2014/main" id="{4FCF4684-B259-45F3-9A77-F8E1BCE6CAF9}"/>
                  </a:ext>
                </a:extLst>
              </p:cNvPr>
              <p:cNvSpPr/>
              <p:nvPr/>
            </p:nvSpPr>
            <p:spPr>
              <a:xfrm>
                <a:off x="4533754" y="5043466"/>
                <a:ext cx="367894" cy="404834"/>
              </a:xfrm>
              <a:custGeom>
                <a:avLst/>
                <a:gdLst>
                  <a:gd name="T0" fmla="*/ 462 w 473"/>
                  <a:gd name="T1" fmla="*/ 99 h 521"/>
                  <a:gd name="T2" fmla="*/ 442 w 473"/>
                  <a:gd name="T3" fmla="*/ 82 h 521"/>
                  <a:gd name="T4" fmla="*/ 345 w 473"/>
                  <a:gd name="T5" fmla="*/ 130 h 521"/>
                  <a:gd name="T6" fmla="*/ 379 w 473"/>
                  <a:gd name="T7" fmla="*/ 27 h 521"/>
                  <a:gd name="T8" fmla="*/ 359 w 473"/>
                  <a:gd name="T9" fmla="*/ 10 h 521"/>
                  <a:gd name="T10" fmla="*/ 290 w 473"/>
                  <a:gd name="T11" fmla="*/ 49 h 521"/>
                  <a:gd name="T12" fmla="*/ 242 w 473"/>
                  <a:gd name="T13" fmla="*/ 105 h 521"/>
                  <a:gd name="T14" fmla="*/ 249 w 473"/>
                  <a:gd name="T15" fmla="*/ 209 h 521"/>
                  <a:gd name="T16" fmla="*/ 234 w 473"/>
                  <a:gd name="T17" fmla="*/ 225 h 521"/>
                  <a:gd name="T18" fmla="*/ 132 w 473"/>
                  <a:gd name="T19" fmla="*/ 91 h 521"/>
                  <a:gd name="T20" fmla="*/ 138 w 473"/>
                  <a:gd name="T21" fmla="*/ 58 h 521"/>
                  <a:gd name="T22" fmla="*/ 73 w 473"/>
                  <a:gd name="T23" fmla="*/ 31 h 521"/>
                  <a:gd name="T24" fmla="*/ 50 w 473"/>
                  <a:gd name="T25" fmla="*/ 51 h 521"/>
                  <a:gd name="T26" fmla="*/ 57 w 473"/>
                  <a:gd name="T27" fmla="*/ 115 h 521"/>
                  <a:gd name="T28" fmla="*/ 96 w 473"/>
                  <a:gd name="T29" fmla="*/ 120 h 521"/>
                  <a:gd name="T30" fmla="*/ 194 w 473"/>
                  <a:gd name="T31" fmla="*/ 249 h 521"/>
                  <a:gd name="T32" fmla="*/ 153 w 473"/>
                  <a:gd name="T33" fmla="*/ 262 h 521"/>
                  <a:gd name="T34" fmla="*/ 0 w 473"/>
                  <a:gd name="T35" fmla="*/ 440 h 521"/>
                  <a:gd name="T36" fmla="*/ 58 w 473"/>
                  <a:gd name="T37" fmla="*/ 490 h 521"/>
                  <a:gd name="T38" fmla="*/ 117 w 473"/>
                  <a:gd name="T39" fmla="*/ 486 h 521"/>
                  <a:gd name="T40" fmla="*/ 253 w 473"/>
                  <a:gd name="T41" fmla="*/ 327 h 521"/>
                  <a:gd name="T42" fmla="*/ 287 w 473"/>
                  <a:gd name="T43" fmla="*/ 372 h 521"/>
                  <a:gd name="T44" fmla="*/ 288 w 473"/>
                  <a:gd name="T45" fmla="*/ 423 h 521"/>
                  <a:gd name="T46" fmla="*/ 362 w 473"/>
                  <a:gd name="T47" fmla="*/ 521 h 521"/>
                  <a:gd name="T48" fmla="*/ 417 w 473"/>
                  <a:gd name="T49" fmla="*/ 480 h 521"/>
                  <a:gd name="T50" fmla="*/ 416 w 473"/>
                  <a:gd name="T51" fmla="*/ 429 h 521"/>
                  <a:gd name="T52" fmla="*/ 342 w 473"/>
                  <a:gd name="T53" fmla="*/ 330 h 521"/>
                  <a:gd name="T54" fmla="*/ 324 w 473"/>
                  <a:gd name="T55" fmla="*/ 343 h 521"/>
                  <a:gd name="T56" fmla="*/ 261 w 473"/>
                  <a:gd name="T57" fmla="*/ 261 h 521"/>
                  <a:gd name="T58" fmla="*/ 281 w 473"/>
                  <a:gd name="T59" fmla="*/ 237 h 521"/>
                  <a:gd name="T60" fmla="*/ 385 w 473"/>
                  <a:gd name="T61" fmla="*/ 229 h 521"/>
                  <a:gd name="T62" fmla="*/ 434 w 473"/>
                  <a:gd name="T63" fmla="*/ 172 h 521"/>
                  <a:gd name="T64" fmla="*/ 462 w 473"/>
                  <a:gd name="T65" fmla="*/ 99 h 521"/>
                  <a:gd name="T66" fmla="*/ 109 w 473"/>
                  <a:gd name="T67" fmla="*/ 443 h 521"/>
                  <a:gd name="T68" fmla="*/ 73 w 473"/>
                  <a:gd name="T69" fmla="*/ 446 h 521"/>
                  <a:gd name="T70" fmla="*/ 70 w 473"/>
                  <a:gd name="T71" fmla="*/ 410 h 521"/>
                  <a:gd name="T72" fmla="*/ 106 w 473"/>
                  <a:gd name="T73" fmla="*/ 407 h 521"/>
                  <a:gd name="T74" fmla="*/ 109 w 473"/>
                  <a:gd name="T75" fmla="*/ 443 h 5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473" h="521">
                    <a:moveTo>
                      <a:pt x="462" y="99"/>
                    </a:moveTo>
                    <a:lnTo>
                      <a:pt x="442" y="82"/>
                    </a:lnTo>
                    <a:cubicBezTo>
                      <a:pt x="400" y="121"/>
                      <a:pt x="382" y="162"/>
                      <a:pt x="345" y="130"/>
                    </a:cubicBezTo>
                    <a:cubicBezTo>
                      <a:pt x="308" y="98"/>
                      <a:pt x="346" y="75"/>
                      <a:pt x="379" y="27"/>
                    </a:cubicBezTo>
                    <a:cubicBezTo>
                      <a:pt x="379" y="27"/>
                      <a:pt x="370" y="19"/>
                      <a:pt x="359" y="10"/>
                    </a:cubicBezTo>
                    <a:cubicBezTo>
                      <a:pt x="348" y="0"/>
                      <a:pt x="317" y="18"/>
                      <a:pt x="290" y="49"/>
                    </a:cubicBezTo>
                    <a:lnTo>
                      <a:pt x="242" y="105"/>
                    </a:lnTo>
                    <a:cubicBezTo>
                      <a:pt x="215" y="136"/>
                      <a:pt x="218" y="182"/>
                      <a:pt x="249" y="209"/>
                    </a:cubicBezTo>
                    <a:lnTo>
                      <a:pt x="234" y="225"/>
                    </a:lnTo>
                    <a:lnTo>
                      <a:pt x="132" y="91"/>
                    </a:lnTo>
                    <a:cubicBezTo>
                      <a:pt x="137" y="79"/>
                      <a:pt x="150" y="67"/>
                      <a:pt x="138" y="58"/>
                    </a:cubicBezTo>
                    <a:lnTo>
                      <a:pt x="73" y="31"/>
                    </a:lnTo>
                    <a:lnTo>
                      <a:pt x="50" y="51"/>
                    </a:lnTo>
                    <a:cubicBezTo>
                      <a:pt x="50" y="51"/>
                      <a:pt x="57" y="115"/>
                      <a:pt x="57" y="115"/>
                    </a:cubicBezTo>
                    <a:cubicBezTo>
                      <a:pt x="63" y="131"/>
                      <a:pt x="82" y="125"/>
                      <a:pt x="96" y="120"/>
                    </a:cubicBezTo>
                    <a:lnTo>
                      <a:pt x="194" y="249"/>
                    </a:lnTo>
                    <a:cubicBezTo>
                      <a:pt x="179" y="246"/>
                      <a:pt x="164" y="250"/>
                      <a:pt x="153" y="262"/>
                    </a:cubicBezTo>
                    <a:lnTo>
                      <a:pt x="0" y="440"/>
                    </a:lnTo>
                    <a:lnTo>
                      <a:pt x="58" y="490"/>
                    </a:lnTo>
                    <a:cubicBezTo>
                      <a:pt x="75" y="505"/>
                      <a:pt x="102" y="503"/>
                      <a:pt x="117" y="486"/>
                    </a:cubicBezTo>
                    <a:lnTo>
                      <a:pt x="253" y="327"/>
                    </a:lnTo>
                    <a:lnTo>
                      <a:pt x="287" y="372"/>
                    </a:lnTo>
                    <a:cubicBezTo>
                      <a:pt x="271" y="386"/>
                      <a:pt x="274" y="405"/>
                      <a:pt x="288" y="423"/>
                    </a:cubicBezTo>
                    <a:lnTo>
                      <a:pt x="362" y="521"/>
                    </a:lnTo>
                    <a:lnTo>
                      <a:pt x="417" y="480"/>
                    </a:lnTo>
                    <a:cubicBezTo>
                      <a:pt x="435" y="466"/>
                      <a:pt x="430" y="447"/>
                      <a:pt x="416" y="429"/>
                    </a:cubicBezTo>
                    <a:lnTo>
                      <a:pt x="342" y="330"/>
                    </a:lnTo>
                    <a:lnTo>
                      <a:pt x="324" y="343"/>
                    </a:lnTo>
                    <a:lnTo>
                      <a:pt x="261" y="261"/>
                    </a:lnTo>
                    <a:lnTo>
                      <a:pt x="281" y="237"/>
                    </a:lnTo>
                    <a:cubicBezTo>
                      <a:pt x="313" y="263"/>
                      <a:pt x="359" y="259"/>
                      <a:pt x="385" y="229"/>
                    </a:cubicBezTo>
                    <a:lnTo>
                      <a:pt x="434" y="172"/>
                    </a:lnTo>
                    <a:cubicBezTo>
                      <a:pt x="461" y="141"/>
                      <a:pt x="473" y="108"/>
                      <a:pt x="462" y="99"/>
                    </a:cubicBezTo>
                    <a:close/>
                    <a:moveTo>
                      <a:pt x="109" y="443"/>
                    </a:moveTo>
                    <a:cubicBezTo>
                      <a:pt x="100" y="454"/>
                      <a:pt x="84" y="455"/>
                      <a:pt x="73" y="446"/>
                    </a:cubicBezTo>
                    <a:cubicBezTo>
                      <a:pt x="62" y="437"/>
                      <a:pt x="61" y="420"/>
                      <a:pt x="70" y="410"/>
                    </a:cubicBezTo>
                    <a:cubicBezTo>
                      <a:pt x="80" y="399"/>
                      <a:pt x="96" y="398"/>
                      <a:pt x="106" y="407"/>
                    </a:cubicBezTo>
                    <a:cubicBezTo>
                      <a:pt x="117" y="416"/>
                      <a:pt x="118" y="432"/>
                      <a:pt x="109" y="443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/>
                <a:endParaRPr lang="zh-CN" altLang="en-US"/>
              </a:p>
            </p:txBody>
          </p:sp>
        </p:grpSp>
        <p:sp>
          <p:nvSpPr>
            <p:cNvPr id="21" name="iṣ1ídé">
              <a:extLst>
                <a:ext uri="{FF2B5EF4-FFF2-40B4-BE49-F238E27FC236}">
                  <a16:creationId xmlns:a16="http://schemas.microsoft.com/office/drawing/2014/main" id="{49611F25-DF1E-45D1-A9AC-436741E85989}"/>
                </a:ext>
              </a:extLst>
            </p:cNvPr>
            <p:cNvSpPr/>
            <p:nvPr/>
          </p:nvSpPr>
          <p:spPr bwMode="auto">
            <a:xfrm>
              <a:off x="5644224" y="922374"/>
              <a:ext cx="4909894" cy="12980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b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20000"/>
                </a:lnSpc>
                <a:spcBef>
                  <a:spcPct val="0"/>
                </a:spcBef>
              </a:pPr>
              <a:r>
                <a:rPr lang="zh-CN" altLang="en-US" sz="3200" b="1" i="1" dirty="0"/>
                <a:t>肛门镜检查</a:t>
              </a:r>
              <a:endParaRPr lang="en-US" altLang="zh-CN" sz="3200" b="1" i="1" dirty="0"/>
            </a:p>
          </p:txBody>
        </p:sp>
        <p:sp>
          <p:nvSpPr>
            <p:cNvPr id="19" name="îśľiḓê">
              <a:extLst>
                <a:ext uri="{FF2B5EF4-FFF2-40B4-BE49-F238E27FC236}">
                  <a16:creationId xmlns:a16="http://schemas.microsoft.com/office/drawing/2014/main" id="{FE3C7DAE-EC9E-4A73-ABFA-25A9782894A9}"/>
                </a:ext>
              </a:extLst>
            </p:cNvPr>
            <p:cNvSpPr/>
            <p:nvPr/>
          </p:nvSpPr>
          <p:spPr bwMode="auto">
            <a:xfrm>
              <a:off x="6403147" y="2529708"/>
              <a:ext cx="4909894" cy="12980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b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20000"/>
                </a:lnSpc>
                <a:spcBef>
                  <a:spcPct val="0"/>
                </a:spcBef>
              </a:pPr>
              <a:r>
                <a:rPr lang="en-US" altLang="zh-CN" sz="3200" b="1" i="1" dirty="0"/>
                <a:t>X</a:t>
              </a:r>
              <a:r>
                <a:rPr lang="zh-CN" altLang="en-US" sz="3200" b="1" i="1" dirty="0"/>
                <a:t>线检查</a:t>
              </a:r>
              <a:endParaRPr lang="en-US" altLang="zh-CN" sz="3200" b="1" i="1" dirty="0"/>
            </a:p>
          </p:txBody>
        </p:sp>
        <p:sp>
          <p:nvSpPr>
            <p:cNvPr id="17" name="iṡ1íde">
              <a:extLst>
                <a:ext uri="{FF2B5EF4-FFF2-40B4-BE49-F238E27FC236}">
                  <a16:creationId xmlns:a16="http://schemas.microsoft.com/office/drawing/2014/main" id="{0CAAAA1F-74C5-4381-BE90-55F19F4ABA89}"/>
                </a:ext>
              </a:extLst>
            </p:cNvPr>
            <p:cNvSpPr/>
            <p:nvPr/>
          </p:nvSpPr>
          <p:spPr bwMode="auto">
            <a:xfrm>
              <a:off x="5644224" y="4137043"/>
              <a:ext cx="4909894" cy="12980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b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20000"/>
                </a:lnSpc>
                <a:spcBef>
                  <a:spcPct val="0"/>
                </a:spcBef>
              </a:pPr>
              <a:r>
                <a:rPr lang="en-US" altLang="zh-CN" sz="3200" b="1" i="1" dirty="0"/>
                <a:t>MRI</a:t>
              </a:r>
              <a:r>
                <a:rPr lang="zh-CN" altLang="en-US" sz="3200" b="1" i="1" dirty="0"/>
                <a:t>扫描</a:t>
              </a:r>
              <a:endParaRPr lang="en-US" altLang="zh-CN" sz="3200" b="1" i="1" dirty="0"/>
            </a:p>
          </p:txBody>
        </p:sp>
        <p:cxnSp>
          <p:nvCxnSpPr>
            <p:cNvPr id="13" name="直接连接符 12">
              <a:extLst>
                <a:ext uri="{FF2B5EF4-FFF2-40B4-BE49-F238E27FC236}">
                  <a16:creationId xmlns:a16="http://schemas.microsoft.com/office/drawing/2014/main" id="{2042C74D-E973-4659-8C87-E83E9DC74168}"/>
                </a:ext>
              </a:extLst>
            </p:cNvPr>
            <p:cNvCxnSpPr/>
            <p:nvPr/>
          </p:nvCxnSpPr>
          <p:spPr>
            <a:xfrm>
              <a:off x="5198560" y="2429996"/>
              <a:ext cx="6320340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直接连接符 13">
              <a:extLst>
                <a:ext uri="{FF2B5EF4-FFF2-40B4-BE49-F238E27FC236}">
                  <a16:creationId xmlns:a16="http://schemas.microsoft.com/office/drawing/2014/main" id="{B1DD6157-0DC0-4C87-9E91-378A18A3C7AC}"/>
                </a:ext>
              </a:extLst>
            </p:cNvPr>
            <p:cNvCxnSpPr/>
            <p:nvPr/>
          </p:nvCxnSpPr>
          <p:spPr>
            <a:xfrm>
              <a:off x="5970085" y="4037330"/>
              <a:ext cx="5548815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直接连接符 14">
              <a:extLst>
                <a:ext uri="{FF2B5EF4-FFF2-40B4-BE49-F238E27FC236}">
                  <a16:creationId xmlns:a16="http://schemas.microsoft.com/office/drawing/2014/main" id="{3AC31DED-90DF-41DD-B76C-7E1A7629467B}"/>
                </a:ext>
              </a:extLst>
            </p:cNvPr>
            <p:cNvCxnSpPr/>
            <p:nvPr/>
          </p:nvCxnSpPr>
          <p:spPr>
            <a:xfrm>
              <a:off x="5198560" y="5644665"/>
              <a:ext cx="6320340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345408687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框 2">
            <a:extLst>
              <a:ext uri="{FF2B5EF4-FFF2-40B4-BE49-F238E27FC236}">
                <a16:creationId xmlns:a16="http://schemas.microsoft.com/office/drawing/2014/main" id="{9B60BF93-EA8A-46AD-9628-FAD9C828F3E8}"/>
              </a:ext>
            </a:extLst>
          </p:cNvPr>
          <p:cNvSpPr txBox="1"/>
          <p:nvPr/>
        </p:nvSpPr>
        <p:spPr>
          <a:xfrm>
            <a:off x="669925" y="422414"/>
            <a:ext cx="5454503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4000" b="1" dirty="0"/>
              <a:t>处理原则</a:t>
            </a:r>
          </a:p>
        </p:txBody>
      </p:sp>
      <p:pic>
        <p:nvPicPr>
          <p:cNvPr id="2" name="图片 1">
            <a:extLst>
              <a:ext uri="{FF2B5EF4-FFF2-40B4-BE49-F238E27FC236}">
                <a16:creationId xmlns:a16="http://schemas.microsoft.com/office/drawing/2014/main" id="{0C6387F1-31C0-4769-A3DA-C3E10E3A448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8418" y="1722475"/>
            <a:ext cx="4040007" cy="3721395"/>
          </a:xfrm>
          <a:prstGeom prst="rect">
            <a:avLst/>
          </a:prstGeom>
        </p:spPr>
      </p:pic>
      <p:pic>
        <p:nvPicPr>
          <p:cNvPr id="4" name="图片 3">
            <a:extLst>
              <a:ext uri="{FF2B5EF4-FFF2-40B4-BE49-F238E27FC236}">
                <a16:creationId xmlns:a16="http://schemas.microsoft.com/office/drawing/2014/main" id="{A82C5A00-8327-48F7-B736-B0EB8C18D59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13673" y="1828800"/>
            <a:ext cx="7361997" cy="3654324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5" name="文本框 4">
            <a:extLst>
              <a:ext uri="{FF2B5EF4-FFF2-40B4-BE49-F238E27FC236}">
                <a16:creationId xmlns:a16="http://schemas.microsoft.com/office/drawing/2014/main" id="{C9B3BAEF-4BC8-42BF-A0AE-62DE175AB1FD}"/>
              </a:ext>
            </a:extLst>
          </p:cNvPr>
          <p:cNvSpPr txBox="1"/>
          <p:nvPr/>
        </p:nvSpPr>
        <p:spPr>
          <a:xfrm>
            <a:off x="6985591" y="5655688"/>
            <a:ext cx="387025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3200" dirty="0"/>
              <a:t>肛瘘挂线治疗</a:t>
            </a:r>
          </a:p>
        </p:txBody>
      </p:sp>
    </p:spTree>
    <p:extLst>
      <p:ext uri="{BB962C8B-B14F-4D97-AF65-F5344CB8AC3E}">
        <p14:creationId xmlns:p14="http://schemas.microsoft.com/office/powerpoint/2010/main" val="1291095915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框 2">
            <a:extLst>
              <a:ext uri="{FF2B5EF4-FFF2-40B4-BE49-F238E27FC236}">
                <a16:creationId xmlns:a16="http://schemas.microsoft.com/office/drawing/2014/main" id="{9B60BF93-EA8A-46AD-9628-FAD9C828F3E8}"/>
              </a:ext>
            </a:extLst>
          </p:cNvPr>
          <p:cNvSpPr txBox="1"/>
          <p:nvPr/>
        </p:nvSpPr>
        <p:spPr>
          <a:xfrm>
            <a:off x="669925" y="422414"/>
            <a:ext cx="5454503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4000" b="1" dirty="0"/>
              <a:t>常见护理诊断</a:t>
            </a:r>
            <a:r>
              <a:rPr lang="en-US" altLang="zh-CN" sz="4000" b="1" dirty="0"/>
              <a:t>/</a:t>
            </a:r>
            <a:r>
              <a:rPr lang="zh-CN" altLang="en-US" sz="4000" b="1" dirty="0"/>
              <a:t>问题</a:t>
            </a:r>
          </a:p>
        </p:txBody>
      </p:sp>
      <p:grpSp>
        <p:nvGrpSpPr>
          <p:cNvPr id="4" name="2254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A70782F2-0871-4E26-825F-5F570AF3486C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669925" y="837037"/>
            <a:ext cx="10850563" cy="5534154"/>
            <a:chOff x="668338" y="1674719"/>
            <a:chExt cx="10850563" cy="5534154"/>
          </a:xfrm>
        </p:grpSpPr>
        <p:cxnSp>
          <p:nvCxnSpPr>
            <p:cNvPr id="5" name="直接连接符 4">
              <a:extLst>
                <a:ext uri="{FF2B5EF4-FFF2-40B4-BE49-F238E27FC236}">
                  <a16:creationId xmlns:a16="http://schemas.microsoft.com/office/drawing/2014/main" id="{A54B734D-3134-4742-BEB8-D8B058187621}"/>
                </a:ext>
              </a:extLst>
            </p:cNvPr>
            <p:cNvCxnSpPr/>
            <p:nvPr/>
          </p:nvCxnSpPr>
          <p:spPr>
            <a:xfrm>
              <a:off x="669925" y="4484802"/>
              <a:ext cx="10848976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6" name="îşlíḓé">
              <a:extLst>
                <a:ext uri="{FF2B5EF4-FFF2-40B4-BE49-F238E27FC236}">
                  <a16:creationId xmlns:a16="http://schemas.microsoft.com/office/drawing/2014/main" id="{B10E3AC7-CCE3-4746-9F3F-02D4617E1237}"/>
                </a:ext>
              </a:extLst>
            </p:cNvPr>
            <p:cNvGrpSpPr/>
            <p:nvPr/>
          </p:nvGrpSpPr>
          <p:grpSpPr>
            <a:xfrm>
              <a:off x="668338" y="3921124"/>
              <a:ext cx="3204707" cy="2947508"/>
              <a:chOff x="772327" y="3921124"/>
              <a:chExt cx="1597026" cy="2947508"/>
            </a:xfrm>
          </p:grpSpPr>
          <p:sp>
            <p:nvSpPr>
              <p:cNvPr id="24" name="ïşľíḓê">
                <a:extLst>
                  <a:ext uri="{FF2B5EF4-FFF2-40B4-BE49-F238E27FC236}">
                    <a16:creationId xmlns:a16="http://schemas.microsoft.com/office/drawing/2014/main" id="{E64E146A-C141-4C1E-9096-DEF0F8947958}"/>
                  </a:ext>
                </a:extLst>
              </p:cNvPr>
              <p:cNvSpPr/>
              <p:nvPr/>
            </p:nvSpPr>
            <p:spPr>
              <a:xfrm>
                <a:off x="772327" y="4858088"/>
                <a:ext cx="1597026" cy="2010544"/>
              </a:xfrm>
              <a:prstGeom prst="rect">
                <a:avLst/>
              </a:prstGeom>
              <a:no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t" anchorCtr="0" forceAA="0" compatLnSpc="1">
                <a:normAutofit/>
              </a:bodyPr>
              <a:lstStyle/>
              <a:p>
                <a:pPr algn="ctr">
                  <a:lnSpc>
                    <a:spcPct val="150000"/>
                  </a:lnSpc>
                </a:pPr>
                <a:endParaRPr lang="en-US" altLang="zh-CN" sz="2400" dirty="0">
                  <a:solidFill>
                    <a:schemeClr val="tx1"/>
                  </a:solidFill>
                </a:endParaRPr>
              </a:p>
              <a:p>
                <a:pPr algn="ctr">
                  <a:lnSpc>
                    <a:spcPct val="150000"/>
                  </a:lnSpc>
                </a:pPr>
                <a:r>
                  <a:rPr lang="zh-CN" altLang="en-US" sz="3200" dirty="0">
                    <a:solidFill>
                      <a:schemeClr val="tx1"/>
                    </a:solidFill>
                  </a:rPr>
                  <a:t>与感染有关</a:t>
                </a:r>
              </a:p>
            </p:txBody>
          </p:sp>
          <p:sp>
            <p:nvSpPr>
              <p:cNvPr id="25" name="ïśļiḑè">
                <a:extLst>
                  <a:ext uri="{FF2B5EF4-FFF2-40B4-BE49-F238E27FC236}">
                    <a16:creationId xmlns:a16="http://schemas.microsoft.com/office/drawing/2014/main" id="{1EC24C63-A144-4090-868D-D622BCD37120}"/>
                  </a:ext>
                </a:extLst>
              </p:cNvPr>
              <p:cNvSpPr/>
              <p:nvPr/>
            </p:nvSpPr>
            <p:spPr>
              <a:xfrm>
                <a:off x="974724" y="3921124"/>
                <a:ext cx="1196976" cy="762230"/>
              </a:xfrm>
              <a:prstGeom prst="rect">
                <a:avLst/>
              </a:prstGeom>
              <a:solidFill>
                <a:schemeClr val="accent1"/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anchor="ctr">
                <a:noAutofit/>
              </a:bodyPr>
              <a:lstStyle/>
              <a:p>
                <a:pPr algn="ctr" defTabSz="914378">
                  <a:defRPr/>
                </a:pPr>
                <a:r>
                  <a:rPr lang="zh-CN" altLang="en-US" sz="3200" b="1" dirty="0">
                    <a:solidFill>
                      <a:schemeClr val="bg1"/>
                    </a:solidFill>
                  </a:rPr>
                  <a:t>疼 痛</a:t>
                </a:r>
              </a:p>
            </p:txBody>
          </p:sp>
        </p:grpSp>
        <p:grpSp>
          <p:nvGrpSpPr>
            <p:cNvPr id="7" name="ïSliḍê">
              <a:extLst>
                <a:ext uri="{FF2B5EF4-FFF2-40B4-BE49-F238E27FC236}">
                  <a16:creationId xmlns:a16="http://schemas.microsoft.com/office/drawing/2014/main" id="{D0715EBC-2290-475A-9163-EB110216A911}"/>
                </a:ext>
              </a:extLst>
            </p:cNvPr>
            <p:cNvGrpSpPr/>
            <p:nvPr/>
          </p:nvGrpSpPr>
          <p:grpSpPr>
            <a:xfrm>
              <a:off x="4493648" y="3942390"/>
              <a:ext cx="3204707" cy="3032567"/>
              <a:chOff x="774700" y="3942390"/>
              <a:chExt cx="1597026" cy="3032567"/>
            </a:xfrm>
          </p:grpSpPr>
          <p:sp>
            <p:nvSpPr>
              <p:cNvPr id="22" name="î$ļíďe">
                <a:extLst>
                  <a:ext uri="{FF2B5EF4-FFF2-40B4-BE49-F238E27FC236}">
                    <a16:creationId xmlns:a16="http://schemas.microsoft.com/office/drawing/2014/main" id="{B0AC697C-7538-4B0B-AA36-CEA2C876107D}"/>
                  </a:ext>
                </a:extLst>
              </p:cNvPr>
              <p:cNvSpPr/>
              <p:nvPr/>
            </p:nvSpPr>
            <p:spPr>
              <a:xfrm>
                <a:off x="774700" y="4964413"/>
                <a:ext cx="1597026" cy="2010544"/>
              </a:xfrm>
              <a:prstGeom prst="rect">
                <a:avLst/>
              </a:prstGeom>
              <a:no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t" anchorCtr="0" forceAA="0" compatLnSpc="1">
                <a:normAutofit/>
              </a:bodyPr>
              <a:lstStyle/>
              <a:p>
                <a:pPr algn="ctr">
                  <a:lnSpc>
                    <a:spcPct val="150000"/>
                  </a:lnSpc>
                </a:pPr>
                <a:r>
                  <a:rPr lang="zh-CN" altLang="en-US" sz="3200" dirty="0">
                    <a:solidFill>
                      <a:schemeClr val="tx1"/>
                    </a:solidFill>
                  </a:rPr>
                  <a:t>与肛周皮肤</a:t>
                </a:r>
                <a:endParaRPr lang="en-US" altLang="zh-CN" sz="3200" dirty="0">
                  <a:solidFill>
                    <a:schemeClr val="tx1"/>
                  </a:solidFill>
                </a:endParaRPr>
              </a:p>
              <a:p>
                <a:pPr algn="ctr">
                  <a:lnSpc>
                    <a:spcPct val="150000"/>
                  </a:lnSpc>
                </a:pPr>
                <a:r>
                  <a:rPr lang="zh-CN" altLang="en-US" sz="3200" dirty="0">
                    <a:solidFill>
                      <a:schemeClr val="tx1"/>
                    </a:solidFill>
                  </a:rPr>
                  <a:t>瘙痒、溃破有关</a:t>
                </a:r>
              </a:p>
            </p:txBody>
          </p:sp>
          <p:sp>
            <p:nvSpPr>
              <p:cNvPr id="23" name="íŝḷíḍè">
                <a:extLst>
                  <a:ext uri="{FF2B5EF4-FFF2-40B4-BE49-F238E27FC236}">
                    <a16:creationId xmlns:a16="http://schemas.microsoft.com/office/drawing/2014/main" id="{E902C51C-3083-4E93-AFE5-8C3909AA44CF}"/>
                  </a:ext>
                </a:extLst>
              </p:cNvPr>
              <p:cNvSpPr/>
              <p:nvPr/>
            </p:nvSpPr>
            <p:spPr>
              <a:xfrm>
                <a:off x="818255" y="3942390"/>
                <a:ext cx="1517704" cy="783495"/>
              </a:xfrm>
              <a:prstGeom prst="rect">
                <a:avLst/>
              </a:prstGeom>
              <a:solidFill>
                <a:schemeClr val="accent2"/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anchor="ctr">
                <a:noAutofit/>
              </a:bodyPr>
              <a:lstStyle/>
              <a:p>
                <a:pPr algn="ctr" defTabSz="914378">
                  <a:defRPr/>
                </a:pPr>
                <a:r>
                  <a:rPr lang="zh-CN" altLang="en-US" sz="3200" b="1" dirty="0">
                    <a:solidFill>
                      <a:schemeClr val="tx1"/>
                    </a:solidFill>
                  </a:rPr>
                  <a:t>皮肤完整性受损</a:t>
                </a:r>
              </a:p>
            </p:txBody>
          </p:sp>
        </p:grpSp>
        <p:grpSp>
          <p:nvGrpSpPr>
            <p:cNvPr id="8" name="íṧľïḑe">
              <a:extLst>
                <a:ext uri="{FF2B5EF4-FFF2-40B4-BE49-F238E27FC236}">
                  <a16:creationId xmlns:a16="http://schemas.microsoft.com/office/drawing/2014/main" id="{25973DA3-A74F-46E4-A66C-C42B94DB64BC}"/>
                </a:ext>
              </a:extLst>
            </p:cNvPr>
            <p:cNvGrpSpPr/>
            <p:nvPr/>
          </p:nvGrpSpPr>
          <p:grpSpPr>
            <a:xfrm>
              <a:off x="8314193" y="3878594"/>
              <a:ext cx="3204707" cy="3330279"/>
              <a:chOff x="774700" y="3878594"/>
              <a:chExt cx="1597026" cy="3330279"/>
            </a:xfrm>
          </p:grpSpPr>
          <p:sp>
            <p:nvSpPr>
              <p:cNvPr id="20" name="îṡḷiḍe">
                <a:extLst>
                  <a:ext uri="{FF2B5EF4-FFF2-40B4-BE49-F238E27FC236}">
                    <a16:creationId xmlns:a16="http://schemas.microsoft.com/office/drawing/2014/main" id="{709DD22A-FA47-436D-9BE7-E1A31AA5FD80}"/>
                  </a:ext>
                </a:extLst>
              </p:cNvPr>
              <p:cNvSpPr/>
              <p:nvPr/>
            </p:nvSpPr>
            <p:spPr>
              <a:xfrm>
                <a:off x="774700" y="4953780"/>
                <a:ext cx="1597026" cy="2255093"/>
              </a:xfrm>
              <a:prstGeom prst="rect">
                <a:avLst/>
              </a:prstGeom>
              <a:no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t" anchorCtr="0" forceAA="0" compatLnSpc="1">
                <a:normAutofit/>
              </a:bodyPr>
              <a:lstStyle/>
              <a:p>
                <a:pPr algn="ctr">
                  <a:lnSpc>
                    <a:spcPct val="150000"/>
                  </a:lnSpc>
                </a:pPr>
                <a:r>
                  <a:rPr lang="zh-CN" altLang="en-US" sz="3200" dirty="0">
                    <a:solidFill>
                      <a:schemeClr val="tx1"/>
                    </a:solidFill>
                  </a:rPr>
                  <a:t>伤口感染</a:t>
                </a:r>
                <a:endParaRPr lang="en-US" altLang="zh-CN" sz="3200" dirty="0">
                  <a:solidFill>
                    <a:schemeClr val="tx1"/>
                  </a:solidFill>
                </a:endParaRPr>
              </a:p>
              <a:p>
                <a:pPr algn="ctr">
                  <a:lnSpc>
                    <a:spcPct val="150000"/>
                  </a:lnSpc>
                </a:pPr>
                <a:r>
                  <a:rPr lang="zh-CN" altLang="en-US" sz="3200" dirty="0">
                    <a:solidFill>
                      <a:schemeClr val="tx1"/>
                    </a:solidFill>
                  </a:rPr>
                  <a:t>肛门失禁</a:t>
                </a:r>
                <a:endParaRPr lang="en-US" altLang="zh-CN" sz="3200" dirty="0">
                  <a:solidFill>
                    <a:schemeClr val="tx1"/>
                  </a:solidFill>
                </a:endParaRPr>
              </a:p>
              <a:p>
                <a:pPr algn="ctr">
                  <a:lnSpc>
                    <a:spcPct val="150000"/>
                  </a:lnSpc>
                </a:pPr>
                <a:r>
                  <a:rPr lang="zh-CN" altLang="en-US" sz="3200" dirty="0">
                    <a:solidFill>
                      <a:schemeClr val="tx1"/>
                    </a:solidFill>
                  </a:rPr>
                  <a:t>肛门狭窄</a:t>
                </a:r>
              </a:p>
            </p:txBody>
          </p:sp>
          <p:sp>
            <p:nvSpPr>
              <p:cNvPr id="21" name="îš1íḋe">
                <a:extLst>
                  <a:ext uri="{FF2B5EF4-FFF2-40B4-BE49-F238E27FC236}">
                    <a16:creationId xmlns:a16="http://schemas.microsoft.com/office/drawing/2014/main" id="{E624DF70-7D8B-40E0-B1E6-7003026BDB9F}"/>
                  </a:ext>
                </a:extLst>
              </p:cNvPr>
              <p:cNvSpPr/>
              <p:nvPr/>
            </p:nvSpPr>
            <p:spPr>
              <a:xfrm>
                <a:off x="974724" y="3878594"/>
                <a:ext cx="1196976" cy="804760"/>
              </a:xfrm>
              <a:prstGeom prst="rect">
                <a:avLst/>
              </a:prstGeom>
              <a:solidFill>
                <a:schemeClr val="accent1"/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anchor="ctr">
                <a:normAutofit/>
              </a:bodyPr>
              <a:lstStyle/>
              <a:p>
                <a:pPr algn="ctr" defTabSz="914378">
                  <a:defRPr/>
                </a:pPr>
                <a:r>
                  <a:rPr lang="zh-CN" altLang="en-US" sz="3200" b="1" dirty="0">
                    <a:solidFill>
                      <a:schemeClr val="bg1"/>
                    </a:solidFill>
                  </a:rPr>
                  <a:t>潜在并发症</a:t>
                </a:r>
              </a:p>
            </p:txBody>
          </p:sp>
        </p:grpSp>
        <p:grpSp>
          <p:nvGrpSpPr>
            <p:cNvPr id="9" name="ï$lîḑê">
              <a:extLst>
                <a:ext uri="{FF2B5EF4-FFF2-40B4-BE49-F238E27FC236}">
                  <a16:creationId xmlns:a16="http://schemas.microsoft.com/office/drawing/2014/main" id="{D09B10A3-9600-48F4-88CD-D8E763FC597C}"/>
                </a:ext>
              </a:extLst>
            </p:cNvPr>
            <p:cNvGrpSpPr/>
            <p:nvPr/>
          </p:nvGrpSpPr>
          <p:grpSpPr>
            <a:xfrm>
              <a:off x="3579568" y="1674719"/>
              <a:ext cx="5032865" cy="1808776"/>
              <a:chOff x="2535138" y="1674719"/>
              <a:chExt cx="5032865" cy="1808776"/>
            </a:xfrm>
          </p:grpSpPr>
          <p:sp>
            <p:nvSpPr>
              <p:cNvPr id="10" name="íšļïḍè">
                <a:extLst>
                  <a:ext uri="{FF2B5EF4-FFF2-40B4-BE49-F238E27FC236}">
                    <a16:creationId xmlns:a16="http://schemas.microsoft.com/office/drawing/2014/main" id="{61FF1AB4-0898-4F4D-85C4-D3BB535F4AC7}"/>
                  </a:ext>
                </a:extLst>
              </p:cNvPr>
              <p:cNvSpPr/>
              <p:nvPr/>
            </p:nvSpPr>
            <p:spPr>
              <a:xfrm>
                <a:off x="6677383" y="1674719"/>
                <a:ext cx="890620" cy="1485824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220" h="21386" extrusionOk="0">
                    <a:moveTo>
                      <a:pt x="3629" y="0"/>
                    </a:moveTo>
                    <a:cubicBezTo>
                      <a:pt x="2700" y="0"/>
                      <a:pt x="1772" y="213"/>
                      <a:pt x="1063" y="641"/>
                    </a:cubicBezTo>
                    <a:cubicBezTo>
                      <a:pt x="-354" y="1497"/>
                      <a:pt x="-354" y="2884"/>
                      <a:pt x="1063" y="3740"/>
                    </a:cubicBezTo>
                    <a:lnTo>
                      <a:pt x="12572" y="10692"/>
                    </a:lnTo>
                    <a:lnTo>
                      <a:pt x="1063" y="17644"/>
                    </a:lnTo>
                    <a:cubicBezTo>
                      <a:pt x="-354" y="18501"/>
                      <a:pt x="-354" y="19888"/>
                      <a:pt x="1063" y="20744"/>
                    </a:cubicBezTo>
                    <a:cubicBezTo>
                      <a:pt x="2481" y="21600"/>
                      <a:pt x="4776" y="21600"/>
                      <a:pt x="6194" y="20744"/>
                    </a:cubicBezTo>
                    <a:lnTo>
                      <a:pt x="20164" y="12304"/>
                    </a:lnTo>
                    <a:cubicBezTo>
                      <a:pt x="20899" y="11860"/>
                      <a:pt x="21246" y="11274"/>
                      <a:pt x="21219" y="10692"/>
                    </a:cubicBezTo>
                    <a:cubicBezTo>
                      <a:pt x="21246" y="10111"/>
                      <a:pt x="20899" y="9524"/>
                      <a:pt x="20164" y="9081"/>
                    </a:cubicBezTo>
                    <a:lnTo>
                      <a:pt x="6194" y="641"/>
                    </a:lnTo>
                    <a:cubicBezTo>
                      <a:pt x="5485" y="213"/>
                      <a:pt x="4557" y="0"/>
                      <a:pt x="3629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/>
              </a:p>
            </p:txBody>
          </p:sp>
          <p:sp>
            <p:nvSpPr>
              <p:cNvPr id="11" name="íŝ1iďê">
                <a:extLst>
                  <a:ext uri="{FF2B5EF4-FFF2-40B4-BE49-F238E27FC236}">
                    <a16:creationId xmlns:a16="http://schemas.microsoft.com/office/drawing/2014/main" id="{75145C31-C4C7-420F-8FB2-D93C12E91AAA}"/>
                  </a:ext>
                </a:extLst>
              </p:cNvPr>
              <p:cNvSpPr/>
              <p:nvPr/>
            </p:nvSpPr>
            <p:spPr>
              <a:xfrm>
                <a:off x="4958593" y="2257864"/>
                <a:ext cx="2321323" cy="319533"/>
              </a:xfrm>
              <a:prstGeom prst="roundRect">
                <a:avLst>
                  <a:gd name="adj" fmla="val 50000"/>
                </a:avLst>
              </a:prstGeom>
              <a:solidFill>
                <a:schemeClr val="accent1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91440" tIns="45720" rIns="91440" bIns="45720" anchor="ctr">
                <a:normAutofit fontScale="62500" lnSpcReduction="20000"/>
              </a:bodyPr>
              <a:lstStyle/>
              <a:p>
                <a:pPr algn="ctr"/>
                <a:endParaRPr/>
              </a:p>
            </p:txBody>
          </p:sp>
          <p:sp>
            <p:nvSpPr>
              <p:cNvPr id="12" name="í$liḍé">
                <a:extLst>
                  <a:ext uri="{FF2B5EF4-FFF2-40B4-BE49-F238E27FC236}">
                    <a16:creationId xmlns:a16="http://schemas.microsoft.com/office/drawing/2014/main" id="{1482918E-E610-4451-A63D-8BA18F5BE35E}"/>
                  </a:ext>
                </a:extLst>
              </p:cNvPr>
              <p:cNvSpPr/>
              <p:nvPr/>
            </p:nvSpPr>
            <p:spPr>
              <a:xfrm>
                <a:off x="7002308" y="2297321"/>
                <a:ext cx="240771" cy="240618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9680" h="20595" extrusionOk="0">
                    <a:moveTo>
                      <a:pt x="9827" y="0"/>
                    </a:moveTo>
                    <a:cubicBezTo>
                      <a:pt x="7311" y="0"/>
                      <a:pt x="4799" y="992"/>
                      <a:pt x="2879" y="3002"/>
                    </a:cubicBezTo>
                    <a:cubicBezTo>
                      <a:pt x="-960" y="7022"/>
                      <a:pt x="-960" y="13559"/>
                      <a:pt x="2879" y="17580"/>
                    </a:cubicBezTo>
                    <a:cubicBezTo>
                      <a:pt x="6719" y="21600"/>
                      <a:pt x="12961" y="21600"/>
                      <a:pt x="16801" y="17580"/>
                    </a:cubicBezTo>
                    <a:cubicBezTo>
                      <a:pt x="20640" y="13559"/>
                      <a:pt x="20640" y="7022"/>
                      <a:pt x="16801" y="3002"/>
                    </a:cubicBezTo>
                    <a:cubicBezTo>
                      <a:pt x="14881" y="992"/>
                      <a:pt x="12343" y="0"/>
                      <a:pt x="9827" y="0"/>
                    </a:cubicBezTo>
                    <a:close/>
                    <a:moveTo>
                      <a:pt x="9827" y="3435"/>
                    </a:moveTo>
                    <a:cubicBezTo>
                      <a:pt x="11504" y="3435"/>
                      <a:pt x="13196" y="4096"/>
                      <a:pt x="14476" y="5436"/>
                    </a:cubicBezTo>
                    <a:cubicBezTo>
                      <a:pt x="17036" y="8116"/>
                      <a:pt x="17036" y="12465"/>
                      <a:pt x="14476" y="15146"/>
                    </a:cubicBezTo>
                    <a:cubicBezTo>
                      <a:pt x="11917" y="17826"/>
                      <a:pt x="7763" y="17826"/>
                      <a:pt x="5204" y="15146"/>
                    </a:cubicBezTo>
                    <a:cubicBezTo>
                      <a:pt x="2644" y="12465"/>
                      <a:pt x="2644" y="8116"/>
                      <a:pt x="5204" y="5436"/>
                    </a:cubicBezTo>
                    <a:cubicBezTo>
                      <a:pt x="6484" y="4096"/>
                      <a:pt x="8150" y="3435"/>
                      <a:pt x="9827" y="3435"/>
                    </a:cubicBezTo>
                    <a:close/>
                    <a:moveTo>
                      <a:pt x="9827" y="6870"/>
                    </a:moveTo>
                    <a:cubicBezTo>
                      <a:pt x="8988" y="6870"/>
                      <a:pt x="8168" y="7200"/>
                      <a:pt x="7528" y="7870"/>
                    </a:cubicBezTo>
                    <a:cubicBezTo>
                      <a:pt x="6249" y="9210"/>
                      <a:pt x="6249" y="11371"/>
                      <a:pt x="7528" y="12711"/>
                    </a:cubicBezTo>
                    <a:cubicBezTo>
                      <a:pt x="8808" y="14052"/>
                      <a:pt x="10872" y="14052"/>
                      <a:pt x="12152" y="12711"/>
                    </a:cubicBezTo>
                    <a:cubicBezTo>
                      <a:pt x="13431" y="11371"/>
                      <a:pt x="13431" y="9210"/>
                      <a:pt x="12152" y="7870"/>
                    </a:cubicBezTo>
                    <a:cubicBezTo>
                      <a:pt x="11512" y="7200"/>
                      <a:pt x="10666" y="6870"/>
                      <a:pt x="9827" y="6870"/>
                    </a:cubicBezTo>
                    <a:close/>
                  </a:path>
                </a:pathLst>
              </a:custGeom>
              <a:solidFill>
                <a:srgbClr val="FFFFFF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91440" tIns="45720" rIns="91440" bIns="45720" anchor="ctr">
                <a:normAutofit fontScale="62500" lnSpcReduction="20000"/>
              </a:bodyPr>
              <a:lstStyle/>
              <a:p>
                <a:pPr algn="ctr"/>
                <a:endParaRPr/>
              </a:p>
            </p:txBody>
          </p:sp>
          <p:sp>
            <p:nvSpPr>
              <p:cNvPr id="13" name="iṡļïḑè">
                <a:extLst>
                  <a:ext uri="{FF2B5EF4-FFF2-40B4-BE49-F238E27FC236}">
                    <a16:creationId xmlns:a16="http://schemas.microsoft.com/office/drawing/2014/main" id="{08DEADF1-83C4-4A80-9CF8-85C4802702A2}"/>
                  </a:ext>
                </a:extLst>
              </p:cNvPr>
              <p:cNvSpPr/>
              <p:nvPr/>
            </p:nvSpPr>
            <p:spPr>
              <a:xfrm>
                <a:off x="5355008" y="2304734"/>
                <a:ext cx="723862" cy="213812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="" xmlns:lc="http://schemas.openxmlformats.org/drawingml/2006/lockedCanvas" xmlns:p14="http://schemas.microsoft.com/office/powerpoint/2010/main" xmlns:ma14="http://schemas.microsoft.com/office/mac/drawingml/2011/main" xmlns:a16="http://schemas.microsoft.com/office/drawing/2014/main" val="1"/>
                </a:ext>
              </a:extLst>
            </p:spPr>
            <p:txBody>
              <a:bodyPr wrap="square" lIns="91440" tIns="45720" rIns="91440" bIns="45720" anchor="ctr">
                <a:normAutofit fontScale="92500"/>
              </a:bodyPr>
              <a:lstStyle/>
              <a:p>
                <a:endParaRPr lang="en-US" altLang="zh-CN" sz="9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4" name="išḻíḑê">
                <a:extLst>
                  <a:ext uri="{FF2B5EF4-FFF2-40B4-BE49-F238E27FC236}">
                    <a16:creationId xmlns:a16="http://schemas.microsoft.com/office/drawing/2014/main" id="{14E92FDD-C93C-42DA-B082-069B255F3E6C}"/>
                  </a:ext>
                </a:extLst>
              </p:cNvPr>
              <p:cNvSpPr/>
              <p:nvPr/>
            </p:nvSpPr>
            <p:spPr>
              <a:xfrm rot="19200000">
                <a:off x="3657933" y="2731577"/>
                <a:ext cx="1778138" cy="319532"/>
              </a:xfrm>
              <a:prstGeom prst="roundRect">
                <a:avLst>
                  <a:gd name="adj" fmla="val 50000"/>
                </a:avLst>
              </a:prstGeom>
              <a:solidFill>
                <a:schemeClr val="accent2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91440" tIns="45720" rIns="91440" bIns="45720" anchor="ctr">
                <a:normAutofit fontScale="62500" lnSpcReduction="20000"/>
              </a:bodyPr>
              <a:lstStyle/>
              <a:p>
                <a:pPr algn="ctr"/>
                <a:endParaRPr/>
              </a:p>
            </p:txBody>
          </p:sp>
          <p:sp>
            <p:nvSpPr>
              <p:cNvPr id="15" name="íś1íďê">
                <a:extLst>
                  <a:ext uri="{FF2B5EF4-FFF2-40B4-BE49-F238E27FC236}">
                    <a16:creationId xmlns:a16="http://schemas.microsoft.com/office/drawing/2014/main" id="{BD180A19-FB36-4424-9D4B-08BD7349B043}"/>
                  </a:ext>
                </a:extLst>
              </p:cNvPr>
              <p:cNvSpPr/>
              <p:nvPr/>
            </p:nvSpPr>
            <p:spPr>
              <a:xfrm>
                <a:off x="4992941" y="2296323"/>
                <a:ext cx="240771" cy="240617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9680" h="20595" extrusionOk="0">
                    <a:moveTo>
                      <a:pt x="9827" y="0"/>
                    </a:moveTo>
                    <a:cubicBezTo>
                      <a:pt x="7311" y="0"/>
                      <a:pt x="4799" y="992"/>
                      <a:pt x="2879" y="3002"/>
                    </a:cubicBezTo>
                    <a:cubicBezTo>
                      <a:pt x="-960" y="7022"/>
                      <a:pt x="-960" y="13559"/>
                      <a:pt x="2879" y="17580"/>
                    </a:cubicBezTo>
                    <a:cubicBezTo>
                      <a:pt x="6719" y="21600"/>
                      <a:pt x="12961" y="21600"/>
                      <a:pt x="16801" y="17580"/>
                    </a:cubicBezTo>
                    <a:cubicBezTo>
                      <a:pt x="20640" y="13559"/>
                      <a:pt x="20640" y="7022"/>
                      <a:pt x="16801" y="3002"/>
                    </a:cubicBezTo>
                    <a:cubicBezTo>
                      <a:pt x="14881" y="992"/>
                      <a:pt x="12343" y="0"/>
                      <a:pt x="9827" y="0"/>
                    </a:cubicBezTo>
                    <a:close/>
                    <a:moveTo>
                      <a:pt x="9827" y="3435"/>
                    </a:moveTo>
                    <a:cubicBezTo>
                      <a:pt x="11504" y="3435"/>
                      <a:pt x="13196" y="4096"/>
                      <a:pt x="14476" y="5436"/>
                    </a:cubicBezTo>
                    <a:cubicBezTo>
                      <a:pt x="17036" y="8116"/>
                      <a:pt x="17036" y="12465"/>
                      <a:pt x="14476" y="15146"/>
                    </a:cubicBezTo>
                    <a:cubicBezTo>
                      <a:pt x="11917" y="17826"/>
                      <a:pt x="7763" y="17826"/>
                      <a:pt x="5204" y="15146"/>
                    </a:cubicBezTo>
                    <a:cubicBezTo>
                      <a:pt x="2644" y="12465"/>
                      <a:pt x="2644" y="8116"/>
                      <a:pt x="5204" y="5436"/>
                    </a:cubicBezTo>
                    <a:cubicBezTo>
                      <a:pt x="6484" y="4096"/>
                      <a:pt x="8150" y="3435"/>
                      <a:pt x="9827" y="3435"/>
                    </a:cubicBezTo>
                    <a:close/>
                    <a:moveTo>
                      <a:pt x="9827" y="6870"/>
                    </a:moveTo>
                    <a:cubicBezTo>
                      <a:pt x="8988" y="6870"/>
                      <a:pt x="8168" y="7200"/>
                      <a:pt x="7528" y="7870"/>
                    </a:cubicBezTo>
                    <a:cubicBezTo>
                      <a:pt x="6249" y="9210"/>
                      <a:pt x="6249" y="11371"/>
                      <a:pt x="7528" y="12711"/>
                    </a:cubicBezTo>
                    <a:cubicBezTo>
                      <a:pt x="8808" y="14052"/>
                      <a:pt x="10872" y="14052"/>
                      <a:pt x="12152" y="12711"/>
                    </a:cubicBezTo>
                    <a:cubicBezTo>
                      <a:pt x="13431" y="11371"/>
                      <a:pt x="13431" y="9210"/>
                      <a:pt x="12152" y="7870"/>
                    </a:cubicBezTo>
                    <a:cubicBezTo>
                      <a:pt x="11512" y="7200"/>
                      <a:pt x="10666" y="6870"/>
                      <a:pt x="9827" y="6870"/>
                    </a:cubicBezTo>
                    <a:close/>
                  </a:path>
                </a:pathLst>
              </a:custGeom>
              <a:solidFill>
                <a:srgbClr val="FFFFFF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91440" tIns="45720" rIns="91440" bIns="45720" anchor="ctr">
                <a:normAutofit fontScale="62500" lnSpcReduction="20000"/>
              </a:bodyPr>
              <a:lstStyle/>
              <a:p>
                <a:pPr algn="ctr"/>
                <a:endParaRPr/>
              </a:p>
            </p:txBody>
          </p:sp>
          <p:sp>
            <p:nvSpPr>
              <p:cNvPr id="16" name="îṥlíďé">
                <a:extLst>
                  <a:ext uri="{FF2B5EF4-FFF2-40B4-BE49-F238E27FC236}">
                    <a16:creationId xmlns:a16="http://schemas.microsoft.com/office/drawing/2014/main" id="{ADA6B3C2-5D04-4AD5-A2D9-C4BED0227553}"/>
                  </a:ext>
                </a:extLst>
              </p:cNvPr>
              <p:cNvSpPr/>
              <p:nvPr/>
            </p:nvSpPr>
            <p:spPr>
              <a:xfrm rot="19200000">
                <a:off x="4080013" y="2861596"/>
                <a:ext cx="723862" cy="213812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="" xmlns:lc="http://schemas.openxmlformats.org/drawingml/2006/lockedCanvas" xmlns:p14="http://schemas.microsoft.com/office/powerpoint/2010/main" xmlns:ma14="http://schemas.microsoft.com/office/mac/drawingml/2011/main" xmlns:a16="http://schemas.microsoft.com/office/drawing/2014/main" val="1"/>
                </a:ext>
              </a:extLst>
            </p:spPr>
            <p:txBody>
              <a:bodyPr wrap="square" lIns="91440" tIns="45720" rIns="91440" bIns="45720" anchor="ctr">
                <a:normAutofit fontScale="92500"/>
              </a:bodyPr>
              <a:lstStyle/>
              <a:p>
                <a:endParaRPr lang="en-US" altLang="zh-CN" sz="9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7" name="íṥľïḑe">
                <a:extLst>
                  <a:ext uri="{FF2B5EF4-FFF2-40B4-BE49-F238E27FC236}">
                    <a16:creationId xmlns:a16="http://schemas.microsoft.com/office/drawing/2014/main" id="{FDAD5173-706F-4420-8D13-037D6F762E34}"/>
                  </a:ext>
                </a:extLst>
              </p:cNvPr>
              <p:cNvSpPr/>
              <p:nvPr/>
            </p:nvSpPr>
            <p:spPr>
              <a:xfrm rot="2400000">
                <a:off x="2535138" y="2731578"/>
                <a:ext cx="1778137" cy="319532"/>
              </a:xfrm>
              <a:prstGeom prst="roundRect">
                <a:avLst>
                  <a:gd name="adj" fmla="val 50000"/>
                </a:avLst>
              </a:prstGeom>
              <a:solidFill>
                <a:schemeClr val="accent1">
                  <a:lumMod val="100000"/>
                </a:schemeClr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91440" tIns="45720" rIns="91440" bIns="45720" anchor="ctr">
                <a:normAutofit fontScale="62500" lnSpcReduction="20000"/>
              </a:bodyPr>
              <a:lstStyle/>
              <a:p>
                <a:pPr algn="ctr"/>
                <a:endParaRPr/>
              </a:p>
            </p:txBody>
          </p:sp>
          <p:sp>
            <p:nvSpPr>
              <p:cNvPr id="18" name="ïṣľîḋê">
                <a:extLst>
                  <a:ext uri="{FF2B5EF4-FFF2-40B4-BE49-F238E27FC236}">
                    <a16:creationId xmlns:a16="http://schemas.microsoft.com/office/drawing/2014/main" id="{141A5F9D-89FF-492A-A92C-CF063E8B2F88}"/>
                  </a:ext>
                </a:extLst>
              </p:cNvPr>
              <p:cNvSpPr/>
              <p:nvPr/>
            </p:nvSpPr>
            <p:spPr>
              <a:xfrm>
                <a:off x="4694062" y="3242879"/>
                <a:ext cx="303491" cy="240616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9680" h="20595" extrusionOk="0">
                    <a:moveTo>
                      <a:pt x="9827" y="0"/>
                    </a:moveTo>
                    <a:cubicBezTo>
                      <a:pt x="7311" y="0"/>
                      <a:pt x="4799" y="992"/>
                      <a:pt x="2879" y="3002"/>
                    </a:cubicBezTo>
                    <a:cubicBezTo>
                      <a:pt x="-960" y="7022"/>
                      <a:pt x="-960" y="13559"/>
                      <a:pt x="2879" y="17580"/>
                    </a:cubicBezTo>
                    <a:cubicBezTo>
                      <a:pt x="6719" y="21600"/>
                      <a:pt x="12961" y="21600"/>
                      <a:pt x="16801" y="17580"/>
                    </a:cubicBezTo>
                    <a:cubicBezTo>
                      <a:pt x="20640" y="13559"/>
                      <a:pt x="20640" y="7022"/>
                      <a:pt x="16801" y="3002"/>
                    </a:cubicBezTo>
                    <a:cubicBezTo>
                      <a:pt x="14881" y="992"/>
                      <a:pt x="12343" y="0"/>
                      <a:pt x="9827" y="0"/>
                    </a:cubicBezTo>
                    <a:close/>
                    <a:moveTo>
                      <a:pt x="9827" y="3435"/>
                    </a:moveTo>
                    <a:cubicBezTo>
                      <a:pt x="11504" y="3435"/>
                      <a:pt x="13196" y="4096"/>
                      <a:pt x="14476" y="5436"/>
                    </a:cubicBezTo>
                    <a:cubicBezTo>
                      <a:pt x="17036" y="8116"/>
                      <a:pt x="17036" y="12465"/>
                      <a:pt x="14476" y="15146"/>
                    </a:cubicBezTo>
                    <a:cubicBezTo>
                      <a:pt x="11917" y="17826"/>
                      <a:pt x="7763" y="17826"/>
                      <a:pt x="5204" y="15146"/>
                    </a:cubicBezTo>
                    <a:cubicBezTo>
                      <a:pt x="2644" y="12465"/>
                      <a:pt x="2644" y="8116"/>
                      <a:pt x="5204" y="5436"/>
                    </a:cubicBezTo>
                    <a:cubicBezTo>
                      <a:pt x="6484" y="4096"/>
                      <a:pt x="8150" y="3435"/>
                      <a:pt x="9827" y="3435"/>
                    </a:cubicBezTo>
                    <a:close/>
                    <a:moveTo>
                      <a:pt x="9827" y="6870"/>
                    </a:moveTo>
                    <a:cubicBezTo>
                      <a:pt x="8988" y="6870"/>
                      <a:pt x="8168" y="7200"/>
                      <a:pt x="7528" y="7870"/>
                    </a:cubicBezTo>
                    <a:cubicBezTo>
                      <a:pt x="6249" y="9210"/>
                      <a:pt x="6249" y="11371"/>
                      <a:pt x="7528" y="12711"/>
                    </a:cubicBezTo>
                    <a:cubicBezTo>
                      <a:pt x="8808" y="14052"/>
                      <a:pt x="10872" y="14052"/>
                      <a:pt x="12152" y="12711"/>
                    </a:cubicBezTo>
                    <a:cubicBezTo>
                      <a:pt x="13431" y="11371"/>
                      <a:pt x="13431" y="9210"/>
                      <a:pt x="12152" y="7870"/>
                    </a:cubicBezTo>
                    <a:cubicBezTo>
                      <a:pt x="11512" y="7200"/>
                      <a:pt x="10666" y="6870"/>
                      <a:pt x="9827" y="6870"/>
                    </a:cubicBezTo>
                    <a:close/>
                  </a:path>
                </a:pathLst>
              </a:custGeom>
              <a:solidFill>
                <a:srgbClr val="FFFFFF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91440" tIns="45720" rIns="91440" bIns="45720" anchor="ctr">
                <a:normAutofit fontScale="62500" lnSpcReduction="20000"/>
              </a:bodyPr>
              <a:lstStyle/>
              <a:p>
                <a:pPr algn="ctr"/>
                <a:endParaRPr/>
              </a:p>
            </p:txBody>
          </p:sp>
          <p:sp>
            <p:nvSpPr>
              <p:cNvPr id="19" name="íṥliďé">
                <a:extLst>
                  <a:ext uri="{FF2B5EF4-FFF2-40B4-BE49-F238E27FC236}">
                    <a16:creationId xmlns:a16="http://schemas.microsoft.com/office/drawing/2014/main" id="{1F6D6A51-8339-4C3C-952C-5A7B8E2DE6B1}"/>
                  </a:ext>
                </a:extLst>
              </p:cNvPr>
              <p:cNvSpPr/>
              <p:nvPr/>
            </p:nvSpPr>
            <p:spPr>
              <a:xfrm rot="2400000">
                <a:off x="2793298" y="2539772"/>
                <a:ext cx="723862" cy="213812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="" xmlns:lc="http://schemas.openxmlformats.org/drawingml/2006/lockedCanvas" xmlns:p14="http://schemas.microsoft.com/office/powerpoint/2010/main" xmlns:ma14="http://schemas.microsoft.com/office/mac/drawingml/2011/main" xmlns:a16="http://schemas.microsoft.com/office/drawing/2014/main" val="1"/>
                </a:ext>
              </a:extLst>
            </p:spPr>
            <p:txBody>
              <a:bodyPr wrap="square" lIns="91440" tIns="45720" rIns="91440" bIns="45720" anchor="ctr">
                <a:normAutofit fontScale="92500"/>
              </a:bodyPr>
              <a:lstStyle/>
              <a:p>
                <a:endParaRPr lang="en-US" altLang="zh-CN" sz="900" b="1" dirty="0">
                  <a:solidFill>
                    <a:schemeClr val="bg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172200037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框 2">
            <a:extLst>
              <a:ext uri="{FF2B5EF4-FFF2-40B4-BE49-F238E27FC236}">
                <a16:creationId xmlns:a16="http://schemas.microsoft.com/office/drawing/2014/main" id="{9B60BF93-EA8A-46AD-9628-FAD9C828F3E8}"/>
              </a:ext>
            </a:extLst>
          </p:cNvPr>
          <p:cNvSpPr txBox="1"/>
          <p:nvPr/>
        </p:nvSpPr>
        <p:spPr>
          <a:xfrm>
            <a:off x="669925" y="422414"/>
            <a:ext cx="5454503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4000" b="1" dirty="0"/>
              <a:t>护理措施</a:t>
            </a:r>
          </a:p>
        </p:txBody>
      </p:sp>
      <p:grpSp>
        <p:nvGrpSpPr>
          <p:cNvPr id="4" name="2650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05121EB7-9C32-4A06-8F28-518E8A36249F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543715" y="1765005"/>
            <a:ext cx="11962379" cy="4953244"/>
            <a:chOff x="1500645" y="1764350"/>
            <a:chExt cx="9190709" cy="3805583"/>
          </a:xfrm>
        </p:grpSpPr>
        <p:cxnSp>
          <p:nvCxnSpPr>
            <p:cNvPr id="5" name="直接连接符 4">
              <a:extLst>
                <a:ext uri="{FF2B5EF4-FFF2-40B4-BE49-F238E27FC236}">
                  <a16:creationId xmlns:a16="http://schemas.microsoft.com/office/drawing/2014/main" id="{44B12948-F160-4B1E-B89C-5251D38E1C2D}"/>
                </a:ext>
              </a:extLst>
            </p:cNvPr>
            <p:cNvCxnSpPr>
              <a:cxnSpLocks/>
            </p:cNvCxnSpPr>
            <p:nvPr/>
          </p:nvCxnSpPr>
          <p:spPr>
            <a:xfrm>
              <a:off x="2217958" y="2600844"/>
              <a:ext cx="868403" cy="685457"/>
            </a:xfrm>
            <a:prstGeom prst="line">
              <a:avLst/>
            </a:prstGeom>
            <a:ln w="3175">
              <a:solidFill>
                <a:schemeClr val="bg1">
                  <a:lumMod val="65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直接连接符 5">
              <a:extLst>
                <a:ext uri="{FF2B5EF4-FFF2-40B4-BE49-F238E27FC236}">
                  <a16:creationId xmlns:a16="http://schemas.microsoft.com/office/drawing/2014/main" id="{EFF9E2CD-3CE6-4DDD-B187-1E230F28015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680603" y="2232797"/>
              <a:ext cx="2075814" cy="1053503"/>
            </a:xfrm>
            <a:prstGeom prst="line">
              <a:avLst/>
            </a:prstGeom>
            <a:ln w="3175">
              <a:solidFill>
                <a:schemeClr val="bg1">
                  <a:lumMod val="65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直接连接符 6">
              <a:extLst>
                <a:ext uri="{FF2B5EF4-FFF2-40B4-BE49-F238E27FC236}">
                  <a16:creationId xmlns:a16="http://schemas.microsoft.com/office/drawing/2014/main" id="{1381CAEF-CA3B-44AD-A4C9-7DD816824B7F}"/>
                </a:ext>
              </a:extLst>
            </p:cNvPr>
            <p:cNvCxnSpPr>
              <a:cxnSpLocks/>
            </p:cNvCxnSpPr>
            <p:nvPr/>
          </p:nvCxnSpPr>
          <p:spPr>
            <a:xfrm>
              <a:off x="6473730" y="2529918"/>
              <a:ext cx="1147516" cy="735609"/>
            </a:xfrm>
            <a:prstGeom prst="line">
              <a:avLst/>
            </a:prstGeom>
            <a:ln w="3175">
              <a:solidFill>
                <a:schemeClr val="bg1">
                  <a:lumMod val="65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直接连接符 7">
              <a:extLst>
                <a:ext uri="{FF2B5EF4-FFF2-40B4-BE49-F238E27FC236}">
                  <a16:creationId xmlns:a16="http://schemas.microsoft.com/office/drawing/2014/main" id="{9AE215F4-725B-4CC4-ACC9-CA0BDB97D6DA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660878" y="3932688"/>
              <a:ext cx="2207337" cy="796861"/>
            </a:xfrm>
            <a:prstGeom prst="line">
              <a:avLst/>
            </a:prstGeom>
            <a:ln w="3175">
              <a:solidFill>
                <a:schemeClr val="bg1">
                  <a:lumMod val="65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9" name="iṥ1ïḑê">
              <a:extLst>
                <a:ext uri="{FF2B5EF4-FFF2-40B4-BE49-F238E27FC236}">
                  <a16:creationId xmlns:a16="http://schemas.microsoft.com/office/drawing/2014/main" id="{45B482FA-0F7E-4047-A7C2-537B7A49EEB4}"/>
                </a:ext>
              </a:extLst>
            </p:cNvPr>
            <p:cNvGrpSpPr/>
            <p:nvPr/>
          </p:nvGrpSpPr>
          <p:grpSpPr>
            <a:xfrm>
              <a:off x="7448024" y="3092305"/>
              <a:ext cx="840384" cy="840384"/>
              <a:chOff x="7720362" y="3133879"/>
              <a:chExt cx="1206795" cy="1206795"/>
            </a:xfrm>
          </p:grpSpPr>
          <p:sp>
            <p:nvSpPr>
              <p:cNvPr id="45" name="íš1iďè">
                <a:extLst>
                  <a:ext uri="{FF2B5EF4-FFF2-40B4-BE49-F238E27FC236}">
                    <a16:creationId xmlns:a16="http://schemas.microsoft.com/office/drawing/2014/main" id="{CFA3696E-65AC-4B6B-83D7-0D6750625268}"/>
                  </a:ext>
                </a:extLst>
              </p:cNvPr>
              <p:cNvSpPr/>
              <p:nvPr/>
            </p:nvSpPr>
            <p:spPr>
              <a:xfrm>
                <a:off x="7720362" y="3133879"/>
                <a:ext cx="1206795" cy="1206795"/>
              </a:xfrm>
              <a:prstGeom prst="ellipse">
                <a:avLst/>
              </a:prstGeom>
              <a:solidFill>
                <a:schemeClr val="accent4">
                  <a:alpha val="7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/>
              </a:p>
            </p:txBody>
          </p:sp>
          <p:sp>
            <p:nvSpPr>
              <p:cNvPr id="46" name="îṡḷîḓê">
                <a:extLst>
                  <a:ext uri="{FF2B5EF4-FFF2-40B4-BE49-F238E27FC236}">
                    <a16:creationId xmlns:a16="http://schemas.microsoft.com/office/drawing/2014/main" id="{2C09951F-8D95-4DA5-A053-EEE271089555}"/>
                  </a:ext>
                </a:extLst>
              </p:cNvPr>
              <p:cNvSpPr/>
              <p:nvPr/>
            </p:nvSpPr>
            <p:spPr>
              <a:xfrm>
                <a:off x="7822210" y="3235727"/>
                <a:ext cx="1003098" cy="1003098"/>
              </a:xfrm>
              <a:prstGeom prst="ellipse">
                <a:avLst/>
              </a:prstGeom>
              <a:solidFill>
                <a:schemeClr val="accent4">
                  <a:alpha val="7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/>
              </a:p>
            </p:txBody>
          </p:sp>
          <p:sp>
            <p:nvSpPr>
              <p:cNvPr id="47" name="íşḷïdé">
                <a:extLst>
                  <a:ext uri="{FF2B5EF4-FFF2-40B4-BE49-F238E27FC236}">
                    <a16:creationId xmlns:a16="http://schemas.microsoft.com/office/drawing/2014/main" id="{4C673702-C263-451D-A6BE-C62FB9372745}"/>
                  </a:ext>
                </a:extLst>
              </p:cNvPr>
              <p:cNvSpPr/>
              <p:nvPr/>
            </p:nvSpPr>
            <p:spPr>
              <a:xfrm>
                <a:off x="7939255" y="3352772"/>
                <a:ext cx="769009" cy="769009"/>
              </a:xfrm>
              <a:prstGeom prst="ellipse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 dirty="0"/>
              </a:p>
            </p:txBody>
          </p:sp>
          <p:sp>
            <p:nvSpPr>
              <p:cNvPr id="48" name="iṣlîdè">
                <a:extLst>
                  <a:ext uri="{FF2B5EF4-FFF2-40B4-BE49-F238E27FC236}">
                    <a16:creationId xmlns:a16="http://schemas.microsoft.com/office/drawing/2014/main" id="{1C75FCE8-B96F-48C0-8EE0-58A2D6110740}"/>
                  </a:ext>
                </a:extLst>
              </p:cNvPr>
              <p:cNvSpPr/>
              <p:nvPr/>
            </p:nvSpPr>
            <p:spPr bwMode="auto">
              <a:xfrm>
                <a:off x="8165805" y="3546750"/>
                <a:ext cx="315908" cy="381053"/>
              </a:xfrm>
              <a:custGeom>
                <a:avLst/>
                <a:gdLst>
                  <a:gd name="connsiteX0" fmla="*/ 97409 w 421152"/>
                  <a:gd name="connsiteY0" fmla="*/ 433798 h 508000"/>
                  <a:gd name="connsiteX1" fmla="*/ 80219 w 421152"/>
                  <a:gd name="connsiteY1" fmla="*/ 450922 h 508000"/>
                  <a:gd name="connsiteX2" fmla="*/ 97409 w 421152"/>
                  <a:gd name="connsiteY2" fmla="*/ 465191 h 508000"/>
                  <a:gd name="connsiteX3" fmla="*/ 312283 w 421152"/>
                  <a:gd name="connsiteY3" fmla="*/ 465191 h 508000"/>
                  <a:gd name="connsiteX4" fmla="*/ 326608 w 421152"/>
                  <a:gd name="connsiteY4" fmla="*/ 450922 h 508000"/>
                  <a:gd name="connsiteX5" fmla="*/ 312283 w 421152"/>
                  <a:gd name="connsiteY5" fmla="*/ 433798 h 508000"/>
                  <a:gd name="connsiteX6" fmla="*/ 97409 w 421152"/>
                  <a:gd name="connsiteY6" fmla="*/ 433798 h 508000"/>
                  <a:gd name="connsiteX7" fmla="*/ 51570 w 421152"/>
                  <a:gd name="connsiteY7" fmla="*/ 333910 h 508000"/>
                  <a:gd name="connsiteX8" fmla="*/ 25785 w 421152"/>
                  <a:gd name="connsiteY8" fmla="*/ 362450 h 508000"/>
                  <a:gd name="connsiteX9" fmla="*/ 25785 w 421152"/>
                  <a:gd name="connsiteY9" fmla="*/ 419528 h 508000"/>
                  <a:gd name="connsiteX10" fmla="*/ 42975 w 421152"/>
                  <a:gd name="connsiteY10" fmla="*/ 419528 h 508000"/>
                  <a:gd name="connsiteX11" fmla="*/ 42975 w 421152"/>
                  <a:gd name="connsiteY11" fmla="*/ 396697 h 508000"/>
                  <a:gd name="connsiteX12" fmla="*/ 68760 w 421152"/>
                  <a:gd name="connsiteY12" fmla="*/ 371011 h 508000"/>
                  <a:gd name="connsiteX13" fmla="*/ 352393 w 421152"/>
                  <a:gd name="connsiteY13" fmla="*/ 371011 h 508000"/>
                  <a:gd name="connsiteX14" fmla="*/ 375312 w 421152"/>
                  <a:gd name="connsiteY14" fmla="*/ 396697 h 508000"/>
                  <a:gd name="connsiteX15" fmla="*/ 375312 w 421152"/>
                  <a:gd name="connsiteY15" fmla="*/ 419528 h 508000"/>
                  <a:gd name="connsiteX16" fmla="*/ 383907 w 421152"/>
                  <a:gd name="connsiteY16" fmla="*/ 419528 h 508000"/>
                  <a:gd name="connsiteX17" fmla="*/ 395367 w 421152"/>
                  <a:gd name="connsiteY17" fmla="*/ 388135 h 508000"/>
                  <a:gd name="connsiteX18" fmla="*/ 395367 w 421152"/>
                  <a:gd name="connsiteY18" fmla="*/ 362450 h 508000"/>
                  <a:gd name="connsiteX19" fmla="*/ 369582 w 421152"/>
                  <a:gd name="connsiteY19" fmla="*/ 333910 h 508000"/>
                  <a:gd name="connsiteX20" fmla="*/ 51570 w 421152"/>
                  <a:gd name="connsiteY20" fmla="*/ 333910 h 508000"/>
                  <a:gd name="connsiteX21" fmla="*/ 108332 w 421152"/>
                  <a:gd name="connsiteY21" fmla="*/ 133246 h 508000"/>
                  <a:gd name="connsiteX22" fmla="*/ 323527 w 421152"/>
                  <a:gd name="connsiteY22" fmla="*/ 133246 h 508000"/>
                  <a:gd name="connsiteX23" fmla="*/ 337873 w 421152"/>
                  <a:gd name="connsiteY23" fmla="*/ 147523 h 508000"/>
                  <a:gd name="connsiteX24" fmla="*/ 323527 w 421152"/>
                  <a:gd name="connsiteY24" fmla="*/ 161799 h 508000"/>
                  <a:gd name="connsiteX25" fmla="*/ 108332 w 421152"/>
                  <a:gd name="connsiteY25" fmla="*/ 161799 h 508000"/>
                  <a:gd name="connsiteX26" fmla="*/ 93986 w 421152"/>
                  <a:gd name="connsiteY26" fmla="*/ 147523 h 508000"/>
                  <a:gd name="connsiteX27" fmla="*/ 108332 w 421152"/>
                  <a:gd name="connsiteY27" fmla="*/ 133246 h 508000"/>
                  <a:gd name="connsiteX28" fmla="*/ 68760 w 421152"/>
                  <a:gd name="connsiteY28" fmla="*/ 79910 h 508000"/>
                  <a:gd name="connsiteX29" fmla="*/ 40110 w 421152"/>
                  <a:gd name="connsiteY29" fmla="*/ 108450 h 508000"/>
                  <a:gd name="connsiteX30" fmla="*/ 40110 w 421152"/>
                  <a:gd name="connsiteY30" fmla="*/ 205483 h 508000"/>
                  <a:gd name="connsiteX31" fmla="*/ 68760 w 421152"/>
                  <a:gd name="connsiteY31" fmla="*/ 236877 h 508000"/>
                  <a:gd name="connsiteX32" fmla="*/ 346663 w 421152"/>
                  <a:gd name="connsiteY32" fmla="*/ 236877 h 508000"/>
                  <a:gd name="connsiteX33" fmla="*/ 378177 w 421152"/>
                  <a:gd name="connsiteY33" fmla="*/ 205483 h 508000"/>
                  <a:gd name="connsiteX34" fmla="*/ 378177 w 421152"/>
                  <a:gd name="connsiteY34" fmla="*/ 108450 h 508000"/>
                  <a:gd name="connsiteX35" fmla="*/ 346663 w 421152"/>
                  <a:gd name="connsiteY35" fmla="*/ 79910 h 508000"/>
                  <a:gd name="connsiteX36" fmla="*/ 68760 w 421152"/>
                  <a:gd name="connsiteY36" fmla="*/ 79910 h 508000"/>
                  <a:gd name="connsiteX37" fmla="*/ 83084 w 421152"/>
                  <a:gd name="connsiteY37" fmla="*/ 0 h 508000"/>
                  <a:gd name="connsiteX38" fmla="*/ 332338 w 421152"/>
                  <a:gd name="connsiteY38" fmla="*/ 0 h 508000"/>
                  <a:gd name="connsiteX39" fmla="*/ 386772 w 421152"/>
                  <a:gd name="connsiteY39" fmla="*/ 19978 h 508000"/>
                  <a:gd name="connsiteX40" fmla="*/ 398232 w 421152"/>
                  <a:gd name="connsiteY40" fmla="*/ 28540 h 508000"/>
                  <a:gd name="connsiteX41" fmla="*/ 421152 w 421152"/>
                  <a:gd name="connsiteY41" fmla="*/ 77056 h 508000"/>
                  <a:gd name="connsiteX42" fmla="*/ 421152 w 421152"/>
                  <a:gd name="connsiteY42" fmla="*/ 413820 h 508000"/>
                  <a:gd name="connsiteX43" fmla="*/ 398232 w 421152"/>
                  <a:gd name="connsiteY43" fmla="*/ 442360 h 508000"/>
                  <a:gd name="connsiteX44" fmla="*/ 375312 w 421152"/>
                  <a:gd name="connsiteY44" fmla="*/ 442360 h 508000"/>
                  <a:gd name="connsiteX45" fmla="*/ 375312 w 421152"/>
                  <a:gd name="connsiteY45" fmla="*/ 476607 h 508000"/>
                  <a:gd name="connsiteX46" fmla="*/ 343798 w 421152"/>
                  <a:gd name="connsiteY46" fmla="*/ 508000 h 508000"/>
                  <a:gd name="connsiteX47" fmla="*/ 71625 w 421152"/>
                  <a:gd name="connsiteY47" fmla="*/ 508000 h 508000"/>
                  <a:gd name="connsiteX48" fmla="*/ 42975 w 421152"/>
                  <a:gd name="connsiteY48" fmla="*/ 476607 h 508000"/>
                  <a:gd name="connsiteX49" fmla="*/ 42975 w 421152"/>
                  <a:gd name="connsiteY49" fmla="*/ 442360 h 508000"/>
                  <a:gd name="connsiteX50" fmla="*/ 20055 w 421152"/>
                  <a:gd name="connsiteY50" fmla="*/ 442360 h 508000"/>
                  <a:gd name="connsiteX51" fmla="*/ 0 w 421152"/>
                  <a:gd name="connsiteY51" fmla="*/ 413820 h 508000"/>
                  <a:gd name="connsiteX52" fmla="*/ 0 w 421152"/>
                  <a:gd name="connsiteY52" fmla="*/ 77056 h 508000"/>
                  <a:gd name="connsiteX53" fmla="*/ 22920 w 421152"/>
                  <a:gd name="connsiteY53" fmla="*/ 25686 h 508000"/>
                  <a:gd name="connsiteX54" fmla="*/ 28650 w 421152"/>
                  <a:gd name="connsiteY54" fmla="*/ 19978 h 508000"/>
                  <a:gd name="connsiteX55" fmla="*/ 83084 w 421152"/>
                  <a:gd name="connsiteY55" fmla="*/ 0 h 50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</a:cxnLst>
                <a:rect l="l" t="t" r="r" b="b"/>
                <a:pathLst>
                  <a:path w="421152" h="508000">
                    <a:moveTo>
                      <a:pt x="97409" y="433798"/>
                    </a:moveTo>
                    <a:cubicBezTo>
                      <a:pt x="88814" y="433798"/>
                      <a:pt x="80219" y="442360"/>
                      <a:pt x="80219" y="450922"/>
                    </a:cubicBezTo>
                    <a:cubicBezTo>
                      <a:pt x="80219" y="459483"/>
                      <a:pt x="88814" y="465191"/>
                      <a:pt x="97409" y="465191"/>
                    </a:cubicBezTo>
                    <a:cubicBezTo>
                      <a:pt x="97409" y="465191"/>
                      <a:pt x="97409" y="465191"/>
                      <a:pt x="312283" y="465191"/>
                    </a:cubicBezTo>
                    <a:cubicBezTo>
                      <a:pt x="320878" y="465191"/>
                      <a:pt x="326608" y="459483"/>
                      <a:pt x="326608" y="450922"/>
                    </a:cubicBezTo>
                    <a:cubicBezTo>
                      <a:pt x="326608" y="442360"/>
                      <a:pt x="320878" y="433798"/>
                      <a:pt x="312283" y="433798"/>
                    </a:cubicBezTo>
                    <a:cubicBezTo>
                      <a:pt x="312283" y="433798"/>
                      <a:pt x="312283" y="433798"/>
                      <a:pt x="97409" y="433798"/>
                    </a:cubicBezTo>
                    <a:close/>
                    <a:moveTo>
                      <a:pt x="51570" y="333910"/>
                    </a:moveTo>
                    <a:cubicBezTo>
                      <a:pt x="37245" y="333910"/>
                      <a:pt x="25785" y="348180"/>
                      <a:pt x="25785" y="362450"/>
                    </a:cubicBezTo>
                    <a:cubicBezTo>
                      <a:pt x="25785" y="362450"/>
                      <a:pt x="25785" y="362450"/>
                      <a:pt x="25785" y="419528"/>
                    </a:cubicBezTo>
                    <a:cubicBezTo>
                      <a:pt x="25785" y="419528"/>
                      <a:pt x="25785" y="419528"/>
                      <a:pt x="42975" y="419528"/>
                    </a:cubicBezTo>
                    <a:cubicBezTo>
                      <a:pt x="42975" y="419528"/>
                      <a:pt x="42975" y="419528"/>
                      <a:pt x="42975" y="396697"/>
                    </a:cubicBezTo>
                    <a:cubicBezTo>
                      <a:pt x="42975" y="382427"/>
                      <a:pt x="54435" y="371011"/>
                      <a:pt x="68760" y="371011"/>
                    </a:cubicBezTo>
                    <a:cubicBezTo>
                      <a:pt x="68760" y="371011"/>
                      <a:pt x="68760" y="371011"/>
                      <a:pt x="352393" y="371011"/>
                    </a:cubicBezTo>
                    <a:cubicBezTo>
                      <a:pt x="363852" y="371011"/>
                      <a:pt x="375312" y="382427"/>
                      <a:pt x="375312" y="396697"/>
                    </a:cubicBezTo>
                    <a:cubicBezTo>
                      <a:pt x="375312" y="396697"/>
                      <a:pt x="375312" y="396697"/>
                      <a:pt x="375312" y="419528"/>
                    </a:cubicBezTo>
                    <a:cubicBezTo>
                      <a:pt x="375312" y="419528"/>
                      <a:pt x="375312" y="419528"/>
                      <a:pt x="383907" y="419528"/>
                    </a:cubicBezTo>
                    <a:cubicBezTo>
                      <a:pt x="389637" y="419528"/>
                      <a:pt x="395367" y="405259"/>
                      <a:pt x="395367" y="388135"/>
                    </a:cubicBezTo>
                    <a:lnTo>
                      <a:pt x="395367" y="362450"/>
                    </a:lnTo>
                    <a:cubicBezTo>
                      <a:pt x="395367" y="348180"/>
                      <a:pt x="383907" y="333910"/>
                      <a:pt x="369582" y="333910"/>
                    </a:cubicBezTo>
                    <a:cubicBezTo>
                      <a:pt x="369582" y="333910"/>
                      <a:pt x="369582" y="333910"/>
                      <a:pt x="51570" y="333910"/>
                    </a:cubicBezTo>
                    <a:close/>
                    <a:moveTo>
                      <a:pt x="108332" y="133246"/>
                    </a:moveTo>
                    <a:cubicBezTo>
                      <a:pt x="108332" y="133246"/>
                      <a:pt x="108332" y="133246"/>
                      <a:pt x="323527" y="133246"/>
                    </a:cubicBezTo>
                    <a:cubicBezTo>
                      <a:pt x="332135" y="133246"/>
                      <a:pt x="337873" y="138957"/>
                      <a:pt x="337873" y="147523"/>
                    </a:cubicBezTo>
                    <a:cubicBezTo>
                      <a:pt x="337873" y="156089"/>
                      <a:pt x="332135" y="161799"/>
                      <a:pt x="323527" y="161799"/>
                    </a:cubicBezTo>
                    <a:cubicBezTo>
                      <a:pt x="323527" y="161799"/>
                      <a:pt x="323527" y="161799"/>
                      <a:pt x="108332" y="161799"/>
                    </a:cubicBezTo>
                    <a:cubicBezTo>
                      <a:pt x="99725" y="161799"/>
                      <a:pt x="93986" y="156089"/>
                      <a:pt x="93986" y="147523"/>
                    </a:cubicBezTo>
                    <a:cubicBezTo>
                      <a:pt x="93986" y="138957"/>
                      <a:pt x="99725" y="133246"/>
                      <a:pt x="108332" y="133246"/>
                    </a:cubicBezTo>
                    <a:close/>
                    <a:moveTo>
                      <a:pt x="68760" y="79910"/>
                    </a:moveTo>
                    <a:cubicBezTo>
                      <a:pt x="51570" y="79910"/>
                      <a:pt x="40110" y="91326"/>
                      <a:pt x="40110" y="108450"/>
                    </a:cubicBezTo>
                    <a:lnTo>
                      <a:pt x="40110" y="205483"/>
                    </a:lnTo>
                    <a:cubicBezTo>
                      <a:pt x="40110" y="222607"/>
                      <a:pt x="51570" y="236877"/>
                      <a:pt x="68760" y="236877"/>
                    </a:cubicBezTo>
                    <a:cubicBezTo>
                      <a:pt x="68760" y="236877"/>
                      <a:pt x="68760" y="236877"/>
                      <a:pt x="346663" y="236877"/>
                    </a:cubicBezTo>
                    <a:cubicBezTo>
                      <a:pt x="363852" y="236877"/>
                      <a:pt x="378177" y="222607"/>
                      <a:pt x="378177" y="205483"/>
                    </a:cubicBezTo>
                    <a:cubicBezTo>
                      <a:pt x="378177" y="205483"/>
                      <a:pt x="378177" y="205483"/>
                      <a:pt x="378177" y="108450"/>
                    </a:cubicBezTo>
                    <a:cubicBezTo>
                      <a:pt x="378177" y="91326"/>
                      <a:pt x="363852" y="79910"/>
                      <a:pt x="346663" y="79910"/>
                    </a:cubicBezTo>
                    <a:cubicBezTo>
                      <a:pt x="346663" y="79910"/>
                      <a:pt x="346663" y="79910"/>
                      <a:pt x="68760" y="79910"/>
                    </a:cubicBezTo>
                    <a:close/>
                    <a:moveTo>
                      <a:pt x="83084" y="0"/>
                    </a:moveTo>
                    <a:cubicBezTo>
                      <a:pt x="83084" y="0"/>
                      <a:pt x="83084" y="0"/>
                      <a:pt x="332338" y="0"/>
                    </a:cubicBezTo>
                    <a:cubicBezTo>
                      <a:pt x="349528" y="0"/>
                      <a:pt x="375312" y="8562"/>
                      <a:pt x="386772" y="19978"/>
                    </a:cubicBezTo>
                    <a:cubicBezTo>
                      <a:pt x="386772" y="19978"/>
                      <a:pt x="386772" y="19978"/>
                      <a:pt x="398232" y="28540"/>
                    </a:cubicBezTo>
                    <a:cubicBezTo>
                      <a:pt x="409692" y="39955"/>
                      <a:pt x="421152" y="59933"/>
                      <a:pt x="421152" y="77056"/>
                    </a:cubicBezTo>
                    <a:cubicBezTo>
                      <a:pt x="421152" y="77056"/>
                      <a:pt x="421152" y="77056"/>
                      <a:pt x="421152" y="413820"/>
                    </a:cubicBezTo>
                    <a:cubicBezTo>
                      <a:pt x="421152" y="428090"/>
                      <a:pt x="409692" y="442360"/>
                      <a:pt x="398232" y="442360"/>
                    </a:cubicBezTo>
                    <a:cubicBezTo>
                      <a:pt x="398232" y="442360"/>
                      <a:pt x="398232" y="442360"/>
                      <a:pt x="375312" y="442360"/>
                    </a:cubicBezTo>
                    <a:cubicBezTo>
                      <a:pt x="375312" y="442360"/>
                      <a:pt x="375312" y="442360"/>
                      <a:pt x="375312" y="476607"/>
                    </a:cubicBezTo>
                    <a:cubicBezTo>
                      <a:pt x="375312" y="493731"/>
                      <a:pt x="360987" y="508000"/>
                      <a:pt x="343798" y="508000"/>
                    </a:cubicBezTo>
                    <a:cubicBezTo>
                      <a:pt x="343798" y="508000"/>
                      <a:pt x="343798" y="508000"/>
                      <a:pt x="71625" y="508000"/>
                    </a:cubicBezTo>
                    <a:cubicBezTo>
                      <a:pt x="54435" y="508000"/>
                      <a:pt x="42975" y="493731"/>
                      <a:pt x="42975" y="476607"/>
                    </a:cubicBezTo>
                    <a:cubicBezTo>
                      <a:pt x="42975" y="476607"/>
                      <a:pt x="42975" y="476607"/>
                      <a:pt x="42975" y="442360"/>
                    </a:cubicBezTo>
                    <a:cubicBezTo>
                      <a:pt x="42975" y="442360"/>
                      <a:pt x="42975" y="442360"/>
                      <a:pt x="20055" y="442360"/>
                    </a:cubicBezTo>
                    <a:cubicBezTo>
                      <a:pt x="8595" y="442360"/>
                      <a:pt x="0" y="428090"/>
                      <a:pt x="0" y="413820"/>
                    </a:cubicBezTo>
                    <a:cubicBezTo>
                      <a:pt x="0" y="413820"/>
                      <a:pt x="0" y="413820"/>
                      <a:pt x="0" y="77056"/>
                    </a:cubicBezTo>
                    <a:cubicBezTo>
                      <a:pt x="0" y="59933"/>
                      <a:pt x="11460" y="37101"/>
                      <a:pt x="22920" y="25686"/>
                    </a:cubicBezTo>
                    <a:cubicBezTo>
                      <a:pt x="22920" y="25686"/>
                      <a:pt x="22920" y="25686"/>
                      <a:pt x="28650" y="19978"/>
                    </a:cubicBezTo>
                    <a:cubicBezTo>
                      <a:pt x="42975" y="8562"/>
                      <a:pt x="65895" y="0"/>
                      <a:pt x="83084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wrap="square" lIns="91440" tIns="45720" rIns="91440" bIns="45720" anchor="ctr">
                <a:normAutofit fontScale="92500" lnSpcReduction="10000"/>
              </a:bodyPr>
              <a:lstStyle/>
              <a:p>
                <a:pPr algn="ctr"/>
                <a:endParaRPr/>
              </a:p>
            </p:txBody>
          </p:sp>
        </p:grpSp>
        <p:grpSp>
          <p:nvGrpSpPr>
            <p:cNvPr id="10" name="ïŝḷíḋe">
              <a:extLst>
                <a:ext uri="{FF2B5EF4-FFF2-40B4-BE49-F238E27FC236}">
                  <a16:creationId xmlns:a16="http://schemas.microsoft.com/office/drawing/2014/main" id="{A413CACA-ACE0-4345-B888-663BFC275C01}"/>
                </a:ext>
              </a:extLst>
            </p:cNvPr>
            <p:cNvGrpSpPr/>
            <p:nvPr/>
          </p:nvGrpSpPr>
          <p:grpSpPr>
            <a:xfrm>
              <a:off x="5756417" y="1812606"/>
              <a:ext cx="840384" cy="840384"/>
              <a:chOff x="6107518" y="1403868"/>
              <a:chExt cx="1206795" cy="1206795"/>
            </a:xfrm>
          </p:grpSpPr>
          <p:sp>
            <p:nvSpPr>
              <p:cNvPr id="41" name="íṩḻiḋé">
                <a:extLst>
                  <a:ext uri="{FF2B5EF4-FFF2-40B4-BE49-F238E27FC236}">
                    <a16:creationId xmlns:a16="http://schemas.microsoft.com/office/drawing/2014/main" id="{9122A291-D033-4719-B2C2-2315EC8CF8C6}"/>
                  </a:ext>
                </a:extLst>
              </p:cNvPr>
              <p:cNvSpPr/>
              <p:nvPr/>
            </p:nvSpPr>
            <p:spPr>
              <a:xfrm>
                <a:off x="6107518" y="1403868"/>
                <a:ext cx="1206795" cy="1206795"/>
              </a:xfrm>
              <a:prstGeom prst="ellipse">
                <a:avLst/>
              </a:prstGeom>
              <a:solidFill>
                <a:schemeClr val="accent3">
                  <a:alpha val="7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/>
              </a:p>
            </p:txBody>
          </p:sp>
          <p:sp>
            <p:nvSpPr>
              <p:cNvPr id="42" name="íşľídê">
                <a:extLst>
                  <a:ext uri="{FF2B5EF4-FFF2-40B4-BE49-F238E27FC236}">
                    <a16:creationId xmlns:a16="http://schemas.microsoft.com/office/drawing/2014/main" id="{742874B7-C31F-4EB8-A0E1-9F1D5EC8C66D}"/>
                  </a:ext>
                </a:extLst>
              </p:cNvPr>
              <p:cNvSpPr/>
              <p:nvPr/>
            </p:nvSpPr>
            <p:spPr>
              <a:xfrm>
                <a:off x="6209366" y="1505716"/>
                <a:ext cx="1003098" cy="1003098"/>
              </a:xfrm>
              <a:prstGeom prst="ellipse">
                <a:avLst/>
              </a:prstGeom>
              <a:solidFill>
                <a:schemeClr val="accent3">
                  <a:alpha val="7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/>
              </a:p>
            </p:txBody>
          </p:sp>
          <p:sp>
            <p:nvSpPr>
              <p:cNvPr id="43" name="íṣ1ïḑe">
                <a:extLst>
                  <a:ext uri="{FF2B5EF4-FFF2-40B4-BE49-F238E27FC236}">
                    <a16:creationId xmlns:a16="http://schemas.microsoft.com/office/drawing/2014/main" id="{756DA38C-961E-40E4-A145-69C39D483682}"/>
                  </a:ext>
                </a:extLst>
              </p:cNvPr>
              <p:cNvSpPr/>
              <p:nvPr/>
            </p:nvSpPr>
            <p:spPr>
              <a:xfrm>
                <a:off x="6326411" y="1622761"/>
                <a:ext cx="769009" cy="769009"/>
              </a:xfrm>
              <a:prstGeom prst="ellipse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/>
              </a:p>
            </p:txBody>
          </p:sp>
          <p:sp>
            <p:nvSpPr>
              <p:cNvPr id="44" name="iṧḻíḑé">
                <a:extLst>
                  <a:ext uri="{FF2B5EF4-FFF2-40B4-BE49-F238E27FC236}">
                    <a16:creationId xmlns:a16="http://schemas.microsoft.com/office/drawing/2014/main" id="{7098C0EB-4069-4DB9-A81E-6BD72723CDFF}"/>
                  </a:ext>
                </a:extLst>
              </p:cNvPr>
              <p:cNvSpPr/>
              <p:nvPr/>
            </p:nvSpPr>
            <p:spPr bwMode="auto">
              <a:xfrm>
                <a:off x="6542479" y="1816739"/>
                <a:ext cx="336873" cy="381053"/>
              </a:xfrm>
              <a:custGeom>
                <a:avLst/>
                <a:gdLst>
                  <a:gd name="connsiteX0" fmla="*/ 32079 w 449102"/>
                  <a:gd name="connsiteY0" fmla="*/ 355245 h 508000"/>
                  <a:gd name="connsiteX1" fmla="*/ 32079 w 449102"/>
                  <a:gd name="connsiteY1" fmla="*/ 387217 h 508000"/>
                  <a:gd name="connsiteX2" fmla="*/ 60593 w 449102"/>
                  <a:gd name="connsiteY2" fmla="*/ 387217 h 508000"/>
                  <a:gd name="connsiteX3" fmla="*/ 32079 w 449102"/>
                  <a:gd name="connsiteY3" fmla="*/ 355245 h 508000"/>
                  <a:gd name="connsiteX4" fmla="*/ 231680 w 449102"/>
                  <a:gd name="connsiteY4" fmla="*/ 248672 h 508000"/>
                  <a:gd name="connsiteX5" fmla="*/ 213858 w 449102"/>
                  <a:gd name="connsiteY5" fmla="*/ 266434 h 508000"/>
                  <a:gd name="connsiteX6" fmla="*/ 213858 w 449102"/>
                  <a:gd name="connsiteY6" fmla="*/ 284196 h 508000"/>
                  <a:gd name="connsiteX7" fmla="*/ 352866 w 449102"/>
                  <a:gd name="connsiteY7" fmla="*/ 284196 h 508000"/>
                  <a:gd name="connsiteX8" fmla="*/ 370688 w 449102"/>
                  <a:gd name="connsiteY8" fmla="*/ 266434 h 508000"/>
                  <a:gd name="connsiteX9" fmla="*/ 370688 w 449102"/>
                  <a:gd name="connsiteY9" fmla="*/ 248672 h 508000"/>
                  <a:gd name="connsiteX10" fmla="*/ 231680 w 449102"/>
                  <a:gd name="connsiteY10" fmla="*/ 248672 h 508000"/>
                  <a:gd name="connsiteX11" fmla="*/ 217107 w 449102"/>
                  <a:gd name="connsiteY11" fmla="*/ 98655 h 508000"/>
                  <a:gd name="connsiteX12" fmla="*/ 316580 w 449102"/>
                  <a:gd name="connsiteY12" fmla="*/ 98655 h 508000"/>
                  <a:gd name="connsiteX13" fmla="*/ 316580 w 449102"/>
                  <a:gd name="connsiteY13" fmla="*/ 112934 h 508000"/>
                  <a:gd name="connsiteX14" fmla="*/ 309475 w 449102"/>
                  <a:gd name="connsiteY14" fmla="*/ 130782 h 508000"/>
                  <a:gd name="connsiteX15" fmla="*/ 302370 w 449102"/>
                  <a:gd name="connsiteY15" fmla="*/ 130782 h 508000"/>
                  <a:gd name="connsiteX16" fmla="*/ 302370 w 449102"/>
                  <a:gd name="connsiteY16" fmla="*/ 112934 h 508000"/>
                  <a:gd name="connsiteX17" fmla="*/ 224212 w 449102"/>
                  <a:gd name="connsiteY17" fmla="*/ 112934 h 508000"/>
                  <a:gd name="connsiteX18" fmla="*/ 213554 w 449102"/>
                  <a:gd name="connsiteY18" fmla="*/ 130782 h 508000"/>
                  <a:gd name="connsiteX19" fmla="*/ 117633 w 449102"/>
                  <a:gd name="connsiteY19" fmla="*/ 130782 h 508000"/>
                  <a:gd name="connsiteX20" fmla="*/ 106976 w 449102"/>
                  <a:gd name="connsiteY20" fmla="*/ 141491 h 508000"/>
                  <a:gd name="connsiteX21" fmla="*/ 106976 w 449102"/>
                  <a:gd name="connsiteY21" fmla="*/ 216452 h 508000"/>
                  <a:gd name="connsiteX22" fmla="*/ 99870 w 449102"/>
                  <a:gd name="connsiteY22" fmla="*/ 216452 h 508000"/>
                  <a:gd name="connsiteX23" fmla="*/ 92765 w 449102"/>
                  <a:gd name="connsiteY23" fmla="*/ 198604 h 508000"/>
                  <a:gd name="connsiteX24" fmla="*/ 92765 w 449102"/>
                  <a:gd name="connsiteY24" fmla="*/ 141491 h 508000"/>
                  <a:gd name="connsiteX25" fmla="*/ 117633 w 449102"/>
                  <a:gd name="connsiteY25" fmla="*/ 116503 h 508000"/>
                  <a:gd name="connsiteX26" fmla="*/ 206449 w 449102"/>
                  <a:gd name="connsiteY26" fmla="*/ 116503 h 508000"/>
                  <a:gd name="connsiteX27" fmla="*/ 185531 w 449102"/>
                  <a:gd name="connsiteY27" fmla="*/ 55954 h 508000"/>
                  <a:gd name="connsiteX28" fmla="*/ 285658 w 449102"/>
                  <a:gd name="connsiteY28" fmla="*/ 55954 h 508000"/>
                  <a:gd name="connsiteX29" fmla="*/ 285658 w 449102"/>
                  <a:gd name="connsiteY29" fmla="*/ 70159 h 508000"/>
                  <a:gd name="connsiteX30" fmla="*/ 278506 w 449102"/>
                  <a:gd name="connsiteY30" fmla="*/ 87915 h 508000"/>
                  <a:gd name="connsiteX31" fmla="*/ 271354 w 449102"/>
                  <a:gd name="connsiteY31" fmla="*/ 87915 h 508000"/>
                  <a:gd name="connsiteX32" fmla="*/ 271354 w 449102"/>
                  <a:gd name="connsiteY32" fmla="*/ 70159 h 508000"/>
                  <a:gd name="connsiteX33" fmla="*/ 196258 w 449102"/>
                  <a:gd name="connsiteY33" fmla="*/ 70159 h 508000"/>
                  <a:gd name="connsiteX34" fmla="*/ 181955 w 449102"/>
                  <a:gd name="connsiteY34" fmla="*/ 87915 h 508000"/>
                  <a:gd name="connsiteX35" fmla="*/ 85403 w 449102"/>
                  <a:gd name="connsiteY35" fmla="*/ 87915 h 508000"/>
                  <a:gd name="connsiteX36" fmla="*/ 74675 w 449102"/>
                  <a:gd name="connsiteY36" fmla="*/ 102120 h 508000"/>
                  <a:gd name="connsiteX37" fmla="*/ 74675 w 449102"/>
                  <a:gd name="connsiteY37" fmla="*/ 176696 h 508000"/>
                  <a:gd name="connsiteX38" fmla="*/ 67523 w 449102"/>
                  <a:gd name="connsiteY38" fmla="*/ 176696 h 508000"/>
                  <a:gd name="connsiteX39" fmla="*/ 60371 w 449102"/>
                  <a:gd name="connsiteY39" fmla="*/ 155389 h 508000"/>
                  <a:gd name="connsiteX40" fmla="*/ 60371 w 449102"/>
                  <a:gd name="connsiteY40" fmla="*/ 102120 h 508000"/>
                  <a:gd name="connsiteX41" fmla="*/ 85403 w 449102"/>
                  <a:gd name="connsiteY41" fmla="*/ 73710 h 508000"/>
                  <a:gd name="connsiteX42" fmla="*/ 174803 w 449102"/>
                  <a:gd name="connsiteY42" fmla="*/ 73710 h 508000"/>
                  <a:gd name="connsiteX43" fmla="*/ 185531 w 449102"/>
                  <a:gd name="connsiteY43" fmla="*/ 55954 h 508000"/>
                  <a:gd name="connsiteX44" fmla="*/ 49900 w 449102"/>
                  <a:gd name="connsiteY44" fmla="*/ 35525 h 508000"/>
                  <a:gd name="connsiteX45" fmla="*/ 32079 w 449102"/>
                  <a:gd name="connsiteY45" fmla="*/ 53287 h 508000"/>
                  <a:gd name="connsiteX46" fmla="*/ 32079 w 449102"/>
                  <a:gd name="connsiteY46" fmla="*/ 198937 h 508000"/>
                  <a:gd name="connsiteX47" fmla="*/ 128315 w 449102"/>
                  <a:gd name="connsiteY47" fmla="*/ 287748 h 508000"/>
                  <a:gd name="connsiteX48" fmla="*/ 128315 w 449102"/>
                  <a:gd name="connsiteY48" fmla="*/ 195385 h 508000"/>
                  <a:gd name="connsiteX49" fmla="*/ 163958 w 449102"/>
                  <a:gd name="connsiteY49" fmla="*/ 156308 h 508000"/>
                  <a:gd name="connsiteX50" fmla="*/ 352866 w 449102"/>
                  <a:gd name="connsiteY50" fmla="*/ 156308 h 508000"/>
                  <a:gd name="connsiteX51" fmla="*/ 352866 w 449102"/>
                  <a:gd name="connsiteY51" fmla="*/ 35525 h 508000"/>
                  <a:gd name="connsiteX52" fmla="*/ 49900 w 449102"/>
                  <a:gd name="connsiteY52" fmla="*/ 35525 h 508000"/>
                  <a:gd name="connsiteX53" fmla="*/ 39207 w 449102"/>
                  <a:gd name="connsiteY53" fmla="*/ 0 h 508000"/>
                  <a:gd name="connsiteX54" fmla="*/ 377816 w 449102"/>
                  <a:gd name="connsiteY54" fmla="*/ 0 h 508000"/>
                  <a:gd name="connsiteX55" fmla="*/ 377816 w 449102"/>
                  <a:gd name="connsiteY55" fmla="*/ 156308 h 508000"/>
                  <a:gd name="connsiteX56" fmla="*/ 449102 w 449102"/>
                  <a:gd name="connsiteY56" fmla="*/ 156308 h 508000"/>
                  <a:gd name="connsiteX57" fmla="*/ 449102 w 449102"/>
                  <a:gd name="connsiteY57" fmla="*/ 468923 h 508000"/>
                  <a:gd name="connsiteX58" fmla="*/ 409895 w 449102"/>
                  <a:gd name="connsiteY58" fmla="*/ 508000 h 508000"/>
                  <a:gd name="connsiteX59" fmla="*/ 128315 w 449102"/>
                  <a:gd name="connsiteY59" fmla="*/ 508000 h 508000"/>
                  <a:gd name="connsiteX60" fmla="*/ 128315 w 449102"/>
                  <a:gd name="connsiteY60" fmla="*/ 458266 h 508000"/>
                  <a:gd name="connsiteX61" fmla="*/ 74850 w 449102"/>
                  <a:gd name="connsiteY61" fmla="*/ 401427 h 508000"/>
                  <a:gd name="connsiteX62" fmla="*/ 0 w 449102"/>
                  <a:gd name="connsiteY62" fmla="*/ 401427 h 508000"/>
                  <a:gd name="connsiteX63" fmla="*/ 0 w 449102"/>
                  <a:gd name="connsiteY63" fmla="*/ 39077 h 508000"/>
                  <a:gd name="connsiteX64" fmla="*/ 39207 w 449102"/>
                  <a:gd name="connsiteY64" fmla="*/ 0 h 50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</a:cxnLst>
                <a:rect l="l" t="t" r="r" b="b"/>
                <a:pathLst>
                  <a:path w="449102" h="508000">
                    <a:moveTo>
                      <a:pt x="32079" y="355245"/>
                    </a:moveTo>
                    <a:cubicBezTo>
                      <a:pt x="32079" y="355245"/>
                      <a:pt x="32079" y="355245"/>
                      <a:pt x="32079" y="387217"/>
                    </a:cubicBezTo>
                    <a:lnTo>
                      <a:pt x="60593" y="387217"/>
                    </a:lnTo>
                    <a:cubicBezTo>
                      <a:pt x="60593" y="387217"/>
                      <a:pt x="60593" y="387217"/>
                      <a:pt x="32079" y="355245"/>
                    </a:cubicBezTo>
                    <a:close/>
                    <a:moveTo>
                      <a:pt x="231680" y="248672"/>
                    </a:moveTo>
                    <a:cubicBezTo>
                      <a:pt x="220987" y="248672"/>
                      <a:pt x="213858" y="255776"/>
                      <a:pt x="213858" y="266434"/>
                    </a:cubicBezTo>
                    <a:cubicBezTo>
                      <a:pt x="213858" y="266434"/>
                      <a:pt x="213858" y="266434"/>
                      <a:pt x="213858" y="284196"/>
                    </a:cubicBezTo>
                    <a:cubicBezTo>
                      <a:pt x="213858" y="284196"/>
                      <a:pt x="213858" y="284196"/>
                      <a:pt x="352866" y="284196"/>
                    </a:cubicBezTo>
                    <a:cubicBezTo>
                      <a:pt x="363559" y="284196"/>
                      <a:pt x="370688" y="277091"/>
                      <a:pt x="370688" y="266434"/>
                    </a:cubicBezTo>
                    <a:cubicBezTo>
                      <a:pt x="370688" y="255776"/>
                      <a:pt x="370688" y="248672"/>
                      <a:pt x="370688" y="248672"/>
                    </a:cubicBezTo>
                    <a:cubicBezTo>
                      <a:pt x="370688" y="248672"/>
                      <a:pt x="370688" y="248672"/>
                      <a:pt x="231680" y="248672"/>
                    </a:cubicBezTo>
                    <a:close/>
                    <a:moveTo>
                      <a:pt x="217107" y="98655"/>
                    </a:moveTo>
                    <a:cubicBezTo>
                      <a:pt x="217107" y="98655"/>
                      <a:pt x="217107" y="98655"/>
                      <a:pt x="316580" y="98655"/>
                    </a:cubicBezTo>
                    <a:cubicBezTo>
                      <a:pt x="316580" y="98655"/>
                      <a:pt x="316580" y="98655"/>
                      <a:pt x="316580" y="112934"/>
                    </a:cubicBezTo>
                    <a:cubicBezTo>
                      <a:pt x="316580" y="123642"/>
                      <a:pt x="313028" y="130782"/>
                      <a:pt x="309475" y="130782"/>
                    </a:cubicBezTo>
                    <a:cubicBezTo>
                      <a:pt x="309475" y="130782"/>
                      <a:pt x="309475" y="130782"/>
                      <a:pt x="302370" y="130782"/>
                    </a:cubicBezTo>
                    <a:cubicBezTo>
                      <a:pt x="302370" y="130782"/>
                      <a:pt x="302370" y="130782"/>
                      <a:pt x="302370" y="112934"/>
                    </a:cubicBezTo>
                    <a:cubicBezTo>
                      <a:pt x="302370" y="112934"/>
                      <a:pt x="302370" y="112934"/>
                      <a:pt x="224212" y="112934"/>
                    </a:cubicBezTo>
                    <a:cubicBezTo>
                      <a:pt x="224212" y="112934"/>
                      <a:pt x="224212" y="112934"/>
                      <a:pt x="213554" y="130782"/>
                    </a:cubicBezTo>
                    <a:cubicBezTo>
                      <a:pt x="213554" y="130782"/>
                      <a:pt x="213554" y="130782"/>
                      <a:pt x="117633" y="130782"/>
                    </a:cubicBezTo>
                    <a:cubicBezTo>
                      <a:pt x="110528" y="130782"/>
                      <a:pt x="106976" y="134351"/>
                      <a:pt x="106976" y="141491"/>
                    </a:cubicBezTo>
                    <a:cubicBezTo>
                      <a:pt x="106976" y="141491"/>
                      <a:pt x="106976" y="141491"/>
                      <a:pt x="106976" y="216452"/>
                    </a:cubicBezTo>
                    <a:cubicBezTo>
                      <a:pt x="106976" y="216452"/>
                      <a:pt x="106976" y="216452"/>
                      <a:pt x="99870" y="216452"/>
                    </a:cubicBezTo>
                    <a:cubicBezTo>
                      <a:pt x="92765" y="216452"/>
                      <a:pt x="92765" y="209313"/>
                      <a:pt x="92765" y="198604"/>
                    </a:cubicBezTo>
                    <a:cubicBezTo>
                      <a:pt x="92765" y="198604"/>
                      <a:pt x="92765" y="198604"/>
                      <a:pt x="92765" y="141491"/>
                    </a:cubicBezTo>
                    <a:cubicBezTo>
                      <a:pt x="92765" y="127212"/>
                      <a:pt x="103423" y="116503"/>
                      <a:pt x="117633" y="116503"/>
                    </a:cubicBezTo>
                    <a:cubicBezTo>
                      <a:pt x="117633" y="116503"/>
                      <a:pt x="117633" y="116503"/>
                      <a:pt x="206449" y="116503"/>
                    </a:cubicBezTo>
                    <a:close/>
                    <a:moveTo>
                      <a:pt x="185531" y="55954"/>
                    </a:moveTo>
                    <a:cubicBezTo>
                      <a:pt x="185531" y="55954"/>
                      <a:pt x="185531" y="55954"/>
                      <a:pt x="285658" y="55954"/>
                    </a:cubicBezTo>
                    <a:cubicBezTo>
                      <a:pt x="285658" y="55954"/>
                      <a:pt x="285658" y="55954"/>
                      <a:pt x="285658" y="70159"/>
                    </a:cubicBezTo>
                    <a:cubicBezTo>
                      <a:pt x="285658" y="80813"/>
                      <a:pt x="282082" y="87915"/>
                      <a:pt x="278506" y="87915"/>
                    </a:cubicBezTo>
                    <a:cubicBezTo>
                      <a:pt x="278506" y="87915"/>
                      <a:pt x="278506" y="87915"/>
                      <a:pt x="271354" y="87915"/>
                    </a:cubicBezTo>
                    <a:cubicBezTo>
                      <a:pt x="271354" y="87915"/>
                      <a:pt x="271354" y="87915"/>
                      <a:pt x="271354" y="70159"/>
                    </a:cubicBezTo>
                    <a:cubicBezTo>
                      <a:pt x="271354" y="70159"/>
                      <a:pt x="271354" y="70159"/>
                      <a:pt x="196258" y="70159"/>
                    </a:cubicBezTo>
                    <a:lnTo>
                      <a:pt x="181955" y="87915"/>
                    </a:lnTo>
                    <a:cubicBezTo>
                      <a:pt x="181955" y="87915"/>
                      <a:pt x="181955" y="87915"/>
                      <a:pt x="85403" y="87915"/>
                    </a:cubicBezTo>
                    <a:cubicBezTo>
                      <a:pt x="78251" y="87915"/>
                      <a:pt x="74675" y="95018"/>
                      <a:pt x="74675" y="102120"/>
                    </a:cubicBezTo>
                    <a:cubicBezTo>
                      <a:pt x="74675" y="102120"/>
                      <a:pt x="74675" y="102120"/>
                      <a:pt x="74675" y="176696"/>
                    </a:cubicBezTo>
                    <a:cubicBezTo>
                      <a:pt x="74675" y="176696"/>
                      <a:pt x="74675" y="176696"/>
                      <a:pt x="67523" y="176696"/>
                    </a:cubicBezTo>
                    <a:cubicBezTo>
                      <a:pt x="63947" y="176696"/>
                      <a:pt x="60371" y="166043"/>
                      <a:pt x="60371" y="155389"/>
                    </a:cubicBezTo>
                    <a:cubicBezTo>
                      <a:pt x="60371" y="155389"/>
                      <a:pt x="60371" y="155389"/>
                      <a:pt x="60371" y="102120"/>
                    </a:cubicBezTo>
                    <a:cubicBezTo>
                      <a:pt x="60371" y="87915"/>
                      <a:pt x="71099" y="73710"/>
                      <a:pt x="85403" y="73710"/>
                    </a:cubicBezTo>
                    <a:cubicBezTo>
                      <a:pt x="85403" y="73710"/>
                      <a:pt x="85403" y="73710"/>
                      <a:pt x="174803" y="73710"/>
                    </a:cubicBezTo>
                    <a:cubicBezTo>
                      <a:pt x="174803" y="73710"/>
                      <a:pt x="174803" y="73710"/>
                      <a:pt x="185531" y="55954"/>
                    </a:cubicBezTo>
                    <a:close/>
                    <a:moveTo>
                      <a:pt x="49900" y="35525"/>
                    </a:moveTo>
                    <a:cubicBezTo>
                      <a:pt x="39207" y="35525"/>
                      <a:pt x="32079" y="42630"/>
                      <a:pt x="32079" y="53287"/>
                    </a:cubicBezTo>
                    <a:cubicBezTo>
                      <a:pt x="32079" y="53287"/>
                      <a:pt x="32079" y="53287"/>
                      <a:pt x="32079" y="198937"/>
                    </a:cubicBezTo>
                    <a:cubicBezTo>
                      <a:pt x="32079" y="198937"/>
                      <a:pt x="32079" y="198937"/>
                      <a:pt x="128315" y="287748"/>
                    </a:cubicBezTo>
                    <a:cubicBezTo>
                      <a:pt x="128315" y="287748"/>
                      <a:pt x="128315" y="287748"/>
                      <a:pt x="128315" y="195385"/>
                    </a:cubicBezTo>
                    <a:cubicBezTo>
                      <a:pt x="128315" y="174070"/>
                      <a:pt x="142572" y="156308"/>
                      <a:pt x="163958" y="156308"/>
                    </a:cubicBezTo>
                    <a:cubicBezTo>
                      <a:pt x="163958" y="156308"/>
                      <a:pt x="163958" y="156308"/>
                      <a:pt x="352866" y="156308"/>
                    </a:cubicBezTo>
                    <a:cubicBezTo>
                      <a:pt x="352866" y="156308"/>
                      <a:pt x="352866" y="156308"/>
                      <a:pt x="352866" y="35525"/>
                    </a:cubicBezTo>
                    <a:cubicBezTo>
                      <a:pt x="352866" y="35525"/>
                      <a:pt x="352866" y="35525"/>
                      <a:pt x="49900" y="35525"/>
                    </a:cubicBezTo>
                    <a:close/>
                    <a:moveTo>
                      <a:pt x="39207" y="0"/>
                    </a:moveTo>
                    <a:cubicBezTo>
                      <a:pt x="39207" y="0"/>
                      <a:pt x="39207" y="0"/>
                      <a:pt x="377816" y="0"/>
                    </a:cubicBezTo>
                    <a:lnTo>
                      <a:pt x="377816" y="156308"/>
                    </a:lnTo>
                    <a:cubicBezTo>
                      <a:pt x="377816" y="156308"/>
                      <a:pt x="377816" y="156308"/>
                      <a:pt x="449102" y="156308"/>
                    </a:cubicBezTo>
                    <a:cubicBezTo>
                      <a:pt x="449102" y="156308"/>
                      <a:pt x="449102" y="156308"/>
                      <a:pt x="449102" y="468923"/>
                    </a:cubicBezTo>
                    <a:cubicBezTo>
                      <a:pt x="449102" y="490238"/>
                      <a:pt x="431281" y="508000"/>
                      <a:pt x="409895" y="508000"/>
                    </a:cubicBezTo>
                    <a:cubicBezTo>
                      <a:pt x="409895" y="508000"/>
                      <a:pt x="409895" y="508000"/>
                      <a:pt x="128315" y="508000"/>
                    </a:cubicBezTo>
                    <a:cubicBezTo>
                      <a:pt x="128315" y="508000"/>
                      <a:pt x="128315" y="508000"/>
                      <a:pt x="128315" y="458266"/>
                    </a:cubicBezTo>
                    <a:cubicBezTo>
                      <a:pt x="128315" y="458266"/>
                      <a:pt x="128315" y="458266"/>
                      <a:pt x="74850" y="401427"/>
                    </a:cubicBezTo>
                    <a:cubicBezTo>
                      <a:pt x="74850" y="401427"/>
                      <a:pt x="74850" y="401427"/>
                      <a:pt x="0" y="401427"/>
                    </a:cubicBezTo>
                    <a:cubicBezTo>
                      <a:pt x="0" y="401427"/>
                      <a:pt x="0" y="401427"/>
                      <a:pt x="0" y="39077"/>
                    </a:cubicBezTo>
                    <a:cubicBezTo>
                      <a:pt x="0" y="17762"/>
                      <a:pt x="17822" y="0"/>
                      <a:pt x="39207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wrap="square" lIns="91440" tIns="45720" rIns="91440" bIns="45720" anchor="ctr">
                <a:normAutofit fontScale="92500" lnSpcReduction="10000"/>
              </a:bodyPr>
              <a:lstStyle/>
              <a:p>
                <a:pPr algn="ctr"/>
                <a:endParaRPr/>
              </a:p>
            </p:txBody>
          </p:sp>
        </p:grpSp>
        <p:grpSp>
          <p:nvGrpSpPr>
            <p:cNvPr id="11" name="íṡḻíḍê">
              <a:extLst>
                <a:ext uri="{FF2B5EF4-FFF2-40B4-BE49-F238E27FC236}">
                  <a16:creationId xmlns:a16="http://schemas.microsoft.com/office/drawing/2014/main" id="{60B5BED4-3FEF-413D-BC62-88ED61D454A6}"/>
                </a:ext>
              </a:extLst>
            </p:cNvPr>
            <p:cNvGrpSpPr/>
            <p:nvPr/>
          </p:nvGrpSpPr>
          <p:grpSpPr>
            <a:xfrm>
              <a:off x="2963290" y="3163229"/>
              <a:ext cx="840384" cy="840384"/>
              <a:chOff x="2492631" y="3133879"/>
              <a:chExt cx="1206795" cy="1206795"/>
            </a:xfrm>
          </p:grpSpPr>
          <p:sp>
            <p:nvSpPr>
              <p:cNvPr id="37" name="íš1îḑê">
                <a:extLst>
                  <a:ext uri="{FF2B5EF4-FFF2-40B4-BE49-F238E27FC236}">
                    <a16:creationId xmlns:a16="http://schemas.microsoft.com/office/drawing/2014/main" id="{0EDBF6CD-6C27-45D6-8B3C-C60B47ACDC25}"/>
                  </a:ext>
                </a:extLst>
              </p:cNvPr>
              <p:cNvSpPr/>
              <p:nvPr/>
            </p:nvSpPr>
            <p:spPr>
              <a:xfrm>
                <a:off x="2492631" y="3133879"/>
                <a:ext cx="1206795" cy="1206795"/>
              </a:xfrm>
              <a:prstGeom prst="ellipse">
                <a:avLst/>
              </a:prstGeom>
              <a:solidFill>
                <a:schemeClr val="accent2">
                  <a:alpha val="7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/>
              </a:p>
            </p:txBody>
          </p:sp>
          <p:sp>
            <p:nvSpPr>
              <p:cNvPr id="38" name="îṣḷîḓé">
                <a:extLst>
                  <a:ext uri="{FF2B5EF4-FFF2-40B4-BE49-F238E27FC236}">
                    <a16:creationId xmlns:a16="http://schemas.microsoft.com/office/drawing/2014/main" id="{6A2D61AE-B039-4A55-B69B-E2575607D04D}"/>
                  </a:ext>
                </a:extLst>
              </p:cNvPr>
              <p:cNvSpPr/>
              <p:nvPr/>
            </p:nvSpPr>
            <p:spPr>
              <a:xfrm>
                <a:off x="2594479" y="3235727"/>
                <a:ext cx="1003098" cy="1003098"/>
              </a:xfrm>
              <a:prstGeom prst="ellipse">
                <a:avLst/>
              </a:prstGeom>
              <a:solidFill>
                <a:schemeClr val="accent2">
                  <a:alpha val="7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/>
              </a:p>
            </p:txBody>
          </p:sp>
          <p:sp>
            <p:nvSpPr>
              <p:cNvPr id="39" name="íṩ1iḋê">
                <a:extLst>
                  <a:ext uri="{FF2B5EF4-FFF2-40B4-BE49-F238E27FC236}">
                    <a16:creationId xmlns:a16="http://schemas.microsoft.com/office/drawing/2014/main" id="{1850D232-55EA-42FD-9DAA-3D9E4A54248A}"/>
                  </a:ext>
                </a:extLst>
              </p:cNvPr>
              <p:cNvSpPr/>
              <p:nvPr/>
            </p:nvSpPr>
            <p:spPr>
              <a:xfrm>
                <a:off x="2711524" y="3352772"/>
                <a:ext cx="769009" cy="769009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/>
              </a:p>
            </p:txBody>
          </p:sp>
          <p:sp>
            <p:nvSpPr>
              <p:cNvPr id="40" name="îSḻïḑè">
                <a:extLst>
                  <a:ext uri="{FF2B5EF4-FFF2-40B4-BE49-F238E27FC236}">
                    <a16:creationId xmlns:a16="http://schemas.microsoft.com/office/drawing/2014/main" id="{41CD51CC-0F8E-4D55-91D2-8AC1CCE104E4}"/>
                  </a:ext>
                </a:extLst>
              </p:cNvPr>
              <p:cNvSpPr/>
              <p:nvPr/>
            </p:nvSpPr>
            <p:spPr bwMode="auto">
              <a:xfrm>
                <a:off x="2905502" y="3547278"/>
                <a:ext cx="381053" cy="379997"/>
              </a:xfrm>
              <a:custGeom>
                <a:avLst/>
                <a:gdLst>
                  <a:gd name="connsiteX0" fmla="*/ 84666 w 508000"/>
                  <a:gd name="connsiteY0" fmla="*/ 303955 h 506592"/>
                  <a:gd name="connsiteX1" fmla="*/ 233680 w 508000"/>
                  <a:gd name="connsiteY1" fmla="*/ 428915 h 506592"/>
                  <a:gd name="connsiteX2" fmla="*/ 233680 w 508000"/>
                  <a:gd name="connsiteY2" fmla="*/ 408651 h 506592"/>
                  <a:gd name="connsiteX3" fmla="*/ 254000 w 508000"/>
                  <a:gd name="connsiteY3" fmla="*/ 391765 h 506592"/>
                  <a:gd name="connsiteX4" fmla="*/ 274320 w 508000"/>
                  <a:gd name="connsiteY4" fmla="*/ 408651 h 506592"/>
                  <a:gd name="connsiteX5" fmla="*/ 274320 w 508000"/>
                  <a:gd name="connsiteY5" fmla="*/ 428915 h 506592"/>
                  <a:gd name="connsiteX6" fmla="*/ 423334 w 508000"/>
                  <a:gd name="connsiteY6" fmla="*/ 303955 h 506592"/>
                  <a:gd name="connsiteX7" fmla="*/ 254000 w 508000"/>
                  <a:gd name="connsiteY7" fmla="*/ 371501 h 506592"/>
                  <a:gd name="connsiteX8" fmla="*/ 84666 w 508000"/>
                  <a:gd name="connsiteY8" fmla="*/ 303955 h 506592"/>
                  <a:gd name="connsiteX9" fmla="*/ 362374 w 508000"/>
                  <a:gd name="connsiteY9" fmla="*/ 209392 h 506592"/>
                  <a:gd name="connsiteX10" fmla="*/ 372534 w 508000"/>
                  <a:gd name="connsiteY10" fmla="*/ 253296 h 506592"/>
                  <a:gd name="connsiteX11" fmla="*/ 362374 w 508000"/>
                  <a:gd name="connsiteY11" fmla="*/ 297201 h 506592"/>
                  <a:gd name="connsiteX12" fmla="*/ 423334 w 508000"/>
                  <a:gd name="connsiteY12" fmla="*/ 253296 h 506592"/>
                  <a:gd name="connsiteX13" fmla="*/ 362374 w 508000"/>
                  <a:gd name="connsiteY13" fmla="*/ 209392 h 506592"/>
                  <a:gd name="connsiteX14" fmla="*/ 145626 w 508000"/>
                  <a:gd name="connsiteY14" fmla="*/ 209392 h 506592"/>
                  <a:gd name="connsiteX15" fmla="*/ 88053 w 508000"/>
                  <a:gd name="connsiteY15" fmla="*/ 253296 h 506592"/>
                  <a:gd name="connsiteX16" fmla="*/ 145626 w 508000"/>
                  <a:gd name="connsiteY16" fmla="*/ 297201 h 506592"/>
                  <a:gd name="connsiteX17" fmla="*/ 138853 w 508000"/>
                  <a:gd name="connsiteY17" fmla="*/ 253296 h 506592"/>
                  <a:gd name="connsiteX18" fmla="*/ 145626 w 508000"/>
                  <a:gd name="connsiteY18" fmla="*/ 209392 h 506592"/>
                  <a:gd name="connsiteX19" fmla="*/ 254413 w 508000"/>
                  <a:gd name="connsiteY19" fmla="*/ 205451 h 506592"/>
                  <a:gd name="connsiteX20" fmla="*/ 305363 w 508000"/>
                  <a:gd name="connsiteY20" fmla="*/ 253005 h 506592"/>
                  <a:gd name="connsiteX21" fmla="*/ 254413 w 508000"/>
                  <a:gd name="connsiteY21" fmla="*/ 303955 h 506592"/>
                  <a:gd name="connsiteX22" fmla="*/ 206859 w 508000"/>
                  <a:gd name="connsiteY22" fmla="*/ 253005 h 506592"/>
                  <a:gd name="connsiteX23" fmla="*/ 254413 w 508000"/>
                  <a:gd name="connsiteY23" fmla="*/ 205451 h 506592"/>
                  <a:gd name="connsiteX24" fmla="*/ 254000 w 508000"/>
                  <a:gd name="connsiteY24" fmla="*/ 175618 h 506592"/>
                  <a:gd name="connsiteX25" fmla="*/ 176106 w 508000"/>
                  <a:gd name="connsiteY25" fmla="*/ 253296 h 506592"/>
                  <a:gd name="connsiteX26" fmla="*/ 254000 w 508000"/>
                  <a:gd name="connsiteY26" fmla="*/ 330974 h 506592"/>
                  <a:gd name="connsiteX27" fmla="*/ 331894 w 508000"/>
                  <a:gd name="connsiteY27" fmla="*/ 253296 h 506592"/>
                  <a:gd name="connsiteX28" fmla="*/ 254000 w 508000"/>
                  <a:gd name="connsiteY28" fmla="*/ 175618 h 506592"/>
                  <a:gd name="connsiteX29" fmla="*/ 233680 w 508000"/>
                  <a:gd name="connsiteY29" fmla="*/ 77677 h 506592"/>
                  <a:gd name="connsiteX30" fmla="*/ 84666 w 508000"/>
                  <a:gd name="connsiteY30" fmla="*/ 202637 h 506592"/>
                  <a:gd name="connsiteX31" fmla="*/ 254000 w 508000"/>
                  <a:gd name="connsiteY31" fmla="*/ 138468 h 506592"/>
                  <a:gd name="connsiteX32" fmla="*/ 423334 w 508000"/>
                  <a:gd name="connsiteY32" fmla="*/ 202637 h 506592"/>
                  <a:gd name="connsiteX33" fmla="*/ 274320 w 508000"/>
                  <a:gd name="connsiteY33" fmla="*/ 77677 h 506592"/>
                  <a:gd name="connsiteX34" fmla="*/ 274320 w 508000"/>
                  <a:gd name="connsiteY34" fmla="*/ 97941 h 506592"/>
                  <a:gd name="connsiteX35" fmla="*/ 254000 w 508000"/>
                  <a:gd name="connsiteY35" fmla="*/ 118205 h 506592"/>
                  <a:gd name="connsiteX36" fmla="*/ 233680 w 508000"/>
                  <a:gd name="connsiteY36" fmla="*/ 97941 h 506592"/>
                  <a:gd name="connsiteX37" fmla="*/ 233680 w 508000"/>
                  <a:gd name="connsiteY37" fmla="*/ 77677 h 506592"/>
                  <a:gd name="connsiteX38" fmla="*/ 254000 w 508000"/>
                  <a:gd name="connsiteY38" fmla="*/ 0 h 506592"/>
                  <a:gd name="connsiteX39" fmla="*/ 274320 w 508000"/>
                  <a:gd name="connsiteY39" fmla="*/ 20264 h 506592"/>
                  <a:gd name="connsiteX40" fmla="*/ 274320 w 508000"/>
                  <a:gd name="connsiteY40" fmla="*/ 40527 h 506592"/>
                  <a:gd name="connsiteX41" fmla="*/ 470747 w 508000"/>
                  <a:gd name="connsiteY41" fmla="*/ 233033 h 506592"/>
                  <a:gd name="connsiteX42" fmla="*/ 491067 w 508000"/>
                  <a:gd name="connsiteY42" fmla="*/ 233033 h 506592"/>
                  <a:gd name="connsiteX43" fmla="*/ 508000 w 508000"/>
                  <a:gd name="connsiteY43" fmla="*/ 253296 h 506592"/>
                  <a:gd name="connsiteX44" fmla="*/ 491067 w 508000"/>
                  <a:gd name="connsiteY44" fmla="*/ 273560 h 506592"/>
                  <a:gd name="connsiteX45" fmla="*/ 470747 w 508000"/>
                  <a:gd name="connsiteY45" fmla="*/ 273560 h 506592"/>
                  <a:gd name="connsiteX46" fmla="*/ 274320 w 508000"/>
                  <a:gd name="connsiteY46" fmla="*/ 469442 h 506592"/>
                  <a:gd name="connsiteX47" fmla="*/ 274320 w 508000"/>
                  <a:gd name="connsiteY47" fmla="*/ 489706 h 506592"/>
                  <a:gd name="connsiteX48" fmla="*/ 254000 w 508000"/>
                  <a:gd name="connsiteY48" fmla="*/ 506592 h 506592"/>
                  <a:gd name="connsiteX49" fmla="*/ 233680 w 508000"/>
                  <a:gd name="connsiteY49" fmla="*/ 489706 h 506592"/>
                  <a:gd name="connsiteX50" fmla="*/ 233680 w 508000"/>
                  <a:gd name="connsiteY50" fmla="*/ 469442 h 506592"/>
                  <a:gd name="connsiteX51" fmla="*/ 40640 w 508000"/>
                  <a:gd name="connsiteY51" fmla="*/ 273560 h 506592"/>
                  <a:gd name="connsiteX52" fmla="*/ 20320 w 508000"/>
                  <a:gd name="connsiteY52" fmla="*/ 273560 h 506592"/>
                  <a:gd name="connsiteX53" fmla="*/ 0 w 508000"/>
                  <a:gd name="connsiteY53" fmla="*/ 253296 h 506592"/>
                  <a:gd name="connsiteX54" fmla="*/ 20320 w 508000"/>
                  <a:gd name="connsiteY54" fmla="*/ 233033 h 506592"/>
                  <a:gd name="connsiteX55" fmla="*/ 40640 w 508000"/>
                  <a:gd name="connsiteY55" fmla="*/ 233033 h 506592"/>
                  <a:gd name="connsiteX56" fmla="*/ 233680 w 508000"/>
                  <a:gd name="connsiteY56" fmla="*/ 40527 h 506592"/>
                  <a:gd name="connsiteX57" fmla="*/ 233680 w 508000"/>
                  <a:gd name="connsiteY57" fmla="*/ 20264 h 506592"/>
                  <a:gd name="connsiteX58" fmla="*/ 254000 w 508000"/>
                  <a:gd name="connsiteY58" fmla="*/ 0 h 5065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</a:cxnLst>
                <a:rect l="l" t="t" r="r" b="b"/>
                <a:pathLst>
                  <a:path w="508000" h="506592">
                    <a:moveTo>
                      <a:pt x="84666" y="303955"/>
                    </a:moveTo>
                    <a:cubicBezTo>
                      <a:pt x="104986" y="371501"/>
                      <a:pt x="165946" y="422160"/>
                      <a:pt x="233680" y="428915"/>
                    </a:cubicBezTo>
                    <a:cubicBezTo>
                      <a:pt x="233680" y="428915"/>
                      <a:pt x="233680" y="428915"/>
                      <a:pt x="233680" y="408651"/>
                    </a:cubicBezTo>
                    <a:cubicBezTo>
                      <a:pt x="233680" y="398519"/>
                      <a:pt x="243840" y="391765"/>
                      <a:pt x="254000" y="391765"/>
                    </a:cubicBezTo>
                    <a:cubicBezTo>
                      <a:pt x="264160" y="391765"/>
                      <a:pt x="274320" y="398519"/>
                      <a:pt x="274320" y="408651"/>
                    </a:cubicBezTo>
                    <a:cubicBezTo>
                      <a:pt x="274320" y="408651"/>
                      <a:pt x="274320" y="408651"/>
                      <a:pt x="274320" y="428915"/>
                    </a:cubicBezTo>
                    <a:cubicBezTo>
                      <a:pt x="345440" y="422160"/>
                      <a:pt x="403014" y="371501"/>
                      <a:pt x="423334" y="303955"/>
                    </a:cubicBezTo>
                    <a:cubicBezTo>
                      <a:pt x="386080" y="334351"/>
                      <a:pt x="325120" y="371501"/>
                      <a:pt x="254000" y="371501"/>
                    </a:cubicBezTo>
                    <a:cubicBezTo>
                      <a:pt x="186266" y="371501"/>
                      <a:pt x="125306" y="334351"/>
                      <a:pt x="84666" y="303955"/>
                    </a:cubicBezTo>
                    <a:close/>
                    <a:moveTo>
                      <a:pt x="362374" y="209392"/>
                    </a:moveTo>
                    <a:cubicBezTo>
                      <a:pt x="369147" y="222901"/>
                      <a:pt x="372534" y="239787"/>
                      <a:pt x="372534" y="253296"/>
                    </a:cubicBezTo>
                    <a:cubicBezTo>
                      <a:pt x="372534" y="270183"/>
                      <a:pt x="369147" y="283692"/>
                      <a:pt x="362374" y="297201"/>
                    </a:cubicBezTo>
                    <a:cubicBezTo>
                      <a:pt x="389467" y="283692"/>
                      <a:pt x="409787" y="266805"/>
                      <a:pt x="423334" y="253296"/>
                    </a:cubicBezTo>
                    <a:cubicBezTo>
                      <a:pt x="409787" y="243164"/>
                      <a:pt x="389467" y="226278"/>
                      <a:pt x="362374" y="209392"/>
                    </a:cubicBezTo>
                    <a:close/>
                    <a:moveTo>
                      <a:pt x="145626" y="209392"/>
                    </a:moveTo>
                    <a:cubicBezTo>
                      <a:pt x="118533" y="226278"/>
                      <a:pt x="98213" y="243164"/>
                      <a:pt x="88053" y="253296"/>
                    </a:cubicBezTo>
                    <a:cubicBezTo>
                      <a:pt x="98213" y="266805"/>
                      <a:pt x="118533" y="283692"/>
                      <a:pt x="145626" y="297201"/>
                    </a:cubicBezTo>
                    <a:cubicBezTo>
                      <a:pt x="138853" y="283692"/>
                      <a:pt x="138853" y="270183"/>
                      <a:pt x="138853" y="253296"/>
                    </a:cubicBezTo>
                    <a:cubicBezTo>
                      <a:pt x="138853" y="239787"/>
                      <a:pt x="138853" y="222901"/>
                      <a:pt x="145626" y="209392"/>
                    </a:cubicBezTo>
                    <a:close/>
                    <a:moveTo>
                      <a:pt x="254413" y="205451"/>
                    </a:moveTo>
                    <a:cubicBezTo>
                      <a:pt x="281586" y="205451"/>
                      <a:pt x="305363" y="225831"/>
                      <a:pt x="305363" y="253005"/>
                    </a:cubicBezTo>
                    <a:cubicBezTo>
                      <a:pt x="305363" y="280178"/>
                      <a:pt x="281586" y="303955"/>
                      <a:pt x="254413" y="303955"/>
                    </a:cubicBezTo>
                    <a:cubicBezTo>
                      <a:pt x="227239" y="303955"/>
                      <a:pt x="206859" y="280178"/>
                      <a:pt x="206859" y="253005"/>
                    </a:cubicBezTo>
                    <a:cubicBezTo>
                      <a:pt x="206859" y="225831"/>
                      <a:pt x="227239" y="205451"/>
                      <a:pt x="254413" y="205451"/>
                    </a:cubicBezTo>
                    <a:close/>
                    <a:moveTo>
                      <a:pt x="254000" y="175618"/>
                    </a:moveTo>
                    <a:cubicBezTo>
                      <a:pt x="209974" y="175618"/>
                      <a:pt x="176106" y="209392"/>
                      <a:pt x="176106" y="253296"/>
                    </a:cubicBezTo>
                    <a:cubicBezTo>
                      <a:pt x="176106" y="297201"/>
                      <a:pt x="209974" y="330974"/>
                      <a:pt x="254000" y="330974"/>
                    </a:cubicBezTo>
                    <a:cubicBezTo>
                      <a:pt x="298027" y="330974"/>
                      <a:pt x="331894" y="297201"/>
                      <a:pt x="331894" y="253296"/>
                    </a:cubicBezTo>
                    <a:cubicBezTo>
                      <a:pt x="331894" y="209392"/>
                      <a:pt x="298027" y="175618"/>
                      <a:pt x="254000" y="175618"/>
                    </a:cubicBezTo>
                    <a:close/>
                    <a:moveTo>
                      <a:pt x="233680" y="77677"/>
                    </a:moveTo>
                    <a:cubicBezTo>
                      <a:pt x="165946" y="87809"/>
                      <a:pt x="104986" y="138468"/>
                      <a:pt x="84666" y="202637"/>
                    </a:cubicBezTo>
                    <a:cubicBezTo>
                      <a:pt x="125306" y="172241"/>
                      <a:pt x="186266" y="138468"/>
                      <a:pt x="254000" y="138468"/>
                    </a:cubicBezTo>
                    <a:cubicBezTo>
                      <a:pt x="325120" y="138468"/>
                      <a:pt x="386080" y="172241"/>
                      <a:pt x="423334" y="202637"/>
                    </a:cubicBezTo>
                    <a:cubicBezTo>
                      <a:pt x="403014" y="138468"/>
                      <a:pt x="345440" y="87809"/>
                      <a:pt x="274320" y="77677"/>
                    </a:cubicBezTo>
                    <a:cubicBezTo>
                      <a:pt x="274320" y="77677"/>
                      <a:pt x="274320" y="77677"/>
                      <a:pt x="274320" y="97941"/>
                    </a:cubicBezTo>
                    <a:cubicBezTo>
                      <a:pt x="274320" y="108073"/>
                      <a:pt x="264160" y="118205"/>
                      <a:pt x="254000" y="118205"/>
                    </a:cubicBezTo>
                    <a:cubicBezTo>
                      <a:pt x="243840" y="118205"/>
                      <a:pt x="233680" y="108073"/>
                      <a:pt x="233680" y="97941"/>
                    </a:cubicBezTo>
                    <a:cubicBezTo>
                      <a:pt x="233680" y="97941"/>
                      <a:pt x="233680" y="97941"/>
                      <a:pt x="233680" y="77677"/>
                    </a:cubicBezTo>
                    <a:close/>
                    <a:moveTo>
                      <a:pt x="254000" y="0"/>
                    </a:moveTo>
                    <a:cubicBezTo>
                      <a:pt x="264160" y="0"/>
                      <a:pt x="274320" y="10132"/>
                      <a:pt x="274320" y="20264"/>
                    </a:cubicBezTo>
                    <a:cubicBezTo>
                      <a:pt x="274320" y="20264"/>
                      <a:pt x="274320" y="20264"/>
                      <a:pt x="274320" y="40527"/>
                    </a:cubicBezTo>
                    <a:cubicBezTo>
                      <a:pt x="375920" y="50659"/>
                      <a:pt x="460587" y="131714"/>
                      <a:pt x="470747" y="233033"/>
                    </a:cubicBezTo>
                    <a:cubicBezTo>
                      <a:pt x="470747" y="233033"/>
                      <a:pt x="470747" y="233033"/>
                      <a:pt x="491067" y="233033"/>
                    </a:cubicBezTo>
                    <a:cubicBezTo>
                      <a:pt x="501227" y="233033"/>
                      <a:pt x="508000" y="243164"/>
                      <a:pt x="508000" y="253296"/>
                    </a:cubicBezTo>
                    <a:cubicBezTo>
                      <a:pt x="508000" y="263428"/>
                      <a:pt x="501227" y="273560"/>
                      <a:pt x="491067" y="273560"/>
                    </a:cubicBezTo>
                    <a:cubicBezTo>
                      <a:pt x="491067" y="273560"/>
                      <a:pt x="491067" y="273560"/>
                      <a:pt x="470747" y="273560"/>
                    </a:cubicBezTo>
                    <a:cubicBezTo>
                      <a:pt x="460587" y="374878"/>
                      <a:pt x="375920" y="459310"/>
                      <a:pt x="274320" y="469442"/>
                    </a:cubicBezTo>
                    <a:cubicBezTo>
                      <a:pt x="274320" y="469442"/>
                      <a:pt x="274320" y="469442"/>
                      <a:pt x="274320" y="489706"/>
                    </a:cubicBezTo>
                    <a:cubicBezTo>
                      <a:pt x="274320" y="499838"/>
                      <a:pt x="264160" y="506592"/>
                      <a:pt x="254000" y="506592"/>
                    </a:cubicBezTo>
                    <a:cubicBezTo>
                      <a:pt x="243840" y="506592"/>
                      <a:pt x="233680" y="499838"/>
                      <a:pt x="233680" y="489706"/>
                    </a:cubicBezTo>
                    <a:cubicBezTo>
                      <a:pt x="233680" y="489706"/>
                      <a:pt x="233680" y="489706"/>
                      <a:pt x="233680" y="469442"/>
                    </a:cubicBezTo>
                    <a:cubicBezTo>
                      <a:pt x="132080" y="459310"/>
                      <a:pt x="50800" y="374878"/>
                      <a:pt x="40640" y="273560"/>
                    </a:cubicBezTo>
                    <a:cubicBezTo>
                      <a:pt x="40640" y="273560"/>
                      <a:pt x="40640" y="273560"/>
                      <a:pt x="20320" y="273560"/>
                    </a:cubicBezTo>
                    <a:cubicBezTo>
                      <a:pt x="10160" y="273560"/>
                      <a:pt x="0" y="263428"/>
                      <a:pt x="0" y="253296"/>
                    </a:cubicBezTo>
                    <a:cubicBezTo>
                      <a:pt x="0" y="243164"/>
                      <a:pt x="10160" y="233033"/>
                      <a:pt x="20320" y="233033"/>
                    </a:cubicBezTo>
                    <a:cubicBezTo>
                      <a:pt x="20320" y="233033"/>
                      <a:pt x="20320" y="233033"/>
                      <a:pt x="40640" y="233033"/>
                    </a:cubicBezTo>
                    <a:cubicBezTo>
                      <a:pt x="50800" y="131714"/>
                      <a:pt x="132080" y="50659"/>
                      <a:pt x="233680" y="40527"/>
                    </a:cubicBezTo>
                    <a:cubicBezTo>
                      <a:pt x="233680" y="40527"/>
                      <a:pt x="233680" y="40527"/>
                      <a:pt x="233680" y="20264"/>
                    </a:cubicBezTo>
                    <a:cubicBezTo>
                      <a:pt x="233680" y="10132"/>
                      <a:pt x="243840" y="0"/>
                      <a:pt x="254000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wrap="square" lIns="91440" tIns="45720" rIns="91440" bIns="45720" anchor="ctr">
                <a:normAutofit fontScale="92500" lnSpcReduction="10000"/>
              </a:bodyPr>
              <a:lstStyle/>
              <a:p>
                <a:pPr algn="ctr"/>
                <a:endParaRPr/>
              </a:p>
            </p:txBody>
          </p:sp>
        </p:grpSp>
        <p:grpSp>
          <p:nvGrpSpPr>
            <p:cNvPr id="12" name="îŝlîḍé">
              <a:extLst>
                <a:ext uri="{FF2B5EF4-FFF2-40B4-BE49-F238E27FC236}">
                  <a16:creationId xmlns:a16="http://schemas.microsoft.com/office/drawing/2014/main" id="{EDA19BC4-4A19-4E1F-A11A-FD0DB14DE09B}"/>
                </a:ext>
              </a:extLst>
            </p:cNvPr>
            <p:cNvGrpSpPr/>
            <p:nvPr/>
          </p:nvGrpSpPr>
          <p:grpSpPr>
            <a:xfrm>
              <a:off x="1500645" y="1883530"/>
              <a:ext cx="840384" cy="840384"/>
              <a:chOff x="991741" y="1403868"/>
              <a:chExt cx="1206795" cy="1206795"/>
            </a:xfrm>
          </p:grpSpPr>
          <p:sp>
            <p:nvSpPr>
              <p:cNvPr id="33" name="î$1iḑè">
                <a:extLst>
                  <a:ext uri="{FF2B5EF4-FFF2-40B4-BE49-F238E27FC236}">
                    <a16:creationId xmlns:a16="http://schemas.microsoft.com/office/drawing/2014/main" id="{E468560D-BFCC-47F1-9404-758529C84CDA}"/>
                  </a:ext>
                </a:extLst>
              </p:cNvPr>
              <p:cNvSpPr/>
              <p:nvPr/>
            </p:nvSpPr>
            <p:spPr>
              <a:xfrm>
                <a:off x="991741" y="1403868"/>
                <a:ext cx="1206795" cy="1206795"/>
              </a:xfrm>
              <a:prstGeom prst="ellipse">
                <a:avLst/>
              </a:prstGeom>
              <a:solidFill>
                <a:schemeClr val="accent1">
                  <a:alpha val="7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/>
              </a:p>
            </p:txBody>
          </p:sp>
          <p:sp>
            <p:nvSpPr>
              <p:cNvPr id="34" name="íşḻiďè">
                <a:extLst>
                  <a:ext uri="{FF2B5EF4-FFF2-40B4-BE49-F238E27FC236}">
                    <a16:creationId xmlns:a16="http://schemas.microsoft.com/office/drawing/2014/main" id="{37091F07-4EB7-4926-9B3B-8FF50968DD35}"/>
                  </a:ext>
                </a:extLst>
              </p:cNvPr>
              <p:cNvSpPr/>
              <p:nvPr/>
            </p:nvSpPr>
            <p:spPr>
              <a:xfrm>
                <a:off x="1093589" y="1505716"/>
                <a:ext cx="1003098" cy="1003098"/>
              </a:xfrm>
              <a:prstGeom prst="ellipse">
                <a:avLst/>
              </a:prstGeom>
              <a:solidFill>
                <a:schemeClr val="accent1">
                  <a:alpha val="7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/>
              </a:p>
            </p:txBody>
          </p:sp>
          <p:sp>
            <p:nvSpPr>
              <p:cNvPr id="35" name="íŝľíḑè">
                <a:extLst>
                  <a:ext uri="{FF2B5EF4-FFF2-40B4-BE49-F238E27FC236}">
                    <a16:creationId xmlns:a16="http://schemas.microsoft.com/office/drawing/2014/main" id="{BC4D7ADF-66D2-43EA-82F0-F6E13F81F3B9}"/>
                  </a:ext>
                </a:extLst>
              </p:cNvPr>
              <p:cNvSpPr/>
              <p:nvPr/>
            </p:nvSpPr>
            <p:spPr>
              <a:xfrm>
                <a:off x="1210634" y="1622761"/>
                <a:ext cx="769009" cy="769009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/>
              </a:p>
            </p:txBody>
          </p:sp>
          <p:sp>
            <p:nvSpPr>
              <p:cNvPr id="36" name="íŝḻîḋe">
                <a:extLst>
                  <a:ext uri="{FF2B5EF4-FFF2-40B4-BE49-F238E27FC236}">
                    <a16:creationId xmlns:a16="http://schemas.microsoft.com/office/drawing/2014/main" id="{B14FF01F-E6B1-4BB4-9CCE-4DD1BA25AB09}"/>
                  </a:ext>
                </a:extLst>
              </p:cNvPr>
              <p:cNvSpPr/>
              <p:nvPr/>
            </p:nvSpPr>
            <p:spPr bwMode="auto">
              <a:xfrm>
                <a:off x="1404690" y="1816739"/>
                <a:ext cx="380897" cy="381053"/>
              </a:xfrm>
              <a:custGeom>
                <a:avLst/>
                <a:gdLst>
                  <a:gd name="connsiteX0" fmla="*/ 185778 w 502142"/>
                  <a:gd name="connsiteY0" fmla="*/ 245107 h 502347"/>
                  <a:gd name="connsiteX1" fmla="*/ 181850 w 502142"/>
                  <a:gd name="connsiteY1" fmla="*/ 247726 h 502347"/>
                  <a:gd name="connsiteX2" fmla="*/ 196252 w 502142"/>
                  <a:gd name="connsiteY2" fmla="*/ 262134 h 502347"/>
                  <a:gd name="connsiteX3" fmla="*/ 198871 w 502142"/>
                  <a:gd name="connsiteY3" fmla="*/ 259515 h 502347"/>
                  <a:gd name="connsiteX4" fmla="*/ 198871 w 502142"/>
                  <a:gd name="connsiteY4" fmla="*/ 258205 h 502347"/>
                  <a:gd name="connsiteX5" fmla="*/ 197562 w 502142"/>
                  <a:gd name="connsiteY5" fmla="*/ 256895 h 502347"/>
                  <a:gd name="connsiteX6" fmla="*/ 196252 w 502142"/>
                  <a:gd name="connsiteY6" fmla="*/ 255585 h 502347"/>
                  <a:gd name="connsiteX7" fmla="*/ 187087 w 502142"/>
                  <a:gd name="connsiteY7" fmla="*/ 245107 h 502347"/>
                  <a:gd name="connsiteX8" fmla="*/ 185778 w 502142"/>
                  <a:gd name="connsiteY8" fmla="*/ 245107 h 502347"/>
                  <a:gd name="connsiteX9" fmla="*/ 300657 w 502142"/>
                  <a:gd name="connsiteY9" fmla="*/ 124890 h 502347"/>
                  <a:gd name="connsiteX10" fmla="*/ 333369 w 502142"/>
                  <a:gd name="connsiteY10" fmla="*/ 157500 h 502347"/>
                  <a:gd name="connsiteX11" fmla="*/ 300657 w 502142"/>
                  <a:gd name="connsiteY11" fmla="*/ 191414 h 502347"/>
                  <a:gd name="connsiteX12" fmla="*/ 267945 w 502142"/>
                  <a:gd name="connsiteY12" fmla="*/ 157500 h 502347"/>
                  <a:gd name="connsiteX13" fmla="*/ 300657 w 502142"/>
                  <a:gd name="connsiteY13" fmla="*/ 124890 h 502347"/>
                  <a:gd name="connsiteX14" fmla="*/ 251242 w 502142"/>
                  <a:gd name="connsiteY14" fmla="*/ 83999 h 502347"/>
                  <a:gd name="connsiteX15" fmla="*/ 180541 w 502142"/>
                  <a:gd name="connsiteY15" fmla="*/ 99717 h 502347"/>
                  <a:gd name="connsiteX16" fmla="*/ 99366 w 502142"/>
                  <a:gd name="connsiteY16" fmla="*/ 321076 h 502347"/>
                  <a:gd name="connsiteX17" fmla="*/ 251242 w 502142"/>
                  <a:gd name="connsiteY17" fmla="*/ 419313 h 502347"/>
                  <a:gd name="connsiteX18" fmla="*/ 268263 w 502142"/>
                  <a:gd name="connsiteY18" fmla="*/ 418003 h 502347"/>
                  <a:gd name="connsiteX19" fmla="*/ 264335 w 502142"/>
                  <a:gd name="connsiteY19" fmla="*/ 418003 h 502347"/>
                  <a:gd name="connsiteX20" fmla="*/ 253861 w 502142"/>
                  <a:gd name="connsiteY20" fmla="*/ 399665 h 502347"/>
                  <a:gd name="connsiteX21" fmla="*/ 270881 w 502142"/>
                  <a:gd name="connsiteY21" fmla="*/ 336794 h 502347"/>
                  <a:gd name="connsiteX22" fmla="*/ 251242 w 502142"/>
                  <a:gd name="connsiteY22" fmla="*/ 307978 h 502347"/>
                  <a:gd name="connsiteX23" fmla="*/ 247314 w 502142"/>
                  <a:gd name="connsiteY23" fmla="*/ 306668 h 502347"/>
                  <a:gd name="connsiteX24" fmla="*/ 236840 w 502142"/>
                  <a:gd name="connsiteY24" fmla="*/ 335484 h 502347"/>
                  <a:gd name="connsiteX25" fmla="*/ 222438 w 502142"/>
                  <a:gd name="connsiteY25" fmla="*/ 345963 h 502347"/>
                  <a:gd name="connsiteX26" fmla="*/ 173995 w 502142"/>
                  <a:gd name="connsiteY26" fmla="*/ 348582 h 502347"/>
                  <a:gd name="connsiteX27" fmla="*/ 158283 w 502142"/>
                  <a:gd name="connsiteY27" fmla="*/ 334174 h 502347"/>
                  <a:gd name="connsiteX28" fmla="*/ 172685 w 502142"/>
                  <a:gd name="connsiteY28" fmla="*/ 318457 h 502347"/>
                  <a:gd name="connsiteX29" fmla="*/ 211964 w 502142"/>
                  <a:gd name="connsiteY29" fmla="*/ 315837 h 502347"/>
                  <a:gd name="connsiteX30" fmla="*/ 223747 w 502142"/>
                  <a:gd name="connsiteY30" fmla="*/ 283092 h 502347"/>
                  <a:gd name="connsiteX31" fmla="*/ 225056 w 502142"/>
                  <a:gd name="connsiteY31" fmla="*/ 272613 h 502347"/>
                  <a:gd name="connsiteX32" fmla="*/ 242077 w 502142"/>
                  <a:gd name="connsiteY32" fmla="*/ 217601 h 502347"/>
                  <a:gd name="connsiteX33" fmla="*/ 234221 w 502142"/>
                  <a:gd name="connsiteY33" fmla="*/ 221530 h 502347"/>
                  <a:gd name="connsiteX34" fmla="*/ 211964 w 502142"/>
                  <a:gd name="connsiteY34" fmla="*/ 247726 h 502347"/>
                  <a:gd name="connsiteX35" fmla="*/ 201489 w 502142"/>
                  <a:gd name="connsiteY35" fmla="*/ 256895 h 502347"/>
                  <a:gd name="connsiteX36" fmla="*/ 201489 w 502142"/>
                  <a:gd name="connsiteY36" fmla="*/ 262134 h 502347"/>
                  <a:gd name="connsiteX37" fmla="*/ 197562 w 502142"/>
                  <a:gd name="connsiteY37" fmla="*/ 264754 h 502347"/>
                  <a:gd name="connsiteX38" fmla="*/ 211964 w 502142"/>
                  <a:gd name="connsiteY38" fmla="*/ 279162 h 502347"/>
                  <a:gd name="connsiteX39" fmla="*/ 175304 w 502142"/>
                  <a:gd name="connsiteY39" fmla="*/ 311908 h 502347"/>
                  <a:gd name="connsiteX40" fmla="*/ 130788 w 502142"/>
                  <a:gd name="connsiteY40" fmla="*/ 264754 h 502347"/>
                  <a:gd name="connsiteX41" fmla="*/ 166139 w 502142"/>
                  <a:gd name="connsiteY41" fmla="*/ 230699 h 502347"/>
                  <a:gd name="connsiteX42" fmla="*/ 179232 w 502142"/>
                  <a:gd name="connsiteY42" fmla="*/ 245107 h 502347"/>
                  <a:gd name="connsiteX43" fmla="*/ 183159 w 502142"/>
                  <a:gd name="connsiteY43" fmla="*/ 242487 h 502347"/>
                  <a:gd name="connsiteX44" fmla="*/ 187087 w 502142"/>
                  <a:gd name="connsiteY44" fmla="*/ 241177 h 502347"/>
                  <a:gd name="connsiteX45" fmla="*/ 187087 w 502142"/>
                  <a:gd name="connsiteY45" fmla="*/ 239867 h 502347"/>
                  <a:gd name="connsiteX46" fmla="*/ 222438 w 502142"/>
                  <a:gd name="connsiteY46" fmla="*/ 199263 h 502347"/>
                  <a:gd name="connsiteX47" fmla="*/ 270881 w 502142"/>
                  <a:gd name="connsiteY47" fmla="*/ 186165 h 502347"/>
                  <a:gd name="connsiteX48" fmla="*/ 276118 w 502142"/>
                  <a:gd name="connsiteY48" fmla="*/ 186165 h 502347"/>
                  <a:gd name="connsiteX49" fmla="*/ 283974 w 502142"/>
                  <a:gd name="connsiteY49" fmla="*/ 187475 h 502347"/>
                  <a:gd name="connsiteX50" fmla="*/ 286592 w 502142"/>
                  <a:gd name="connsiteY50" fmla="*/ 188785 h 502347"/>
                  <a:gd name="connsiteX51" fmla="*/ 291830 w 502142"/>
                  <a:gd name="connsiteY51" fmla="*/ 191404 h 502347"/>
                  <a:gd name="connsiteX52" fmla="*/ 304922 w 502142"/>
                  <a:gd name="connsiteY52" fmla="*/ 208432 h 502347"/>
                  <a:gd name="connsiteX53" fmla="*/ 304922 w 502142"/>
                  <a:gd name="connsiteY53" fmla="*/ 209742 h 502347"/>
                  <a:gd name="connsiteX54" fmla="*/ 321943 w 502142"/>
                  <a:gd name="connsiteY54" fmla="*/ 222840 h 502347"/>
                  <a:gd name="connsiteX55" fmla="*/ 350747 w 502142"/>
                  <a:gd name="connsiteY55" fmla="*/ 218910 h 502347"/>
                  <a:gd name="connsiteX56" fmla="*/ 367768 w 502142"/>
                  <a:gd name="connsiteY56" fmla="*/ 220220 h 502347"/>
                  <a:gd name="connsiteX57" fmla="*/ 366458 w 502142"/>
                  <a:gd name="connsiteY57" fmla="*/ 238558 h 502347"/>
                  <a:gd name="connsiteX58" fmla="*/ 332417 w 502142"/>
                  <a:gd name="connsiteY58" fmla="*/ 250346 h 502347"/>
                  <a:gd name="connsiteX59" fmla="*/ 315397 w 502142"/>
                  <a:gd name="connsiteY59" fmla="*/ 247726 h 502347"/>
                  <a:gd name="connsiteX60" fmla="*/ 298376 w 502142"/>
                  <a:gd name="connsiteY60" fmla="*/ 239867 h 502347"/>
                  <a:gd name="connsiteX61" fmla="*/ 282665 w 502142"/>
                  <a:gd name="connsiteY61" fmla="*/ 290950 h 502347"/>
                  <a:gd name="connsiteX62" fmla="*/ 280046 w 502142"/>
                  <a:gd name="connsiteY62" fmla="*/ 296190 h 502347"/>
                  <a:gd name="connsiteX63" fmla="*/ 299685 w 502142"/>
                  <a:gd name="connsiteY63" fmla="*/ 325006 h 502347"/>
                  <a:gd name="connsiteX64" fmla="*/ 302304 w 502142"/>
                  <a:gd name="connsiteY64" fmla="*/ 336794 h 502347"/>
                  <a:gd name="connsiteX65" fmla="*/ 282665 w 502142"/>
                  <a:gd name="connsiteY65" fmla="*/ 407524 h 502347"/>
                  <a:gd name="connsiteX66" fmla="*/ 272190 w 502142"/>
                  <a:gd name="connsiteY66" fmla="*/ 418003 h 502347"/>
                  <a:gd name="connsiteX67" fmla="*/ 320634 w 502142"/>
                  <a:gd name="connsiteY67" fmla="*/ 403595 h 502347"/>
                  <a:gd name="connsiteX68" fmla="*/ 403118 w 502142"/>
                  <a:gd name="connsiteY68" fmla="*/ 180926 h 502347"/>
                  <a:gd name="connsiteX69" fmla="*/ 251242 w 502142"/>
                  <a:gd name="connsiteY69" fmla="*/ 83999 h 502347"/>
                  <a:gd name="connsiteX70" fmla="*/ 324562 w 502142"/>
                  <a:gd name="connsiteY70" fmla="*/ 1480 h 502347"/>
                  <a:gd name="connsiteX71" fmla="*/ 357294 w 502142"/>
                  <a:gd name="connsiteY71" fmla="*/ 14579 h 502347"/>
                  <a:gd name="connsiteX72" fmla="*/ 376933 w 502142"/>
                  <a:gd name="connsiteY72" fmla="*/ 56493 h 502347"/>
                  <a:gd name="connsiteX73" fmla="*/ 366458 w 502142"/>
                  <a:gd name="connsiteY73" fmla="*/ 82689 h 502347"/>
                  <a:gd name="connsiteX74" fmla="*/ 410974 w 502142"/>
                  <a:gd name="connsiteY74" fmla="*/ 123294 h 502347"/>
                  <a:gd name="connsiteX75" fmla="*/ 435850 w 502142"/>
                  <a:gd name="connsiteY75" fmla="*/ 110195 h 502347"/>
                  <a:gd name="connsiteX76" fmla="*/ 479056 w 502142"/>
                  <a:gd name="connsiteY76" fmla="*/ 127223 h 502347"/>
                  <a:gd name="connsiteX77" fmla="*/ 493458 w 502142"/>
                  <a:gd name="connsiteY77" fmla="*/ 159969 h 502347"/>
                  <a:gd name="connsiteX78" fmla="*/ 477747 w 502142"/>
                  <a:gd name="connsiteY78" fmla="*/ 201883 h 502347"/>
                  <a:gd name="connsiteX79" fmla="*/ 452871 w 502142"/>
                  <a:gd name="connsiteY79" fmla="*/ 213671 h 502347"/>
                  <a:gd name="connsiteX80" fmla="*/ 454180 w 502142"/>
                  <a:gd name="connsiteY80" fmla="*/ 272613 h 502347"/>
                  <a:gd name="connsiteX81" fmla="*/ 481675 w 502142"/>
                  <a:gd name="connsiteY81" fmla="*/ 283092 h 502347"/>
                  <a:gd name="connsiteX82" fmla="*/ 500005 w 502142"/>
                  <a:gd name="connsiteY82" fmla="*/ 323696 h 502347"/>
                  <a:gd name="connsiteX83" fmla="*/ 488221 w 502142"/>
                  <a:gd name="connsiteY83" fmla="*/ 357751 h 502347"/>
                  <a:gd name="connsiteX84" fmla="*/ 471201 w 502142"/>
                  <a:gd name="connsiteY84" fmla="*/ 376089 h 502347"/>
                  <a:gd name="connsiteX85" fmla="*/ 446324 w 502142"/>
                  <a:gd name="connsiteY85" fmla="*/ 377399 h 502347"/>
                  <a:gd name="connsiteX86" fmla="*/ 420139 w 502142"/>
                  <a:gd name="connsiteY86" fmla="*/ 366920 h 502347"/>
                  <a:gd name="connsiteX87" fmla="*/ 379551 w 502142"/>
                  <a:gd name="connsiteY87" fmla="*/ 410144 h 502347"/>
                  <a:gd name="connsiteX88" fmla="*/ 391335 w 502142"/>
                  <a:gd name="connsiteY88" fmla="*/ 436340 h 502347"/>
                  <a:gd name="connsiteX89" fmla="*/ 375623 w 502142"/>
                  <a:gd name="connsiteY89" fmla="*/ 479564 h 502347"/>
                  <a:gd name="connsiteX90" fmla="*/ 342891 w 502142"/>
                  <a:gd name="connsiteY90" fmla="*/ 493972 h 502347"/>
                  <a:gd name="connsiteX91" fmla="*/ 300995 w 502142"/>
                  <a:gd name="connsiteY91" fmla="*/ 478255 h 502347"/>
                  <a:gd name="connsiteX92" fmla="*/ 289211 w 502142"/>
                  <a:gd name="connsiteY92" fmla="*/ 453368 h 502347"/>
                  <a:gd name="connsiteX93" fmla="*/ 228984 w 502142"/>
                  <a:gd name="connsiteY93" fmla="*/ 454678 h 502347"/>
                  <a:gd name="connsiteX94" fmla="*/ 219819 w 502142"/>
                  <a:gd name="connsiteY94" fmla="*/ 482184 h 502347"/>
                  <a:gd name="connsiteX95" fmla="*/ 202799 w 502142"/>
                  <a:gd name="connsiteY95" fmla="*/ 499212 h 502347"/>
                  <a:gd name="connsiteX96" fmla="*/ 177922 w 502142"/>
                  <a:gd name="connsiteY96" fmla="*/ 500522 h 502347"/>
                  <a:gd name="connsiteX97" fmla="*/ 143881 w 502142"/>
                  <a:gd name="connsiteY97" fmla="*/ 488733 h 502347"/>
                  <a:gd name="connsiteX98" fmla="*/ 126861 w 502142"/>
                  <a:gd name="connsiteY98" fmla="*/ 471705 h 502347"/>
                  <a:gd name="connsiteX99" fmla="*/ 125551 w 502142"/>
                  <a:gd name="connsiteY99" fmla="*/ 446819 h 502347"/>
                  <a:gd name="connsiteX100" fmla="*/ 134716 w 502142"/>
                  <a:gd name="connsiteY100" fmla="*/ 420623 h 502347"/>
                  <a:gd name="connsiteX101" fmla="*/ 91510 w 502142"/>
                  <a:gd name="connsiteY101" fmla="*/ 380018 h 502347"/>
                  <a:gd name="connsiteX102" fmla="*/ 66634 w 502142"/>
                  <a:gd name="connsiteY102" fmla="*/ 391807 h 502347"/>
                  <a:gd name="connsiteX103" fmla="*/ 23428 w 502142"/>
                  <a:gd name="connsiteY103" fmla="*/ 376089 h 502347"/>
                  <a:gd name="connsiteX104" fmla="*/ 7716 w 502142"/>
                  <a:gd name="connsiteY104" fmla="*/ 343343 h 502347"/>
                  <a:gd name="connsiteX105" fmla="*/ 23428 w 502142"/>
                  <a:gd name="connsiteY105" fmla="*/ 300119 h 502347"/>
                  <a:gd name="connsiteX106" fmla="*/ 49613 w 502142"/>
                  <a:gd name="connsiteY106" fmla="*/ 288331 h 502347"/>
                  <a:gd name="connsiteX107" fmla="*/ 48304 w 502142"/>
                  <a:gd name="connsiteY107" fmla="*/ 229389 h 502347"/>
                  <a:gd name="connsiteX108" fmla="*/ 20809 w 502142"/>
                  <a:gd name="connsiteY108" fmla="*/ 220220 h 502347"/>
                  <a:gd name="connsiteX109" fmla="*/ 2479 w 502142"/>
                  <a:gd name="connsiteY109" fmla="*/ 203193 h 502347"/>
                  <a:gd name="connsiteX110" fmla="*/ 2479 w 502142"/>
                  <a:gd name="connsiteY110" fmla="*/ 178306 h 502347"/>
                  <a:gd name="connsiteX111" fmla="*/ 14263 w 502142"/>
                  <a:gd name="connsiteY111" fmla="*/ 144251 h 502347"/>
                  <a:gd name="connsiteX112" fmla="*/ 56159 w 502142"/>
                  <a:gd name="connsiteY112" fmla="*/ 125913 h 502347"/>
                  <a:gd name="connsiteX113" fmla="*/ 82345 w 502142"/>
                  <a:gd name="connsiteY113" fmla="*/ 135082 h 502347"/>
                  <a:gd name="connsiteX114" fmla="*/ 122933 w 502142"/>
                  <a:gd name="connsiteY114" fmla="*/ 91858 h 502347"/>
                  <a:gd name="connsiteX115" fmla="*/ 111149 w 502142"/>
                  <a:gd name="connsiteY115" fmla="*/ 65662 h 502347"/>
                  <a:gd name="connsiteX116" fmla="*/ 126861 w 502142"/>
                  <a:gd name="connsiteY116" fmla="*/ 23747 h 502347"/>
                  <a:gd name="connsiteX117" fmla="*/ 159592 w 502142"/>
                  <a:gd name="connsiteY117" fmla="*/ 8029 h 502347"/>
                  <a:gd name="connsiteX118" fmla="*/ 201489 w 502142"/>
                  <a:gd name="connsiteY118" fmla="*/ 23747 h 502347"/>
                  <a:gd name="connsiteX119" fmla="*/ 213273 w 502142"/>
                  <a:gd name="connsiteY119" fmla="*/ 49944 h 502347"/>
                  <a:gd name="connsiteX120" fmla="*/ 272190 w 502142"/>
                  <a:gd name="connsiteY120" fmla="*/ 47324 h 502347"/>
                  <a:gd name="connsiteX121" fmla="*/ 282665 w 502142"/>
                  <a:gd name="connsiteY121" fmla="*/ 21128 h 502347"/>
                  <a:gd name="connsiteX122" fmla="*/ 324562 w 502142"/>
                  <a:gd name="connsiteY122" fmla="*/ 1480 h 5023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</a:cxnLst>
                <a:rect l="l" t="t" r="r" b="b"/>
                <a:pathLst>
                  <a:path w="502142" h="502347">
                    <a:moveTo>
                      <a:pt x="185778" y="245107"/>
                    </a:moveTo>
                    <a:cubicBezTo>
                      <a:pt x="185778" y="245107"/>
                      <a:pt x="185778" y="245107"/>
                      <a:pt x="181850" y="247726"/>
                    </a:cubicBezTo>
                    <a:cubicBezTo>
                      <a:pt x="181850" y="247726"/>
                      <a:pt x="181850" y="247726"/>
                      <a:pt x="196252" y="262134"/>
                    </a:cubicBezTo>
                    <a:cubicBezTo>
                      <a:pt x="196252" y="262134"/>
                      <a:pt x="196252" y="262134"/>
                      <a:pt x="198871" y="259515"/>
                    </a:cubicBezTo>
                    <a:cubicBezTo>
                      <a:pt x="198871" y="259515"/>
                      <a:pt x="198871" y="258205"/>
                      <a:pt x="198871" y="258205"/>
                    </a:cubicBezTo>
                    <a:cubicBezTo>
                      <a:pt x="198871" y="258205"/>
                      <a:pt x="198871" y="258205"/>
                      <a:pt x="197562" y="256895"/>
                    </a:cubicBezTo>
                    <a:cubicBezTo>
                      <a:pt x="197562" y="256895"/>
                      <a:pt x="196252" y="256895"/>
                      <a:pt x="196252" y="255585"/>
                    </a:cubicBezTo>
                    <a:cubicBezTo>
                      <a:pt x="191015" y="254275"/>
                      <a:pt x="187087" y="250346"/>
                      <a:pt x="187087" y="245107"/>
                    </a:cubicBezTo>
                    <a:cubicBezTo>
                      <a:pt x="187087" y="245107"/>
                      <a:pt x="187087" y="245107"/>
                      <a:pt x="185778" y="245107"/>
                    </a:cubicBezTo>
                    <a:close/>
                    <a:moveTo>
                      <a:pt x="300657" y="124890"/>
                    </a:moveTo>
                    <a:cubicBezTo>
                      <a:pt x="318976" y="124890"/>
                      <a:pt x="333369" y="140543"/>
                      <a:pt x="333369" y="157500"/>
                    </a:cubicBezTo>
                    <a:cubicBezTo>
                      <a:pt x="333369" y="175761"/>
                      <a:pt x="318976" y="191414"/>
                      <a:pt x="300657" y="191414"/>
                    </a:cubicBezTo>
                    <a:cubicBezTo>
                      <a:pt x="282339" y="191414"/>
                      <a:pt x="267945" y="175761"/>
                      <a:pt x="267945" y="157500"/>
                    </a:cubicBezTo>
                    <a:cubicBezTo>
                      <a:pt x="267945" y="140543"/>
                      <a:pt x="282339" y="124890"/>
                      <a:pt x="300657" y="124890"/>
                    </a:cubicBezTo>
                    <a:close/>
                    <a:moveTo>
                      <a:pt x="251242" y="83999"/>
                    </a:moveTo>
                    <a:cubicBezTo>
                      <a:pt x="226366" y="83999"/>
                      <a:pt x="202799" y="89238"/>
                      <a:pt x="180541" y="99717"/>
                    </a:cubicBezTo>
                    <a:cubicBezTo>
                      <a:pt x="96747" y="137702"/>
                      <a:pt x="60087" y="237248"/>
                      <a:pt x="99366" y="321076"/>
                    </a:cubicBezTo>
                    <a:cubicBezTo>
                      <a:pt x="125551" y="381328"/>
                      <a:pt x="185778" y="419313"/>
                      <a:pt x="251242" y="419313"/>
                    </a:cubicBezTo>
                    <a:cubicBezTo>
                      <a:pt x="256479" y="419313"/>
                      <a:pt x="263025" y="419313"/>
                      <a:pt x="268263" y="418003"/>
                    </a:cubicBezTo>
                    <a:cubicBezTo>
                      <a:pt x="266953" y="418003"/>
                      <a:pt x="265644" y="418003"/>
                      <a:pt x="264335" y="418003"/>
                    </a:cubicBezTo>
                    <a:cubicBezTo>
                      <a:pt x="256479" y="415383"/>
                      <a:pt x="252551" y="407524"/>
                      <a:pt x="253861" y="399665"/>
                    </a:cubicBezTo>
                    <a:cubicBezTo>
                      <a:pt x="253861" y="399665"/>
                      <a:pt x="253861" y="399665"/>
                      <a:pt x="270881" y="336794"/>
                    </a:cubicBezTo>
                    <a:cubicBezTo>
                      <a:pt x="270881" y="336794"/>
                      <a:pt x="270881" y="336794"/>
                      <a:pt x="251242" y="307978"/>
                    </a:cubicBezTo>
                    <a:cubicBezTo>
                      <a:pt x="249933" y="307978"/>
                      <a:pt x="248623" y="306668"/>
                      <a:pt x="247314" y="306668"/>
                    </a:cubicBezTo>
                    <a:cubicBezTo>
                      <a:pt x="247314" y="306668"/>
                      <a:pt x="247314" y="306668"/>
                      <a:pt x="236840" y="335484"/>
                    </a:cubicBezTo>
                    <a:cubicBezTo>
                      <a:pt x="234221" y="342033"/>
                      <a:pt x="228984" y="345963"/>
                      <a:pt x="222438" y="345963"/>
                    </a:cubicBezTo>
                    <a:cubicBezTo>
                      <a:pt x="222438" y="345963"/>
                      <a:pt x="222438" y="345963"/>
                      <a:pt x="173995" y="348582"/>
                    </a:cubicBezTo>
                    <a:cubicBezTo>
                      <a:pt x="166139" y="348582"/>
                      <a:pt x="159592" y="342033"/>
                      <a:pt x="158283" y="334174"/>
                    </a:cubicBezTo>
                    <a:cubicBezTo>
                      <a:pt x="158283" y="325006"/>
                      <a:pt x="164830" y="318457"/>
                      <a:pt x="172685" y="318457"/>
                    </a:cubicBezTo>
                    <a:cubicBezTo>
                      <a:pt x="172685" y="318457"/>
                      <a:pt x="172685" y="318457"/>
                      <a:pt x="211964" y="315837"/>
                    </a:cubicBezTo>
                    <a:cubicBezTo>
                      <a:pt x="211964" y="315837"/>
                      <a:pt x="211964" y="315837"/>
                      <a:pt x="223747" y="283092"/>
                    </a:cubicBezTo>
                    <a:cubicBezTo>
                      <a:pt x="223747" y="279162"/>
                      <a:pt x="223747" y="276542"/>
                      <a:pt x="225056" y="272613"/>
                    </a:cubicBezTo>
                    <a:cubicBezTo>
                      <a:pt x="225056" y="272613"/>
                      <a:pt x="225056" y="272613"/>
                      <a:pt x="242077" y="217601"/>
                    </a:cubicBezTo>
                    <a:cubicBezTo>
                      <a:pt x="239458" y="218910"/>
                      <a:pt x="236840" y="220220"/>
                      <a:pt x="234221" y="221530"/>
                    </a:cubicBezTo>
                    <a:cubicBezTo>
                      <a:pt x="222438" y="228079"/>
                      <a:pt x="214582" y="237248"/>
                      <a:pt x="211964" y="247726"/>
                    </a:cubicBezTo>
                    <a:cubicBezTo>
                      <a:pt x="210654" y="251656"/>
                      <a:pt x="206726" y="255585"/>
                      <a:pt x="201489" y="256895"/>
                    </a:cubicBezTo>
                    <a:cubicBezTo>
                      <a:pt x="202799" y="258205"/>
                      <a:pt x="202799" y="260825"/>
                      <a:pt x="201489" y="262134"/>
                    </a:cubicBezTo>
                    <a:cubicBezTo>
                      <a:pt x="201489" y="262134"/>
                      <a:pt x="201489" y="262134"/>
                      <a:pt x="197562" y="264754"/>
                    </a:cubicBezTo>
                    <a:cubicBezTo>
                      <a:pt x="197562" y="264754"/>
                      <a:pt x="197562" y="264754"/>
                      <a:pt x="211964" y="279162"/>
                    </a:cubicBezTo>
                    <a:cubicBezTo>
                      <a:pt x="211964" y="279162"/>
                      <a:pt x="211964" y="279162"/>
                      <a:pt x="175304" y="311908"/>
                    </a:cubicBezTo>
                    <a:cubicBezTo>
                      <a:pt x="175304" y="311908"/>
                      <a:pt x="175304" y="311908"/>
                      <a:pt x="130788" y="264754"/>
                    </a:cubicBezTo>
                    <a:cubicBezTo>
                      <a:pt x="130788" y="264754"/>
                      <a:pt x="130788" y="264754"/>
                      <a:pt x="166139" y="230699"/>
                    </a:cubicBezTo>
                    <a:cubicBezTo>
                      <a:pt x="166139" y="230699"/>
                      <a:pt x="166139" y="230699"/>
                      <a:pt x="179232" y="245107"/>
                    </a:cubicBezTo>
                    <a:cubicBezTo>
                      <a:pt x="179232" y="245107"/>
                      <a:pt x="179232" y="245107"/>
                      <a:pt x="183159" y="242487"/>
                    </a:cubicBezTo>
                    <a:cubicBezTo>
                      <a:pt x="184469" y="241177"/>
                      <a:pt x="185778" y="241177"/>
                      <a:pt x="187087" y="241177"/>
                    </a:cubicBezTo>
                    <a:cubicBezTo>
                      <a:pt x="187087" y="241177"/>
                      <a:pt x="187087" y="241177"/>
                      <a:pt x="187087" y="239867"/>
                    </a:cubicBezTo>
                    <a:cubicBezTo>
                      <a:pt x="191015" y="224150"/>
                      <a:pt x="204108" y="209742"/>
                      <a:pt x="222438" y="199263"/>
                    </a:cubicBezTo>
                    <a:cubicBezTo>
                      <a:pt x="238149" y="190094"/>
                      <a:pt x="255170" y="186165"/>
                      <a:pt x="270881" y="186165"/>
                    </a:cubicBezTo>
                    <a:cubicBezTo>
                      <a:pt x="273500" y="186165"/>
                      <a:pt x="274809" y="186165"/>
                      <a:pt x="276118" y="186165"/>
                    </a:cubicBezTo>
                    <a:cubicBezTo>
                      <a:pt x="276118" y="186165"/>
                      <a:pt x="280046" y="187475"/>
                      <a:pt x="283974" y="187475"/>
                    </a:cubicBezTo>
                    <a:cubicBezTo>
                      <a:pt x="285283" y="188785"/>
                      <a:pt x="285283" y="188785"/>
                      <a:pt x="286592" y="188785"/>
                    </a:cubicBezTo>
                    <a:cubicBezTo>
                      <a:pt x="287902" y="190094"/>
                      <a:pt x="289211" y="190094"/>
                      <a:pt x="291830" y="191404"/>
                    </a:cubicBezTo>
                    <a:cubicBezTo>
                      <a:pt x="297067" y="195334"/>
                      <a:pt x="302304" y="201883"/>
                      <a:pt x="304922" y="208432"/>
                    </a:cubicBezTo>
                    <a:cubicBezTo>
                      <a:pt x="304922" y="208432"/>
                      <a:pt x="304922" y="209742"/>
                      <a:pt x="304922" y="209742"/>
                    </a:cubicBezTo>
                    <a:cubicBezTo>
                      <a:pt x="307541" y="214981"/>
                      <a:pt x="312778" y="220220"/>
                      <a:pt x="321943" y="222840"/>
                    </a:cubicBezTo>
                    <a:cubicBezTo>
                      <a:pt x="332417" y="225459"/>
                      <a:pt x="344201" y="224150"/>
                      <a:pt x="350747" y="218910"/>
                    </a:cubicBezTo>
                    <a:cubicBezTo>
                      <a:pt x="355984" y="214981"/>
                      <a:pt x="363840" y="214981"/>
                      <a:pt x="367768" y="220220"/>
                    </a:cubicBezTo>
                    <a:cubicBezTo>
                      <a:pt x="373005" y="225459"/>
                      <a:pt x="371696" y="233318"/>
                      <a:pt x="366458" y="238558"/>
                    </a:cubicBezTo>
                    <a:cubicBezTo>
                      <a:pt x="358603" y="246417"/>
                      <a:pt x="345510" y="250346"/>
                      <a:pt x="332417" y="250346"/>
                    </a:cubicBezTo>
                    <a:cubicBezTo>
                      <a:pt x="327180" y="250346"/>
                      <a:pt x="320634" y="249036"/>
                      <a:pt x="315397" y="247726"/>
                    </a:cubicBezTo>
                    <a:cubicBezTo>
                      <a:pt x="308850" y="245107"/>
                      <a:pt x="303613" y="243797"/>
                      <a:pt x="298376" y="239867"/>
                    </a:cubicBezTo>
                    <a:cubicBezTo>
                      <a:pt x="298376" y="239867"/>
                      <a:pt x="298376" y="239867"/>
                      <a:pt x="282665" y="290950"/>
                    </a:cubicBezTo>
                    <a:cubicBezTo>
                      <a:pt x="281355" y="293570"/>
                      <a:pt x="281355" y="294880"/>
                      <a:pt x="280046" y="296190"/>
                    </a:cubicBezTo>
                    <a:cubicBezTo>
                      <a:pt x="280046" y="296190"/>
                      <a:pt x="280046" y="296190"/>
                      <a:pt x="299685" y="325006"/>
                    </a:cubicBezTo>
                    <a:cubicBezTo>
                      <a:pt x="302304" y="328935"/>
                      <a:pt x="303613" y="332865"/>
                      <a:pt x="302304" y="336794"/>
                    </a:cubicBezTo>
                    <a:cubicBezTo>
                      <a:pt x="302304" y="336794"/>
                      <a:pt x="302304" y="336794"/>
                      <a:pt x="282665" y="407524"/>
                    </a:cubicBezTo>
                    <a:cubicBezTo>
                      <a:pt x="281355" y="412764"/>
                      <a:pt x="277428" y="416693"/>
                      <a:pt x="272190" y="418003"/>
                    </a:cubicBezTo>
                    <a:cubicBezTo>
                      <a:pt x="289211" y="415383"/>
                      <a:pt x="304922" y="411454"/>
                      <a:pt x="320634" y="403595"/>
                    </a:cubicBezTo>
                    <a:cubicBezTo>
                      <a:pt x="405737" y="365610"/>
                      <a:pt x="442397" y="264754"/>
                      <a:pt x="403118" y="180926"/>
                    </a:cubicBezTo>
                    <a:cubicBezTo>
                      <a:pt x="375623" y="121984"/>
                      <a:pt x="316706" y="83999"/>
                      <a:pt x="251242" y="83999"/>
                    </a:cubicBezTo>
                    <a:close/>
                    <a:moveTo>
                      <a:pt x="324562" y="1480"/>
                    </a:moveTo>
                    <a:cubicBezTo>
                      <a:pt x="324562" y="1480"/>
                      <a:pt x="324562" y="1480"/>
                      <a:pt x="357294" y="14579"/>
                    </a:cubicBezTo>
                    <a:cubicBezTo>
                      <a:pt x="374314" y="21128"/>
                      <a:pt x="383479" y="39465"/>
                      <a:pt x="376933" y="56493"/>
                    </a:cubicBezTo>
                    <a:cubicBezTo>
                      <a:pt x="376933" y="56493"/>
                      <a:pt x="376933" y="56493"/>
                      <a:pt x="366458" y="82689"/>
                    </a:cubicBezTo>
                    <a:cubicBezTo>
                      <a:pt x="383479" y="93168"/>
                      <a:pt x="397881" y="107576"/>
                      <a:pt x="410974" y="123294"/>
                    </a:cubicBezTo>
                    <a:cubicBezTo>
                      <a:pt x="410974" y="123294"/>
                      <a:pt x="410974" y="123294"/>
                      <a:pt x="435850" y="110195"/>
                    </a:cubicBezTo>
                    <a:cubicBezTo>
                      <a:pt x="452871" y="103646"/>
                      <a:pt x="471201" y="110195"/>
                      <a:pt x="479056" y="127223"/>
                    </a:cubicBezTo>
                    <a:cubicBezTo>
                      <a:pt x="479056" y="127223"/>
                      <a:pt x="479056" y="127223"/>
                      <a:pt x="493458" y="159969"/>
                    </a:cubicBezTo>
                    <a:cubicBezTo>
                      <a:pt x="501314" y="175686"/>
                      <a:pt x="494768" y="194024"/>
                      <a:pt x="477747" y="201883"/>
                    </a:cubicBezTo>
                    <a:cubicBezTo>
                      <a:pt x="477747" y="201883"/>
                      <a:pt x="477747" y="201883"/>
                      <a:pt x="452871" y="213671"/>
                    </a:cubicBezTo>
                    <a:cubicBezTo>
                      <a:pt x="455489" y="233318"/>
                      <a:pt x="456799" y="252966"/>
                      <a:pt x="454180" y="272613"/>
                    </a:cubicBezTo>
                    <a:cubicBezTo>
                      <a:pt x="454180" y="272613"/>
                      <a:pt x="454180" y="272613"/>
                      <a:pt x="481675" y="283092"/>
                    </a:cubicBezTo>
                    <a:cubicBezTo>
                      <a:pt x="497386" y="289641"/>
                      <a:pt x="506551" y="307978"/>
                      <a:pt x="500005" y="323696"/>
                    </a:cubicBezTo>
                    <a:cubicBezTo>
                      <a:pt x="500005" y="323696"/>
                      <a:pt x="500005" y="323696"/>
                      <a:pt x="488221" y="357751"/>
                    </a:cubicBezTo>
                    <a:cubicBezTo>
                      <a:pt x="485603" y="365610"/>
                      <a:pt x="479056" y="372159"/>
                      <a:pt x="471201" y="376089"/>
                    </a:cubicBezTo>
                    <a:cubicBezTo>
                      <a:pt x="463345" y="380018"/>
                      <a:pt x="454180" y="380018"/>
                      <a:pt x="446324" y="377399"/>
                    </a:cubicBezTo>
                    <a:cubicBezTo>
                      <a:pt x="446324" y="377399"/>
                      <a:pt x="446324" y="377399"/>
                      <a:pt x="420139" y="366920"/>
                    </a:cubicBezTo>
                    <a:cubicBezTo>
                      <a:pt x="408355" y="383948"/>
                      <a:pt x="395263" y="398356"/>
                      <a:pt x="379551" y="410144"/>
                    </a:cubicBezTo>
                    <a:cubicBezTo>
                      <a:pt x="379551" y="410144"/>
                      <a:pt x="379551" y="410144"/>
                      <a:pt x="391335" y="436340"/>
                    </a:cubicBezTo>
                    <a:cubicBezTo>
                      <a:pt x="399190" y="452058"/>
                      <a:pt x="392644" y="471705"/>
                      <a:pt x="375623" y="479564"/>
                    </a:cubicBezTo>
                    <a:cubicBezTo>
                      <a:pt x="375623" y="479564"/>
                      <a:pt x="375623" y="479564"/>
                      <a:pt x="342891" y="493972"/>
                    </a:cubicBezTo>
                    <a:cubicBezTo>
                      <a:pt x="327180" y="501831"/>
                      <a:pt x="307541" y="495282"/>
                      <a:pt x="300995" y="478255"/>
                    </a:cubicBezTo>
                    <a:cubicBezTo>
                      <a:pt x="300995" y="478255"/>
                      <a:pt x="300995" y="478255"/>
                      <a:pt x="289211" y="453368"/>
                    </a:cubicBezTo>
                    <a:cubicBezTo>
                      <a:pt x="268263" y="455988"/>
                      <a:pt x="248623" y="457297"/>
                      <a:pt x="228984" y="454678"/>
                    </a:cubicBezTo>
                    <a:cubicBezTo>
                      <a:pt x="228984" y="454678"/>
                      <a:pt x="228984" y="454678"/>
                      <a:pt x="219819" y="482184"/>
                    </a:cubicBezTo>
                    <a:cubicBezTo>
                      <a:pt x="217201" y="490043"/>
                      <a:pt x="210654" y="496592"/>
                      <a:pt x="202799" y="499212"/>
                    </a:cubicBezTo>
                    <a:cubicBezTo>
                      <a:pt x="194943" y="503141"/>
                      <a:pt x="185778" y="503141"/>
                      <a:pt x="177922" y="500522"/>
                    </a:cubicBezTo>
                    <a:cubicBezTo>
                      <a:pt x="177922" y="500522"/>
                      <a:pt x="177922" y="500522"/>
                      <a:pt x="143881" y="488733"/>
                    </a:cubicBezTo>
                    <a:cubicBezTo>
                      <a:pt x="136025" y="484804"/>
                      <a:pt x="129479" y="479564"/>
                      <a:pt x="126861" y="471705"/>
                    </a:cubicBezTo>
                    <a:cubicBezTo>
                      <a:pt x="122933" y="463847"/>
                      <a:pt x="122933" y="454678"/>
                      <a:pt x="125551" y="446819"/>
                    </a:cubicBezTo>
                    <a:cubicBezTo>
                      <a:pt x="125551" y="446819"/>
                      <a:pt x="125551" y="446819"/>
                      <a:pt x="134716" y="420623"/>
                    </a:cubicBezTo>
                    <a:cubicBezTo>
                      <a:pt x="119005" y="408834"/>
                      <a:pt x="104603" y="395736"/>
                      <a:pt x="91510" y="380018"/>
                    </a:cubicBezTo>
                    <a:cubicBezTo>
                      <a:pt x="91510" y="380018"/>
                      <a:pt x="91510" y="380018"/>
                      <a:pt x="66634" y="391807"/>
                    </a:cubicBezTo>
                    <a:cubicBezTo>
                      <a:pt x="49613" y="399665"/>
                      <a:pt x="31283" y="391807"/>
                      <a:pt x="23428" y="376089"/>
                    </a:cubicBezTo>
                    <a:cubicBezTo>
                      <a:pt x="23428" y="376089"/>
                      <a:pt x="23428" y="376089"/>
                      <a:pt x="7716" y="343343"/>
                    </a:cubicBezTo>
                    <a:cubicBezTo>
                      <a:pt x="1170" y="327625"/>
                      <a:pt x="7716" y="307978"/>
                      <a:pt x="23428" y="300119"/>
                    </a:cubicBezTo>
                    <a:cubicBezTo>
                      <a:pt x="23428" y="300119"/>
                      <a:pt x="23428" y="300119"/>
                      <a:pt x="49613" y="288331"/>
                    </a:cubicBezTo>
                    <a:cubicBezTo>
                      <a:pt x="45685" y="268684"/>
                      <a:pt x="45685" y="249036"/>
                      <a:pt x="48304" y="229389"/>
                    </a:cubicBezTo>
                    <a:cubicBezTo>
                      <a:pt x="48304" y="229389"/>
                      <a:pt x="48304" y="229389"/>
                      <a:pt x="20809" y="220220"/>
                    </a:cubicBezTo>
                    <a:cubicBezTo>
                      <a:pt x="12953" y="216291"/>
                      <a:pt x="6407" y="211051"/>
                      <a:pt x="2479" y="203193"/>
                    </a:cubicBezTo>
                    <a:cubicBezTo>
                      <a:pt x="-139" y="195334"/>
                      <a:pt x="-1449" y="186165"/>
                      <a:pt x="2479" y="178306"/>
                    </a:cubicBezTo>
                    <a:cubicBezTo>
                      <a:pt x="2479" y="178306"/>
                      <a:pt x="2479" y="178306"/>
                      <a:pt x="14263" y="144251"/>
                    </a:cubicBezTo>
                    <a:cubicBezTo>
                      <a:pt x="20809" y="128533"/>
                      <a:pt x="39139" y="119364"/>
                      <a:pt x="56159" y="125913"/>
                    </a:cubicBezTo>
                    <a:cubicBezTo>
                      <a:pt x="56159" y="125913"/>
                      <a:pt x="56159" y="125913"/>
                      <a:pt x="82345" y="135082"/>
                    </a:cubicBezTo>
                    <a:cubicBezTo>
                      <a:pt x="92819" y="119364"/>
                      <a:pt x="107221" y="104956"/>
                      <a:pt x="122933" y="91858"/>
                    </a:cubicBezTo>
                    <a:cubicBezTo>
                      <a:pt x="122933" y="91858"/>
                      <a:pt x="122933" y="91858"/>
                      <a:pt x="111149" y="65662"/>
                    </a:cubicBezTo>
                    <a:cubicBezTo>
                      <a:pt x="103294" y="49944"/>
                      <a:pt x="109840" y="30296"/>
                      <a:pt x="126861" y="23747"/>
                    </a:cubicBezTo>
                    <a:cubicBezTo>
                      <a:pt x="126861" y="23747"/>
                      <a:pt x="126861" y="23747"/>
                      <a:pt x="159592" y="8029"/>
                    </a:cubicBezTo>
                    <a:cubicBezTo>
                      <a:pt x="175304" y="1480"/>
                      <a:pt x="194943" y="8029"/>
                      <a:pt x="201489" y="23747"/>
                    </a:cubicBezTo>
                    <a:cubicBezTo>
                      <a:pt x="201489" y="23747"/>
                      <a:pt x="201489" y="23747"/>
                      <a:pt x="213273" y="49944"/>
                    </a:cubicBezTo>
                    <a:cubicBezTo>
                      <a:pt x="232912" y="46014"/>
                      <a:pt x="253861" y="46014"/>
                      <a:pt x="272190" y="47324"/>
                    </a:cubicBezTo>
                    <a:cubicBezTo>
                      <a:pt x="272190" y="47324"/>
                      <a:pt x="272190" y="47324"/>
                      <a:pt x="282665" y="21128"/>
                    </a:cubicBezTo>
                    <a:cubicBezTo>
                      <a:pt x="289211" y="5410"/>
                      <a:pt x="307541" y="-3759"/>
                      <a:pt x="324562" y="148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wrap="square" lIns="91440" tIns="45720" rIns="91440" bIns="45720" anchor="ctr">
                <a:normAutofit fontScale="92500" lnSpcReduction="10000"/>
              </a:bodyPr>
              <a:lstStyle/>
              <a:p>
                <a:pPr algn="ctr"/>
                <a:endParaRPr/>
              </a:p>
            </p:txBody>
          </p:sp>
        </p:grpSp>
        <p:grpSp>
          <p:nvGrpSpPr>
            <p:cNvPr id="13" name="iśľïde">
              <a:extLst>
                <a:ext uri="{FF2B5EF4-FFF2-40B4-BE49-F238E27FC236}">
                  <a16:creationId xmlns:a16="http://schemas.microsoft.com/office/drawing/2014/main" id="{3647870D-E430-4998-B735-6A22997ED77C}"/>
                </a:ext>
              </a:extLst>
            </p:cNvPr>
            <p:cNvGrpSpPr/>
            <p:nvPr/>
          </p:nvGrpSpPr>
          <p:grpSpPr>
            <a:xfrm>
              <a:off x="5240686" y="4729549"/>
              <a:ext cx="840384" cy="840384"/>
              <a:chOff x="4606628" y="4647730"/>
              <a:chExt cx="1206795" cy="1206795"/>
            </a:xfrm>
          </p:grpSpPr>
          <p:sp>
            <p:nvSpPr>
              <p:cNvPr id="29" name="ïsļiďé">
                <a:extLst>
                  <a:ext uri="{FF2B5EF4-FFF2-40B4-BE49-F238E27FC236}">
                    <a16:creationId xmlns:a16="http://schemas.microsoft.com/office/drawing/2014/main" id="{1249885D-4649-4900-9B80-7E95359EC0EB}"/>
                  </a:ext>
                </a:extLst>
              </p:cNvPr>
              <p:cNvSpPr/>
              <p:nvPr/>
            </p:nvSpPr>
            <p:spPr>
              <a:xfrm>
                <a:off x="4606628" y="4647730"/>
                <a:ext cx="1206795" cy="1206795"/>
              </a:xfrm>
              <a:prstGeom prst="ellipse">
                <a:avLst/>
              </a:prstGeom>
              <a:solidFill>
                <a:schemeClr val="accent5">
                  <a:alpha val="7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/>
              </a:p>
            </p:txBody>
          </p:sp>
          <p:sp>
            <p:nvSpPr>
              <p:cNvPr id="30" name="ïṥľîḋè">
                <a:extLst>
                  <a:ext uri="{FF2B5EF4-FFF2-40B4-BE49-F238E27FC236}">
                    <a16:creationId xmlns:a16="http://schemas.microsoft.com/office/drawing/2014/main" id="{E7D0D46B-1E60-4D29-9A90-A9393EDE448A}"/>
                  </a:ext>
                </a:extLst>
              </p:cNvPr>
              <p:cNvSpPr/>
              <p:nvPr/>
            </p:nvSpPr>
            <p:spPr>
              <a:xfrm>
                <a:off x="4708476" y="4749578"/>
                <a:ext cx="1003098" cy="1003098"/>
              </a:xfrm>
              <a:prstGeom prst="ellipse">
                <a:avLst/>
              </a:prstGeom>
              <a:solidFill>
                <a:schemeClr val="accent5">
                  <a:alpha val="7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/>
              </a:p>
            </p:txBody>
          </p:sp>
          <p:sp>
            <p:nvSpPr>
              <p:cNvPr id="31" name="ïṥ1íḋê">
                <a:extLst>
                  <a:ext uri="{FF2B5EF4-FFF2-40B4-BE49-F238E27FC236}">
                    <a16:creationId xmlns:a16="http://schemas.microsoft.com/office/drawing/2014/main" id="{A9BA5385-3303-47C3-8597-443B3C80B37C}"/>
                  </a:ext>
                </a:extLst>
              </p:cNvPr>
              <p:cNvSpPr/>
              <p:nvPr/>
            </p:nvSpPr>
            <p:spPr>
              <a:xfrm>
                <a:off x="4825521" y="4866623"/>
                <a:ext cx="769009" cy="769009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/>
              </a:p>
            </p:txBody>
          </p:sp>
          <p:sp>
            <p:nvSpPr>
              <p:cNvPr id="32" name="îśļîḑé">
                <a:extLst>
                  <a:ext uri="{FF2B5EF4-FFF2-40B4-BE49-F238E27FC236}">
                    <a16:creationId xmlns:a16="http://schemas.microsoft.com/office/drawing/2014/main" id="{B97AEE72-6F8E-4B0D-B414-1D5CA3579F87}"/>
                  </a:ext>
                </a:extLst>
              </p:cNvPr>
              <p:cNvSpPr/>
              <p:nvPr/>
            </p:nvSpPr>
            <p:spPr bwMode="auto">
              <a:xfrm>
                <a:off x="5068012" y="5060601"/>
                <a:ext cx="284026" cy="381053"/>
              </a:xfrm>
              <a:custGeom>
                <a:avLst/>
                <a:gdLst>
                  <a:gd name="T0" fmla="*/ 0 w 1224"/>
                  <a:gd name="T1" fmla="*/ 0 h 1643"/>
                  <a:gd name="T2" fmla="*/ 0 w 1224"/>
                  <a:gd name="T3" fmla="*/ 1643 h 1643"/>
                  <a:gd name="T4" fmla="*/ 1224 w 1224"/>
                  <a:gd name="T5" fmla="*/ 1643 h 1643"/>
                  <a:gd name="T6" fmla="*/ 1224 w 1224"/>
                  <a:gd name="T7" fmla="*/ 0 h 1643"/>
                  <a:gd name="T8" fmla="*/ 0 w 1224"/>
                  <a:gd name="T9" fmla="*/ 0 h 1643"/>
                  <a:gd name="T10" fmla="*/ 1126 w 1224"/>
                  <a:gd name="T11" fmla="*/ 1515 h 1643"/>
                  <a:gd name="T12" fmla="*/ 98 w 1224"/>
                  <a:gd name="T13" fmla="*/ 1515 h 1643"/>
                  <a:gd name="T14" fmla="*/ 98 w 1224"/>
                  <a:gd name="T15" fmla="*/ 935 h 1643"/>
                  <a:gd name="T16" fmla="*/ 1126 w 1224"/>
                  <a:gd name="T17" fmla="*/ 935 h 1643"/>
                  <a:gd name="T18" fmla="*/ 1126 w 1224"/>
                  <a:gd name="T19" fmla="*/ 1515 h 1643"/>
                  <a:gd name="T20" fmla="*/ 1126 w 1224"/>
                  <a:gd name="T21" fmla="*/ 838 h 1643"/>
                  <a:gd name="T22" fmla="*/ 98 w 1224"/>
                  <a:gd name="T23" fmla="*/ 838 h 1643"/>
                  <a:gd name="T24" fmla="*/ 98 w 1224"/>
                  <a:gd name="T25" fmla="*/ 258 h 1643"/>
                  <a:gd name="T26" fmla="*/ 1126 w 1224"/>
                  <a:gd name="T27" fmla="*/ 258 h 1643"/>
                  <a:gd name="T28" fmla="*/ 1126 w 1224"/>
                  <a:gd name="T29" fmla="*/ 838 h 1643"/>
                  <a:gd name="T30" fmla="*/ 1113 w 1224"/>
                  <a:gd name="T31" fmla="*/ 164 h 1643"/>
                  <a:gd name="T32" fmla="*/ 1080 w 1224"/>
                  <a:gd name="T33" fmla="*/ 178 h 1643"/>
                  <a:gd name="T34" fmla="*/ 1045 w 1224"/>
                  <a:gd name="T35" fmla="*/ 164 h 1643"/>
                  <a:gd name="T36" fmla="*/ 1031 w 1224"/>
                  <a:gd name="T37" fmla="*/ 129 h 1643"/>
                  <a:gd name="T38" fmla="*/ 1045 w 1224"/>
                  <a:gd name="T39" fmla="*/ 96 h 1643"/>
                  <a:gd name="T40" fmla="*/ 1080 w 1224"/>
                  <a:gd name="T41" fmla="*/ 82 h 1643"/>
                  <a:gd name="T42" fmla="*/ 1113 w 1224"/>
                  <a:gd name="T43" fmla="*/ 96 h 1643"/>
                  <a:gd name="T44" fmla="*/ 1126 w 1224"/>
                  <a:gd name="T45" fmla="*/ 129 h 1643"/>
                  <a:gd name="T46" fmla="*/ 1113 w 1224"/>
                  <a:gd name="T47" fmla="*/ 164 h 1643"/>
                  <a:gd name="T48" fmla="*/ 1063 w 1224"/>
                  <a:gd name="T49" fmla="*/ 323 h 1643"/>
                  <a:gd name="T50" fmla="*/ 161 w 1224"/>
                  <a:gd name="T51" fmla="*/ 323 h 1643"/>
                  <a:gd name="T52" fmla="*/ 161 w 1224"/>
                  <a:gd name="T53" fmla="*/ 775 h 1643"/>
                  <a:gd name="T54" fmla="*/ 1063 w 1224"/>
                  <a:gd name="T55" fmla="*/ 775 h 1643"/>
                  <a:gd name="T56" fmla="*/ 1063 w 1224"/>
                  <a:gd name="T57" fmla="*/ 323 h 1643"/>
                  <a:gd name="T58" fmla="*/ 773 w 1224"/>
                  <a:gd name="T59" fmla="*/ 581 h 1643"/>
                  <a:gd name="T60" fmla="*/ 763 w 1224"/>
                  <a:gd name="T61" fmla="*/ 604 h 1643"/>
                  <a:gd name="T62" fmla="*/ 740 w 1224"/>
                  <a:gd name="T63" fmla="*/ 614 h 1643"/>
                  <a:gd name="T64" fmla="*/ 484 w 1224"/>
                  <a:gd name="T65" fmla="*/ 614 h 1643"/>
                  <a:gd name="T66" fmla="*/ 461 w 1224"/>
                  <a:gd name="T67" fmla="*/ 604 h 1643"/>
                  <a:gd name="T68" fmla="*/ 451 w 1224"/>
                  <a:gd name="T69" fmla="*/ 581 h 1643"/>
                  <a:gd name="T70" fmla="*/ 451 w 1224"/>
                  <a:gd name="T71" fmla="*/ 451 h 1643"/>
                  <a:gd name="T72" fmla="*/ 461 w 1224"/>
                  <a:gd name="T73" fmla="*/ 428 h 1643"/>
                  <a:gd name="T74" fmla="*/ 484 w 1224"/>
                  <a:gd name="T75" fmla="*/ 419 h 1643"/>
                  <a:gd name="T76" fmla="*/ 740 w 1224"/>
                  <a:gd name="T77" fmla="*/ 419 h 1643"/>
                  <a:gd name="T78" fmla="*/ 763 w 1224"/>
                  <a:gd name="T79" fmla="*/ 428 h 1643"/>
                  <a:gd name="T80" fmla="*/ 773 w 1224"/>
                  <a:gd name="T81" fmla="*/ 451 h 1643"/>
                  <a:gd name="T82" fmla="*/ 773 w 1224"/>
                  <a:gd name="T83" fmla="*/ 581 h 1643"/>
                  <a:gd name="T84" fmla="*/ 1063 w 1224"/>
                  <a:gd name="T85" fmla="*/ 1000 h 1643"/>
                  <a:gd name="T86" fmla="*/ 161 w 1224"/>
                  <a:gd name="T87" fmla="*/ 1000 h 1643"/>
                  <a:gd name="T88" fmla="*/ 161 w 1224"/>
                  <a:gd name="T89" fmla="*/ 1450 h 1643"/>
                  <a:gd name="T90" fmla="*/ 1063 w 1224"/>
                  <a:gd name="T91" fmla="*/ 1450 h 1643"/>
                  <a:gd name="T92" fmla="*/ 1063 w 1224"/>
                  <a:gd name="T93" fmla="*/ 1000 h 1643"/>
                  <a:gd name="T94" fmla="*/ 773 w 1224"/>
                  <a:gd name="T95" fmla="*/ 1257 h 1643"/>
                  <a:gd name="T96" fmla="*/ 763 w 1224"/>
                  <a:gd name="T97" fmla="*/ 1279 h 1643"/>
                  <a:gd name="T98" fmla="*/ 740 w 1224"/>
                  <a:gd name="T99" fmla="*/ 1289 h 1643"/>
                  <a:gd name="T100" fmla="*/ 484 w 1224"/>
                  <a:gd name="T101" fmla="*/ 1289 h 1643"/>
                  <a:gd name="T102" fmla="*/ 461 w 1224"/>
                  <a:gd name="T103" fmla="*/ 1279 h 1643"/>
                  <a:gd name="T104" fmla="*/ 451 w 1224"/>
                  <a:gd name="T105" fmla="*/ 1257 h 1643"/>
                  <a:gd name="T106" fmla="*/ 451 w 1224"/>
                  <a:gd name="T107" fmla="*/ 1128 h 1643"/>
                  <a:gd name="T108" fmla="*/ 461 w 1224"/>
                  <a:gd name="T109" fmla="*/ 1105 h 1643"/>
                  <a:gd name="T110" fmla="*/ 484 w 1224"/>
                  <a:gd name="T111" fmla="*/ 1096 h 1643"/>
                  <a:gd name="T112" fmla="*/ 740 w 1224"/>
                  <a:gd name="T113" fmla="*/ 1096 h 1643"/>
                  <a:gd name="T114" fmla="*/ 763 w 1224"/>
                  <a:gd name="T115" fmla="*/ 1105 h 1643"/>
                  <a:gd name="T116" fmla="*/ 773 w 1224"/>
                  <a:gd name="T117" fmla="*/ 1128 h 1643"/>
                  <a:gd name="T118" fmla="*/ 773 w 1224"/>
                  <a:gd name="T119" fmla="*/ 1257 h 1643"/>
                  <a:gd name="T120" fmla="*/ 773 w 1224"/>
                  <a:gd name="T121" fmla="*/ 1257 h 1643"/>
                  <a:gd name="T122" fmla="*/ 773 w 1224"/>
                  <a:gd name="T123" fmla="*/ 1257 h 16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1224" h="1643">
                    <a:moveTo>
                      <a:pt x="0" y="0"/>
                    </a:moveTo>
                    <a:cubicBezTo>
                      <a:pt x="0" y="1643"/>
                      <a:pt x="0" y="1643"/>
                      <a:pt x="0" y="1643"/>
                    </a:cubicBezTo>
                    <a:cubicBezTo>
                      <a:pt x="1224" y="1643"/>
                      <a:pt x="1224" y="1643"/>
                      <a:pt x="1224" y="1643"/>
                    </a:cubicBezTo>
                    <a:cubicBezTo>
                      <a:pt x="1224" y="0"/>
                      <a:pt x="1224" y="0"/>
                      <a:pt x="1224" y="0"/>
                    </a:cubicBezTo>
                    <a:lnTo>
                      <a:pt x="0" y="0"/>
                    </a:lnTo>
                    <a:close/>
                    <a:moveTo>
                      <a:pt x="1126" y="1515"/>
                    </a:moveTo>
                    <a:cubicBezTo>
                      <a:pt x="98" y="1515"/>
                      <a:pt x="98" y="1515"/>
                      <a:pt x="98" y="1515"/>
                    </a:cubicBezTo>
                    <a:cubicBezTo>
                      <a:pt x="98" y="935"/>
                      <a:pt x="98" y="935"/>
                      <a:pt x="98" y="935"/>
                    </a:cubicBezTo>
                    <a:cubicBezTo>
                      <a:pt x="1126" y="935"/>
                      <a:pt x="1126" y="935"/>
                      <a:pt x="1126" y="935"/>
                    </a:cubicBezTo>
                    <a:lnTo>
                      <a:pt x="1126" y="1515"/>
                    </a:lnTo>
                    <a:close/>
                    <a:moveTo>
                      <a:pt x="1126" y="838"/>
                    </a:moveTo>
                    <a:cubicBezTo>
                      <a:pt x="98" y="838"/>
                      <a:pt x="98" y="838"/>
                      <a:pt x="98" y="838"/>
                    </a:cubicBezTo>
                    <a:cubicBezTo>
                      <a:pt x="98" y="258"/>
                      <a:pt x="98" y="258"/>
                      <a:pt x="98" y="258"/>
                    </a:cubicBezTo>
                    <a:cubicBezTo>
                      <a:pt x="1126" y="258"/>
                      <a:pt x="1126" y="258"/>
                      <a:pt x="1126" y="258"/>
                    </a:cubicBezTo>
                    <a:lnTo>
                      <a:pt x="1126" y="838"/>
                    </a:lnTo>
                    <a:close/>
                    <a:moveTo>
                      <a:pt x="1113" y="164"/>
                    </a:moveTo>
                    <a:cubicBezTo>
                      <a:pt x="1104" y="173"/>
                      <a:pt x="1093" y="178"/>
                      <a:pt x="1080" y="178"/>
                    </a:cubicBezTo>
                    <a:cubicBezTo>
                      <a:pt x="1066" y="178"/>
                      <a:pt x="1055" y="173"/>
                      <a:pt x="1045" y="164"/>
                    </a:cubicBezTo>
                    <a:cubicBezTo>
                      <a:pt x="1036" y="154"/>
                      <a:pt x="1031" y="142"/>
                      <a:pt x="1031" y="129"/>
                    </a:cubicBezTo>
                    <a:cubicBezTo>
                      <a:pt x="1031" y="116"/>
                      <a:pt x="1036" y="105"/>
                      <a:pt x="1045" y="96"/>
                    </a:cubicBezTo>
                    <a:cubicBezTo>
                      <a:pt x="1055" y="87"/>
                      <a:pt x="1066" y="82"/>
                      <a:pt x="1080" y="82"/>
                    </a:cubicBezTo>
                    <a:cubicBezTo>
                      <a:pt x="1093" y="82"/>
                      <a:pt x="1104" y="87"/>
                      <a:pt x="1113" y="96"/>
                    </a:cubicBezTo>
                    <a:cubicBezTo>
                      <a:pt x="1122" y="105"/>
                      <a:pt x="1126" y="116"/>
                      <a:pt x="1126" y="129"/>
                    </a:cubicBezTo>
                    <a:cubicBezTo>
                      <a:pt x="1126" y="142"/>
                      <a:pt x="1122" y="154"/>
                      <a:pt x="1113" y="164"/>
                    </a:cubicBezTo>
                    <a:close/>
                    <a:moveTo>
                      <a:pt x="1063" y="323"/>
                    </a:moveTo>
                    <a:cubicBezTo>
                      <a:pt x="161" y="323"/>
                      <a:pt x="161" y="323"/>
                      <a:pt x="161" y="323"/>
                    </a:cubicBezTo>
                    <a:cubicBezTo>
                      <a:pt x="161" y="775"/>
                      <a:pt x="161" y="775"/>
                      <a:pt x="161" y="775"/>
                    </a:cubicBezTo>
                    <a:cubicBezTo>
                      <a:pt x="1063" y="775"/>
                      <a:pt x="1063" y="775"/>
                      <a:pt x="1063" y="775"/>
                    </a:cubicBezTo>
                    <a:lnTo>
                      <a:pt x="1063" y="323"/>
                    </a:lnTo>
                    <a:close/>
                    <a:moveTo>
                      <a:pt x="773" y="581"/>
                    </a:moveTo>
                    <a:cubicBezTo>
                      <a:pt x="773" y="590"/>
                      <a:pt x="769" y="598"/>
                      <a:pt x="763" y="604"/>
                    </a:cubicBezTo>
                    <a:cubicBezTo>
                      <a:pt x="757" y="611"/>
                      <a:pt x="749" y="614"/>
                      <a:pt x="740" y="614"/>
                    </a:cubicBezTo>
                    <a:cubicBezTo>
                      <a:pt x="484" y="614"/>
                      <a:pt x="484" y="614"/>
                      <a:pt x="484" y="614"/>
                    </a:cubicBezTo>
                    <a:cubicBezTo>
                      <a:pt x="475" y="614"/>
                      <a:pt x="467" y="611"/>
                      <a:pt x="461" y="604"/>
                    </a:cubicBezTo>
                    <a:cubicBezTo>
                      <a:pt x="455" y="598"/>
                      <a:pt x="451" y="590"/>
                      <a:pt x="451" y="581"/>
                    </a:cubicBezTo>
                    <a:cubicBezTo>
                      <a:pt x="451" y="451"/>
                      <a:pt x="451" y="451"/>
                      <a:pt x="451" y="451"/>
                    </a:cubicBezTo>
                    <a:cubicBezTo>
                      <a:pt x="451" y="442"/>
                      <a:pt x="455" y="435"/>
                      <a:pt x="461" y="428"/>
                    </a:cubicBezTo>
                    <a:cubicBezTo>
                      <a:pt x="467" y="422"/>
                      <a:pt x="475" y="419"/>
                      <a:pt x="484" y="419"/>
                    </a:cubicBezTo>
                    <a:cubicBezTo>
                      <a:pt x="740" y="419"/>
                      <a:pt x="740" y="419"/>
                      <a:pt x="740" y="419"/>
                    </a:cubicBezTo>
                    <a:cubicBezTo>
                      <a:pt x="749" y="419"/>
                      <a:pt x="757" y="422"/>
                      <a:pt x="763" y="428"/>
                    </a:cubicBezTo>
                    <a:cubicBezTo>
                      <a:pt x="769" y="435"/>
                      <a:pt x="773" y="442"/>
                      <a:pt x="773" y="451"/>
                    </a:cubicBezTo>
                    <a:lnTo>
                      <a:pt x="773" y="581"/>
                    </a:lnTo>
                    <a:close/>
                    <a:moveTo>
                      <a:pt x="1063" y="1000"/>
                    </a:moveTo>
                    <a:cubicBezTo>
                      <a:pt x="161" y="1000"/>
                      <a:pt x="161" y="1000"/>
                      <a:pt x="161" y="1000"/>
                    </a:cubicBezTo>
                    <a:cubicBezTo>
                      <a:pt x="161" y="1450"/>
                      <a:pt x="161" y="1450"/>
                      <a:pt x="161" y="1450"/>
                    </a:cubicBezTo>
                    <a:cubicBezTo>
                      <a:pt x="1063" y="1450"/>
                      <a:pt x="1063" y="1450"/>
                      <a:pt x="1063" y="1450"/>
                    </a:cubicBezTo>
                    <a:lnTo>
                      <a:pt x="1063" y="1000"/>
                    </a:lnTo>
                    <a:close/>
                    <a:moveTo>
                      <a:pt x="773" y="1257"/>
                    </a:moveTo>
                    <a:cubicBezTo>
                      <a:pt x="773" y="1265"/>
                      <a:pt x="769" y="1273"/>
                      <a:pt x="763" y="1279"/>
                    </a:cubicBezTo>
                    <a:cubicBezTo>
                      <a:pt x="757" y="1286"/>
                      <a:pt x="749" y="1289"/>
                      <a:pt x="740" y="1289"/>
                    </a:cubicBezTo>
                    <a:cubicBezTo>
                      <a:pt x="484" y="1289"/>
                      <a:pt x="484" y="1289"/>
                      <a:pt x="484" y="1289"/>
                    </a:cubicBezTo>
                    <a:cubicBezTo>
                      <a:pt x="475" y="1289"/>
                      <a:pt x="467" y="1286"/>
                      <a:pt x="461" y="1279"/>
                    </a:cubicBezTo>
                    <a:cubicBezTo>
                      <a:pt x="455" y="1273"/>
                      <a:pt x="451" y="1265"/>
                      <a:pt x="451" y="1257"/>
                    </a:cubicBezTo>
                    <a:cubicBezTo>
                      <a:pt x="451" y="1128"/>
                      <a:pt x="451" y="1128"/>
                      <a:pt x="451" y="1128"/>
                    </a:cubicBezTo>
                    <a:cubicBezTo>
                      <a:pt x="451" y="1119"/>
                      <a:pt x="455" y="1112"/>
                      <a:pt x="461" y="1105"/>
                    </a:cubicBezTo>
                    <a:cubicBezTo>
                      <a:pt x="467" y="1099"/>
                      <a:pt x="475" y="1096"/>
                      <a:pt x="484" y="1096"/>
                    </a:cubicBezTo>
                    <a:cubicBezTo>
                      <a:pt x="740" y="1096"/>
                      <a:pt x="740" y="1096"/>
                      <a:pt x="740" y="1096"/>
                    </a:cubicBezTo>
                    <a:cubicBezTo>
                      <a:pt x="749" y="1096"/>
                      <a:pt x="757" y="1099"/>
                      <a:pt x="763" y="1105"/>
                    </a:cubicBezTo>
                    <a:cubicBezTo>
                      <a:pt x="769" y="1112"/>
                      <a:pt x="773" y="1119"/>
                      <a:pt x="773" y="1128"/>
                    </a:cubicBezTo>
                    <a:lnTo>
                      <a:pt x="773" y="1257"/>
                    </a:lnTo>
                    <a:close/>
                    <a:moveTo>
                      <a:pt x="773" y="1257"/>
                    </a:moveTo>
                    <a:cubicBezTo>
                      <a:pt x="773" y="1257"/>
                      <a:pt x="773" y="1257"/>
                      <a:pt x="773" y="1257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wrap="square" lIns="91440" tIns="45720" rIns="91440" bIns="45720" anchor="ctr">
                <a:normAutofit fontScale="92500" lnSpcReduction="10000"/>
              </a:bodyPr>
              <a:lstStyle/>
              <a:p>
                <a:pPr algn="ctr"/>
                <a:endParaRPr/>
              </a:p>
            </p:txBody>
          </p:sp>
        </p:grpSp>
        <p:sp>
          <p:nvSpPr>
            <p:cNvPr id="28" name="îSḻiḋè">
              <a:extLst>
                <a:ext uri="{FF2B5EF4-FFF2-40B4-BE49-F238E27FC236}">
                  <a16:creationId xmlns:a16="http://schemas.microsoft.com/office/drawing/2014/main" id="{BBFB3E1B-00D5-4E9A-8594-E0723C444510}"/>
                </a:ext>
              </a:extLst>
            </p:cNvPr>
            <p:cNvSpPr/>
            <p:nvPr/>
          </p:nvSpPr>
          <p:spPr>
            <a:xfrm flipH="1">
              <a:off x="6120773" y="4786532"/>
              <a:ext cx="3948040" cy="734603"/>
            </a:xfrm>
            <a:prstGeom prst="rect">
              <a:avLst/>
            </a:prstGeom>
          </p:spPr>
          <p:txBody>
            <a:bodyPr wrap="square" lIns="91440" tIns="45720" rIns="91440" bIns="45720" anchor="ctr">
              <a:normAutofit/>
            </a:bodyPr>
            <a:lstStyle/>
            <a:p>
              <a:pPr lvl="0" defTabSz="914378">
                <a:spcBef>
                  <a:spcPct val="0"/>
                </a:spcBef>
                <a:defRPr/>
              </a:pPr>
              <a:r>
                <a:rPr lang="zh-CN" altLang="en-US" sz="3200" b="1" dirty="0"/>
                <a:t>术后并发症的预防和护理</a:t>
              </a:r>
            </a:p>
          </p:txBody>
        </p:sp>
        <p:sp>
          <p:nvSpPr>
            <p:cNvPr id="26" name="ïšļïḑe">
              <a:extLst>
                <a:ext uri="{FF2B5EF4-FFF2-40B4-BE49-F238E27FC236}">
                  <a16:creationId xmlns:a16="http://schemas.microsoft.com/office/drawing/2014/main" id="{558B3F67-E389-47E4-A01B-DBBB4CF781BC}"/>
                </a:ext>
              </a:extLst>
            </p:cNvPr>
            <p:cNvSpPr/>
            <p:nvPr/>
          </p:nvSpPr>
          <p:spPr>
            <a:xfrm flipH="1">
              <a:off x="8352618" y="3142076"/>
              <a:ext cx="2338736" cy="803399"/>
            </a:xfrm>
            <a:prstGeom prst="rect">
              <a:avLst/>
            </a:prstGeom>
          </p:spPr>
          <p:txBody>
            <a:bodyPr wrap="square" lIns="91440" tIns="45720" rIns="91440" bIns="45720" anchor="ctr">
              <a:normAutofit/>
            </a:bodyPr>
            <a:lstStyle/>
            <a:p>
              <a:pPr lvl="0" defTabSz="914378">
                <a:spcBef>
                  <a:spcPct val="0"/>
                </a:spcBef>
                <a:defRPr/>
              </a:pPr>
              <a:r>
                <a:rPr lang="zh-CN" altLang="en-US" sz="3200" b="1" dirty="0"/>
                <a:t>挂线后护理</a:t>
              </a:r>
            </a:p>
          </p:txBody>
        </p:sp>
        <p:sp>
          <p:nvSpPr>
            <p:cNvPr id="24" name="í$ļiḑê">
              <a:extLst>
                <a:ext uri="{FF2B5EF4-FFF2-40B4-BE49-F238E27FC236}">
                  <a16:creationId xmlns:a16="http://schemas.microsoft.com/office/drawing/2014/main" id="{046F54AC-3D69-401A-BA37-3593BABF83E6}"/>
                </a:ext>
              </a:extLst>
            </p:cNvPr>
            <p:cNvSpPr/>
            <p:nvPr/>
          </p:nvSpPr>
          <p:spPr>
            <a:xfrm flipH="1">
              <a:off x="6674629" y="1764350"/>
              <a:ext cx="3775406" cy="865915"/>
            </a:xfrm>
            <a:prstGeom prst="rect">
              <a:avLst/>
            </a:prstGeom>
          </p:spPr>
          <p:txBody>
            <a:bodyPr wrap="square" lIns="91440" tIns="45720" rIns="91440" bIns="45720" anchor="ctr">
              <a:normAutofit/>
            </a:bodyPr>
            <a:lstStyle/>
            <a:p>
              <a:pPr lvl="0" defTabSz="914378">
                <a:spcBef>
                  <a:spcPct val="0"/>
                </a:spcBef>
                <a:defRPr/>
              </a:pPr>
              <a:r>
                <a:rPr lang="zh-CN" altLang="en-US" sz="2800" b="1" dirty="0"/>
                <a:t>肛周皮肤保持干燥，避免搔抓</a:t>
              </a:r>
            </a:p>
          </p:txBody>
        </p:sp>
        <p:sp>
          <p:nvSpPr>
            <p:cNvPr id="22" name="îṧľîḑê">
              <a:extLst>
                <a:ext uri="{FF2B5EF4-FFF2-40B4-BE49-F238E27FC236}">
                  <a16:creationId xmlns:a16="http://schemas.microsoft.com/office/drawing/2014/main" id="{3CCAF666-3B0A-446D-A41F-54341C0DDBF4}"/>
                </a:ext>
              </a:extLst>
            </p:cNvPr>
            <p:cNvSpPr/>
            <p:nvPr/>
          </p:nvSpPr>
          <p:spPr>
            <a:xfrm flipH="1">
              <a:off x="3802534" y="3327367"/>
              <a:ext cx="2753608" cy="626276"/>
            </a:xfrm>
            <a:prstGeom prst="rect">
              <a:avLst/>
            </a:prstGeom>
          </p:spPr>
          <p:txBody>
            <a:bodyPr wrap="square" lIns="91440" tIns="45720" rIns="91440" bIns="45720" anchor="ctr">
              <a:normAutofit/>
            </a:bodyPr>
            <a:lstStyle/>
            <a:p>
              <a:pPr lvl="0" defTabSz="914378">
                <a:spcBef>
                  <a:spcPct val="0"/>
                </a:spcBef>
                <a:defRPr/>
              </a:pPr>
              <a:r>
                <a:rPr lang="zh-CN" altLang="en-US" sz="3200" b="1" dirty="0"/>
                <a:t>每日定时排便</a:t>
              </a:r>
            </a:p>
          </p:txBody>
        </p:sp>
        <p:sp>
          <p:nvSpPr>
            <p:cNvPr id="20" name="iṥľíḋé">
              <a:extLst>
                <a:ext uri="{FF2B5EF4-FFF2-40B4-BE49-F238E27FC236}">
                  <a16:creationId xmlns:a16="http://schemas.microsoft.com/office/drawing/2014/main" id="{3DC425F0-2B68-4B9A-AFA0-4E72786842F4}"/>
                </a:ext>
              </a:extLst>
            </p:cNvPr>
            <p:cNvSpPr/>
            <p:nvPr/>
          </p:nvSpPr>
          <p:spPr>
            <a:xfrm flipH="1">
              <a:off x="2339889" y="2039499"/>
              <a:ext cx="2966394" cy="423857"/>
            </a:xfrm>
            <a:prstGeom prst="rect">
              <a:avLst/>
            </a:prstGeom>
          </p:spPr>
          <p:txBody>
            <a:bodyPr wrap="square" lIns="91440" tIns="45720" rIns="91440" bIns="45720" anchor="ctr">
              <a:normAutofit lnSpcReduction="10000"/>
            </a:bodyPr>
            <a:lstStyle/>
            <a:p>
              <a:pPr lvl="0" defTabSz="914378">
                <a:spcBef>
                  <a:spcPct val="0"/>
                </a:spcBef>
                <a:defRPr/>
              </a:pPr>
              <a:r>
                <a:rPr lang="zh-CN" altLang="en-US" sz="3200" b="1" dirty="0"/>
                <a:t>保持肛周皮肤清洁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140274320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>
          <a:xfrm>
            <a:off x="2332770" y="2147776"/>
            <a:ext cx="5705443" cy="2317897"/>
          </a:xfrm>
        </p:spPr>
        <p:txBody>
          <a:bodyPr anchor="ctr">
            <a:normAutofit/>
          </a:bodyPr>
          <a:lstStyle/>
          <a:p>
            <a:pPr>
              <a:lnSpc>
                <a:spcPct val="100000"/>
              </a:lnSpc>
            </a:pPr>
            <a:r>
              <a:rPr lang="zh-CN" altLang="en-US" sz="5400" dirty="0">
                <a:solidFill>
                  <a:schemeClr val="tx2">
                    <a:alpha val="99000"/>
                  </a:schemeClr>
                </a:solidFill>
              </a:rPr>
              <a:t>结、直肠癌</a:t>
            </a:r>
            <a:br>
              <a:rPr lang="en-US" altLang="zh-CN" sz="5400" dirty="0">
                <a:solidFill>
                  <a:schemeClr val="tx2">
                    <a:alpha val="99000"/>
                  </a:schemeClr>
                </a:solidFill>
              </a:rPr>
            </a:br>
            <a:r>
              <a:rPr lang="zh-CN" altLang="en-US" sz="5400" dirty="0">
                <a:solidFill>
                  <a:schemeClr val="tx2">
                    <a:alpha val="99000"/>
                  </a:schemeClr>
                </a:solidFill>
              </a:rPr>
              <a:t>病人的护理</a:t>
            </a: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935162" y="2830939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3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2</a:t>
            </a:r>
            <a:endParaRPr lang="zh-CN" altLang="en-US" spc="100" dirty="0">
              <a:solidFill>
                <a:schemeClr val="accent3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0541411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框 2">
            <a:extLst>
              <a:ext uri="{FF2B5EF4-FFF2-40B4-BE49-F238E27FC236}">
                <a16:creationId xmlns:a16="http://schemas.microsoft.com/office/drawing/2014/main" id="{9B60BF93-EA8A-46AD-9628-FAD9C828F3E8}"/>
              </a:ext>
            </a:extLst>
          </p:cNvPr>
          <p:cNvSpPr txBox="1"/>
          <p:nvPr/>
        </p:nvSpPr>
        <p:spPr>
          <a:xfrm>
            <a:off x="669925" y="422414"/>
            <a:ext cx="5454503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4000" b="1" dirty="0"/>
              <a:t>流行病学</a:t>
            </a:r>
          </a:p>
        </p:txBody>
      </p:sp>
      <p:pic>
        <p:nvPicPr>
          <p:cNvPr id="2" name="图片 1">
            <a:extLst>
              <a:ext uri="{FF2B5EF4-FFF2-40B4-BE49-F238E27FC236}">
                <a16:creationId xmlns:a16="http://schemas.microsoft.com/office/drawing/2014/main" id="{7252434C-5727-4AD6-8247-2BBAC2EBA74A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3192" r="6068"/>
          <a:stretch/>
        </p:blipFill>
        <p:spPr>
          <a:xfrm>
            <a:off x="1488559" y="1295221"/>
            <a:ext cx="8697432" cy="54139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7934076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框 2">
            <a:extLst>
              <a:ext uri="{FF2B5EF4-FFF2-40B4-BE49-F238E27FC236}">
                <a16:creationId xmlns:a16="http://schemas.microsoft.com/office/drawing/2014/main" id="{9B60BF93-EA8A-46AD-9628-FAD9C828F3E8}"/>
              </a:ext>
            </a:extLst>
          </p:cNvPr>
          <p:cNvSpPr txBox="1"/>
          <p:nvPr/>
        </p:nvSpPr>
        <p:spPr>
          <a:xfrm>
            <a:off x="669925" y="422414"/>
            <a:ext cx="5454503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4000" b="1" dirty="0"/>
              <a:t>病 因</a:t>
            </a:r>
          </a:p>
        </p:txBody>
      </p:sp>
      <p:sp>
        <p:nvSpPr>
          <p:cNvPr id="2" name="矩形 1">
            <a:extLst>
              <a:ext uri="{FF2B5EF4-FFF2-40B4-BE49-F238E27FC236}">
                <a16:creationId xmlns:a16="http://schemas.microsoft.com/office/drawing/2014/main" id="{152C04F2-0B6F-4DD1-979F-9A1A66EA6A00}"/>
              </a:ext>
            </a:extLst>
          </p:cNvPr>
          <p:cNvSpPr/>
          <p:nvPr/>
        </p:nvSpPr>
        <p:spPr>
          <a:xfrm>
            <a:off x="903842" y="1130300"/>
            <a:ext cx="11036522" cy="435619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200000"/>
              </a:lnSpc>
            </a:pPr>
            <a:r>
              <a:rPr lang="zh-CN" altLang="en-US" sz="3600" b="1" dirty="0"/>
              <a:t>   饮食习惯</a:t>
            </a:r>
            <a:br>
              <a:rPr lang="zh-CN" altLang="en-US" sz="3600" b="1" dirty="0"/>
            </a:br>
            <a:r>
              <a:rPr lang="zh-CN" altLang="en-US" sz="3600" b="1" dirty="0"/>
              <a:t>   遗传因素</a:t>
            </a:r>
            <a:br>
              <a:rPr lang="zh-CN" altLang="en-US" sz="3600" dirty="0"/>
            </a:br>
            <a:r>
              <a:rPr lang="zh-CN" altLang="en-US" sz="3600" dirty="0"/>
              <a:t>●家族性多发性息肉病及家族性无息肉结直肠癌综合征</a:t>
            </a:r>
            <a:br>
              <a:rPr lang="zh-CN" altLang="en-US" sz="3600" b="1" dirty="0"/>
            </a:br>
            <a:r>
              <a:rPr lang="zh-CN" altLang="en-US" sz="3600" b="1" dirty="0"/>
              <a:t>   癌前病变</a:t>
            </a:r>
          </a:p>
        </p:txBody>
      </p:sp>
      <p:sp>
        <p:nvSpPr>
          <p:cNvPr id="4" name="validate-search_64702">
            <a:extLst>
              <a:ext uri="{FF2B5EF4-FFF2-40B4-BE49-F238E27FC236}">
                <a16:creationId xmlns:a16="http://schemas.microsoft.com/office/drawing/2014/main" id="{F482D5A2-4180-458A-9921-265BA94269E2}"/>
              </a:ext>
            </a:extLst>
          </p:cNvPr>
          <p:cNvSpPr>
            <a:spLocks noChangeAspect="1"/>
          </p:cNvSpPr>
          <p:nvPr/>
        </p:nvSpPr>
        <p:spPr bwMode="auto">
          <a:xfrm>
            <a:off x="489056" y="1605515"/>
            <a:ext cx="609685" cy="543605"/>
          </a:xfrm>
          <a:custGeom>
            <a:avLst/>
            <a:gdLst>
              <a:gd name="connsiteX0" fmla="*/ 444103 w 607089"/>
              <a:gd name="connsiteY0" fmla="*/ 163584 h 606152"/>
              <a:gd name="connsiteX1" fmla="*/ 469914 w 607089"/>
              <a:gd name="connsiteY1" fmla="*/ 176766 h 606152"/>
              <a:gd name="connsiteX2" fmla="*/ 475193 w 607089"/>
              <a:gd name="connsiteY2" fmla="*/ 220412 h 606152"/>
              <a:gd name="connsiteX3" fmla="*/ 378258 w 607089"/>
              <a:gd name="connsiteY3" fmla="*/ 317225 h 606152"/>
              <a:gd name="connsiteX4" fmla="*/ 346435 w 607089"/>
              <a:gd name="connsiteY4" fmla="*/ 330260 h 606152"/>
              <a:gd name="connsiteX5" fmla="*/ 313879 w 607089"/>
              <a:gd name="connsiteY5" fmla="*/ 316492 h 606152"/>
              <a:gd name="connsiteX6" fmla="*/ 248913 w 607089"/>
              <a:gd name="connsiteY6" fmla="*/ 251755 h 606152"/>
              <a:gd name="connsiteX7" fmla="*/ 242021 w 607089"/>
              <a:gd name="connsiteY7" fmla="*/ 228760 h 606152"/>
              <a:gd name="connsiteX8" fmla="*/ 254926 w 607089"/>
              <a:gd name="connsiteY8" fmla="*/ 208695 h 606152"/>
              <a:gd name="connsiteX9" fmla="*/ 280883 w 607089"/>
              <a:gd name="connsiteY9" fmla="*/ 195074 h 606152"/>
              <a:gd name="connsiteX10" fmla="*/ 297894 w 607089"/>
              <a:gd name="connsiteY10" fmla="*/ 202836 h 606152"/>
              <a:gd name="connsiteX11" fmla="*/ 342036 w 607089"/>
              <a:gd name="connsiteY11" fmla="*/ 246922 h 606152"/>
              <a:gd name="connsiteX12" fmla="*/ 346435 w 607089"/>
              <a:gd name="connsiteY12" fmla="*/ 249705 h 606152"/>
              <a:gd name="connsiteX13" fmla="*/ 350541 w 607089"/>
              <a:gd name="connsiteY13" fmla="*/ 247068 h 606152"/>
              <a:gd name="connsiteX14" fmla="*/ 426212 w 607089"/>
              <a:gd name="connsiteY14" fmla="*/ 171493 h 606152"/>
              <a:gd name="connsiteX15" fmla="*/ 444103 w 607089"/>
              <a:gd name="connsiteY15" fmla="*/ 163584 h 606152"/>
              <a:gd name="connsiteX16" fmla="*/ 360877 w 607089"/>
              <a:gd name="connsiteY16" fmla="*/ 64177 h 606152"/>
              <a:gd name="connsiteX17" fmla="*/ 232178 w 607089"/>
              <a:gd name="connsiteY17" fmla="*/ 117334 h 606152"/>
              <a:gd name="connsiteX18" fmla="*/ 232178 w 607089"/>
              <a:gd name="connsiteY18" fmla="*/ 374333 h 606152"/>
              <a:gd name="connsiteX19" fmla="*/ 489575 w 607089"/>
              <a:gd name="connsiteY19" fmla="*/ 374333 h 606152"/>
              <a:gd name="connsiteX20" fmla="*/ 489575 w 607089"/>
              <a:gd name="connsiteY20" fmla="*/ 117334 h 606152"/>
              <a:gd name="connsiteX21" fmla="*/ 360877 w 607089"/>
              <a:gd name="connsiteY21" fmla="*/ 64177 h 606152"/>
              <a:gd name="connsiteX22" fmla="*/ 360876 w 607089"/>
              <a:gd name="connsiteY22" fmla="*/ 0 h 606152"/>
              <a:gd name="connsiteX23" fmla="*/ 535041 w 607089"/>
              <a:gd name="connsiteY23" fmla="*/ 71938 h 606152"/>
              <a:gd name="connsiteX24" fmla="*/ 535041 w 607089"/>
              <a:gd name="connsiteY24" fmla="*/ 419729 h 606152"/>
              <a:gd name="connsiteX25" fmla="*/ 237751 w 607089"/>
              <a:gd name="connsiteY25" fmla="*/ 456778 h 606152"/>
              <a:gd name="connsiteX26" fmla="*/ 225138 w 607089"/>
              <a:gd name="connsiteY26" fmla="*/ 458388 h 606152"/>
              <a:gd name="connsiteX27" fmla="*/ 99740 w 607089"/>
              <a:gd name="connsiteY27" fmla="*/ 583593 h 606152"/>
              <a:gd name="connsiteX28" fmla="*/ 17607 w 607089"/>
              <a:gd name="connsiteY28" fmla="*/ 592379 h 606152"/>
              <a:gd name="connsiteX29" fmla="*/ 13794 w 607089"/>
              <a:gd name="connsiteY29" fmla="*/ 588572 h 606152"/>
              <a:gd name="connsiteX30" fmla="*/ 22594 w 607089"/>
              <a:gd name="connsiteY30" fmla="*/ 506567 h 606152"/>
              <a:gd name="connsiteX31" fmla="*/ 148139 w 607089"/>
              <a:gd name="connsiteY31" fmla="*/ 381069 h 606152"/>
              <a:gd name="connsiteX32" fmla="*/ 149606 w 607089"/>
              <a:gd name="connsiteY32" fmla="*/ 368768 h 606152"/>
              <a:gd name="connsiteX33" fmla="*/ 186712 w 607089"/>
              <a:gd name="connsiteY33" fmla="*/ 71938 h 606152"/>
              <a:gd name="connsiteX34" fmla="*/ 360876 w 607089"/>
              <a:gd name="connsiteY34" fmla="*/ 0 h 6061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</a:cxnLst>
            <a:rect l="l" t="t" r="r" b="b"/>
            <a:pathLst>
              <a:path w="607089" h="606152">
                <a:moveTo>
                  <a:pt x="444103" y="163584"/>
                </a:moveTo>
                <a:cubicBezTo>
                  <a:pt x="452462" y="163584"/>
                  <a:pt x="461261" y="167978"/>
                  <a:pt x="469914" y="176766"/>
                </a:cubicBezTo>
                <a:cubicBezTo>
                  <a:pt x="485459" y="192291"/>
                  <a:pt x="487365" y="208256"/>
                  <a:pt x="475193" y="220412"/>
                </a:cubicBezTo>
                <a:lnTo>
                  <a:pt x="378258" y="317225"/>
                </a:lnTo>
                <a:cubicBezTo>
                  <a:pt x="369459" y="326013"/>
                  <a:pt x="359047" y="330260"/>
                  <a:pt x="346435" y="330260"/>
                </a:cubicBezTo>
                <a:cubicBezTo>
                  <a:pt x="337783" y="330260"/>
                  <a:pt x="325171" y="327917"/>
                  <a:pt x="313879" y="316492"/>
                </a:cubicBezTo>
                <a:lnTo>
                  <a:pt x="248913" y="251755"/>
                </a:lnTo>
                <a:cubicBezTo>
                  <a:pt x="242314" y="245018"/>
                  <a:pt x="239821" y="237109"/>
                  <a:pt x="242021" y="228760"/>
                </a:cubicBezTo>
                <a:cubicBezTo>
                  <a:pt x="243634" y="222463"/>
                  <a:pt x="247887" y="215872"/>
                  <a:pt x="254926" y="208695"/>
                </a:cubicBezTo>
                <a:cubicBezTo>
                  <a:pt x="264165" y="199614"/>
                  <a:pt x="272670" y="195074"/>
                  <a:pt x="280883" y="195074"/>
                </a:cubicBezTo>
                <a:cubicBezTo>
                  <a:pt x="287042" y="195074"/>
                  <a:pt x="292761" y="197710"/>
                  <a:pt x="297894" y="202836"/>
                </a:cubicBezTo>
                <a:cubicBezTo>
                  <a:pt x="298187" y="203129"/>
                  <a:pt x="326491" y="231397"/>
                  <a:pt x="342036" y="246922"/>
                </a:cubicBezTo>
                <a:cubicBezTo>
                  <a:pt x="343649" y="248533"/>
                  <a:pt x="344529" y="249705"/>
                  <a:pt x="346435" y="249705"/>
                </a:cubicBezTo>
                <a:cubicBezTo>
                  <a:pt x="348195" y="249705"/>
                  <a:pt x="349075" y="248533"/>
                  <a:pt x="350541" y="247068"/>
                </a:cubicBezTo>
                <a:cubicBezTo>
                  <a:pt x="376058" y="221584"/>
                  <a:pt x="425626" y="172079"/>
                  <a:pt x="426212" y="171493"/>
                </a:cubicBezTo>
                <a:cubicBezTo>
                  <a:pt x="431492" y="166220"/>
                  <a:pt x="437504" y="163584"/>
                  <a:pt x="444103" y="163584"/>
                </a:cubicBezTo>
                <a:close/>
                <a:moveTo>
                  <a:pt x="360877" y="64177"/>
                </a:moveTo>
                <a:cubicBezTo>
                  <a:pt x="314274" y="64177"/>
                  <a:pt x="267671" y="81896"/>
                  <a:pt x="232178" y="117334"/>
                </a:cubicBezTo>
                <a:cubicBezTo>
                  <a:pt x="161192" y="188210"/>
                  <a:pt x="161192" y="303457"/>
                  <a:pt x="232178" y="374333"/>
                </a:cubicBezTo>
                <a:cubicBezTo>
                  <a:pt x="303164" y="445209"/>
                  <a:pt x="418589" y="445209"/>
                  <a:pt x="489575" y="374333"/>
                </a:cubicBezTo>
                <a:cubicBezTo>
                  <a:pt x="560560" y="303457"/>
                  <a:pt x="560560" y="188210"/>
                  <a:pt x="489575" y="117334"/>
                </a:cubicBezTo>
                <a:cubicBezTo>
                  <a:pt x="454082" y="81896"/>
                  <a:pt x="407479" y="64177"/>
                  <a:pt x="360877" y="64177"/>
                </a:cubicBezTo>
                <a:close/>
                <a:moveTo>
                  <a:pt x="360876" y="0"/>
                </a:moveTo>
                <a:cubicBezTo>
                  <a:pt x="423942" y="0"/>
                  <a:pt x="487008" y="23980"/>
                  <a:pt x="535041" y="71938"/>
                </a:cubicBezTo>
                <a:cubicBezTo>
                  <a:pt x="631106" y="167855"/>
                  <a:pt x="631106" y="323812"/>
                  <a:pt x="535041" y="419729"/>
                </a:cubicBezTo>
                <a:cubicBezTo>
                  <a:pt x="453495" y="501148"/>
                  <a:pt x="332350" y="513449"/>
                  <a:pt x="237751" y="456778"/>
                </a:cubicBezTo>
                <a:cubicBezTo>
                  <a:pt x="237751" y="456778"/>
                  <a:pt x="230858" y="452677"/>
                  <a:pt x="225138" y="458388"/>
                </a:cubicBezTo>
                <a:cubicBezTo>
                  <a:pt x="193752" y="489726"/>
                  <a:pt x="99740" y="583593"/>
                  <a:pt x="99740" y="583593"/>
                </a:cubicBezTo>
                <a:cubicBezTo>
                  <a:pt x="74660" y="608634"/>
                  <a:pt x="39754" y="614638"/>
                  <a:pt x="17607" y="592379"/>
                </a:cubicBezTo>
                <a:lnTo>
                  <a:pt x="13794" y="588572"/>
                </a:lnTo>
                <a:cubicBezTo>
                  <a:pt x="-8499" y="566460"/>
                  <a:pt x="-2486" y="531608"/>
                  <a:pt x="22594" y="506567"/>
                </a:cubicBezTo>
                <a:cubicBezTo>
                  <a:pt x="22594" y="506567"/>
                  <a:pt x="116753" y="412407"/>
                  <a:pt x="148139" y="381069"/>
                </a:cubicBezTo>
                <a:cubicBezTo>
                  <a:pt x="153712" y="375651"/>
                  <a:pt x="149606" y="368768"/>
                  <a:pt x="149606" y="368768"/>
                </a:cubicBezTo>
                <a:cubicBezTo>
                  <a:pt x="92846" y="274316"/>
                  <a:pt x="105166" y="153358"/>
                  <a:pt x="186712" y="71938"/>
                </a:cubicBezTo>
                <a:cubicBezTo>
                  <a:pt x="234745" y="23980"/>
                  <a:pt x="297810" y="0"/>
                  <a:pt x="360876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5" name="validate-search_64702">
            <a:extLst>
              <a:ext uri="{FF2B5EF4-FFF2-40B4-BE49-F238E27FC236}">
                <a16:creationId xmlns:a16="http://schemas.microsoft.com/office/drawing/2014/main" id="{CBDF711D-AC33-4C16-8CBE-00D0258064B8}"/>
              </a:ext>
            </a:extLst>
          </p:cNvPr>
          <p:cNvSpPr>
            <a:spLocks noChangeAspect="1"/>
          </p:cNvSpPr>
          <p:nvPr/>
        </p:nvSpPr>
        <p:spPr bwMode="auto">
          <a:xfrm>
            <a:off x="489056" y="2757376"/>
            <a:ext cx="609685" cy="543605"/>
          </a:xfrm>
          <a:custGeom>
            <a:avLst/>
            <a:gdLst>
              <a:gd name="connsiteX0" fmla="*/ 444103 w 607089"/>
              <a:gd name="connsiteY0" fmla="*/ 163584 h 606152"/>
              <a:gd name="connsiteX1" fmla="*/ 469914 w 607089"/>
              <a:gd name="connsiteY1" fmla="*/ 176766 h 606152"/>
              <a:gd name="connsiteX2" fmla="*/ 475193 w 607089"/>
              <a:gd name="connsiteY2" fmla="*/ 220412 h 606152"/>
              <a:gd name="connsiteX3" fmla="*/ 378258 w 607089"/>
              <a:gd name="connsiteY3" fmla="*/ 317225 h 606152"/>
              <a:gd name="connsiteX4" fmla="*/ 346435 w 607089"/>
              <a:gd name="connsiteY4" fmla="*/ 330260 h 606152"/>
              <a:gd name="connsiteX5" fmla="*/ 313879 w 607089"/>
              <a:gd name="connsiteY5" fmla="*/ 316492 h 606152"/>
              <a:gd name="connsiteX6" fmla="*/ 248913 w 607089"/>
              <a:gd name="connsiteY6" fmla="*/ 251755 h 606152"/>
              <a:gd name="connsiteX7" fmla="*/ 242021 w 607089"/>
              <a:gd name="connsiteY7" fmla="*/ 228760 h 606152"/>
              <a:gd name="connsiteX8" fmla="*/ 254926 w 607089"/>
              <a:gd name="connsiteY8" fmla="*/ 208695 h 606152"/>
              <a:gd name="connsiteX9" fmla="*/ 280883 w 607089"/>
              <a:gd name="connsiteY9" fmla="*/ 195074 h 606152"/>
              <a:gd name="connsiteX10" fmla="*/ 297894 w 607089"/>
              <a:gd name="connsiteY10" fmla="*/ 202836 h 606152"/>
              <a:gd name="connsiteX11" fmla="*/ 342036 w 607089"/>
              <a:gd name="connsiteY11" fmla="*/ 246922 h 606152"/>
              <a:gd name="connsiteX12" fmla="*/ 346435 w 607089"/>
              <a:gd name="connsiteY12" fmla="*/ 249705 h 606152"/>
              <a:gd name="connsiteX13" fmla="*/ 350541 w 607089"/>
              <a:gd name="connsiteY13" fmla="*/ 247068 h 606152"/>
              <a:gd name="connsiteX14" fmla="*/ 426212 w 607089"/>
              <a:gd name="connsiteY14" fmla="*/ 171493 h 606152"/>
              <a:gd name="connsiteX15" fmla="*/ 444103 w 607089"/>
              <a:gd name="connsiteY15" fmla="*/ 163584 h 606152"/>
              <a:gd name="connsiteX16" fmla="*/ 360877 w 607089"/>
              <a:gd name="connsiteY16" fmla="*/ 64177 h 606152"/>
              <a:gd name="connsiteX17" fmla="*/ 232178 w 607089"/>
              <a:gd name="connsiteY17" fmla="*/ 117334 h 606152"/>
              <a:gd name="connsiteX18" fmla="*/ 232178 w 607089"/>
              <a:gd name="connsiteY18" fmla="*/ 374333 h 606152"/>
              <a:gd name="connsiteX19" fmla="*/ 489575 w 607089"/>
              <a:gd name="connsiteY19" fmla="*/ 374333 h 606152"/>
              <a:gd name="connsiteX20" fmla="*/ 489575 w 607089"/>
              <a:gd name="connsiteY20" fmla="*/ 117334 h 606152"/>
              <a:gd name="connsiteX21" fmla="*/ 360877 w 607089"/>
              <a:gd name="connsiteY21" fmla="*/ 64177 h 606152"/>
              <a:gd name="connsiteX22" fmla="*/ 360876 w 607089"/>
              <a:gd name="connsiteY22" fmla="*/ 0 h 606152"/>
              <a:gd name="connsiteX23" fmla="*/ 535041 w 607089"/>
              <a:gd name="connsiteY23" fmla="*/ 71938 h 606152"/>
              <a:gd name="connsiteX24" fmla="*/ 535041 w 607089"/>
              <a:gd name="connsiteY24" fmla="*/ 419729 h 606152"/>
              <a:gd name="connsiteX25" fmla="*/ 237751 w 607089"/>
              <a:gd name="connsiteY25" fmla="*/ 456778 h 606152"/>
              <a:gd name="connsiteX26" fmla="*/ 225138 w 607089"/>
              <a:gd name="connsiteY26" fmla="*/ 458388 h 606152"/>
              <a:gd name="connsiteX27" fmla="*/ 99740 w 607089"/>
              <a:gd name="connsiteY27" fmla="*/ 583593 h 606152"/>
              <a:gd name="connsiteX28" fmla="*/ 17607 w 607089"/>
              <a:gd name="connsiteY28" fmla="*/ 592379 h 606152"/>
              <a:gd name="connsiteX29" fmla="*/ 13794 w 607089"/>
              <a:gd name="connsiteY29" fmla="*/ 588572 h 606152"/>
              <a:gd name="connsiteX30" fmla="*/ 22594 w 607089"/>
              <a:gd name="connsiteY30" fmla="*/ 506567 h 606152"/>
              <a:gd name="connsiteX31" fmla="*/ 148139 w 607089"/>
              <a:gd name="connsiteY31" fmla="*/ 381069 h 606152"/>
              <a:gd name="connsiteX32" fmla="*/ 149606 w 607089"/>
              <a:gd name="connsiteY32" fmla="*/ 368768 h 606152"/>
              <a:gd name="connsiteX33" fmla="*/ 186712 w 607089"/>
              <a:gd name="connsiteY33" fmla="*/ 71938 h 606152"/>
              <a:gd name="connsiteX34" fmla="*/ 360876 w 607089"/>
              <a:gd name="connsiteY34" fmla="*/ 0 h 6061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</a:cxnLst>
            <a:rect l="l" t="t" r="r" b="b"/>
            <a:pathLst>
              <a:path w="607089" h="606152">
                <a:moveTo>
                  <a:pt x="444103" y="163584"/>
                </a:moveTo>
                <a:cubicBezTo>
                  <a:pt x="452462" y="163584"/>
                  <a:pt x="461261" y="167978"/>
                  <a:pt x="469914" y="176766"/>
                </a:cubicBezTo>
                <a:cubicBezTo>
                  <a:pt x="485459" y="192291"/>
                  <a:pt x="487365" y="208256"/>
                  <a:pt x="475193" y="220412"/>
                </a:cubicBezTo>
                <a:lnTo>
                  <a:pt x="378258" y="317225"/>
                </a:lnTo>
                <a:cubicBezTo>
                  <a:pt x="369459" y="326013"/>
                  <a:pt x="359047" y="330260"/>
                  <a:pt x="346435" y="330260"/>
                </a:cubicBezTo>
                <a:cubicBezTo>
                  <a:pt x="337783" y="330260"/>
                  <a:pt x="325171" y="327917"/>
                  <a:pt x="313879" y="316492"/>
                </a:cubicBezTo>
                <a:lnTo>
                  <a:pt x="248913" y="251755"/>
                </a:lnTo>
                <a:cubicBezTo>
                  <a:pt x="242314" y="245018"/>
                  <a:pt x="239821" y="237109"/>
                  <a:pt x="242021" y="228760"/>
                </a:cubicBezTo>
                <a:cubicBezTo>
                  <a:pt x="243634" y="222463"/>
                  <a:pt x="247887" y="215872"/>
                  <a:pt x="254926" y="208695"/>
                </a:cubicBezTo>
                <a:cubicBezTo>
                  <a:pt x="264165" y="199614"/>
                  <a:pt x="272670" y="195074"/>
                  <a:pt x="280883" y="195074"/>
                </a:cubicBezTo>
                <a:cubicBezTo>
                  <a:pt x="287042" y="195074"/>
                  <a:pt x="292761" y="197710"/>
                  <a:pt x="297894" y="202836"/>
                </a:cubicBezTo>
                <a:cubicBezTo>
                  <a:pt x="298187" y="203129"/>
                  <a:pt x="326491" y="231397"/>
                  <a:pt x="342036" y="246922"/>
                </a:cubicBezTo>
                <a:cubicBezTo>
                  <a:pt x="343649" y="248533"/>
                  <a:pt x="344529" y="249705"/>
                  <a:pt x="346435" y="249705"/>
                </a:cubicBezTo>
                <a:cubicBezTo>
                  <a:pt x="348195" y="249705"/>
                  <a:pt x="349075" y="248533"/>
                  <a:pt x="350541" y="247068"/>
                </a:cubicBezTo>
                <a:cubicBezTo>
                  <a:pt x="376058" y="221584"/>
                  <a:pt x="425626" y="172079"/>
                  <a:pt x="426212" y="171493"/>
                </a:cubicBezTo>
                <a:cubicBezTo>
                  <a:pt x="431492" y="166220"/>
                  <a:pt x="437504" y="163584"/>
                  <a:pt x="444103" y="163584"/>
                </a:cubicBezTo>
                <a:close/>
                <a:moveTo>
                  <a:pt x="360877" y="64177"/>
                </a:moveTo>
                <a:cubicBezTo>
                  <a:pt x="314274" y="64177"/>
                  <a:pt x="267671" y="81896"/>
                  <a:pt x="232178" y="117334"/>
                </a:cubicBezTo>
                <a:cubicBezTo>
                  <a:pt x="161192" y="188210"/>
                  <a:pt x="161192" y="303457"/>
                  <a:pt x="232178" y="374333"/>
                </a:cubicBezTo>
                <a:cubicBezTo>
                  <a:pt x="303164" y="445209"/>
                  <a:pt x="418589" y="445209"/>
                  <a:pt x="489575" y="374333"/>
                </a:cubicBezTo>
                <a:cubicBezTo>
                  <a:pt x="560560" y="303457"/>
                  <a:pt x="560560" y="188210"/>
                  <a:pt x="489575" y="117334"/>
                </a:cubicBezTo>
                <a:cubicBezTo>
                  <a:pt x="454082" y="81896"/>
                  <a:pt x="407479" y="64177"/>
                  <a:pt x="360877" y="64177"/>
                </a:cubicBezTo>
                <a:close/>
                <a:moveTo>
                  <a:pt x="360876" y="0"/>
                </a:moveTo>
                <a:cubicBezTo>
                  <a:pt x="423942" y="0"/>
                  <a:pt x="487008" y="23980"/>
                  <a:pt x="535041" y="71938"/>
                </a:cubicBezTo>
                <a:cubicBezTo>
                  <a:pt x="631106" y="167855"/>
                  <a:pt x="631106" y="323812"/>
                  <a:pt x="535041" y="419729"/>
                </a:cubicBezTo>
                <a:cubicBezTo>
                  <a:pt x="453495" y="501148"/>
                  <a:pt x="332350" y="513449"/>
                  <a:pt x="237751" y="456778"/>
                </a:cubicBezTo>
                <a:cubicBezTo>
                  <a:pt x="237751" y="456778"/>
                  <a:pt x="230858" y="452677"/>
                  <a:pt x="225138" y="458388"/>
                </a:cubicBezTo>
                <a:cubicBezTo>
                  <a:pt x="193752" y="489726"/>
                  <a:pt x="99740" y="583593"/>
                  <a:pt x="99740" y="583593"/>
                </a:cubicBezTo>
                <a:cubicBezTo>
                  <a:pt x="74660" y="608634"/>
                  <a:pt x="39754" y="614638"/>
                  <a:pt x="17607" y="592379"/>
                </a:cubicBezTo>
                <a:lnTo>
                  <a:pt x="13794" y="588572"/>
                </a:lnTo>
                <a:cubicBezTo>
                  <a:pt x="-8499" y="566460"/>
                  <a:pt x="-2486" y="531608"/>
                  <a:pt x="22594" y="506567"/>
                </a:cubicBezTo>
                <a:cubicBezTo>
                  <a:pt x="22594" y="506567"/>
                  <a:pt x="116753" y="412407"/>
                  <a:pt x="148139" y="381069"/>
                </a:cubicBezTo>
                <a:cubicBezTo>
                  <a:pt x="153712" y="375651"/>
                  <a:pt x="149606" y="368768"/>
                  <a:pt x="149606" y="368768"/>
                </a:cubicBezTo>
                <a:cubicBezTo>
                  <a:pt x="92846" y="274316"/>
                  <a:pt x="105166" y="153358"/>
                  <a:pt x="186712" y="71938"/>
                </a:cubicBezTo>
                <a:cubicBezTo>
                  <a:pt x="234745" y="23980"/>
                  <a:pt x="297810" y="0"/>
                  <a:pt x="360876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6" name="validate-search_64702">
            <a:extLst>
              <a:ext uri="{FF2B5EF4-FFF2-40B4-BE49-F238E27FC236}">
                <a16:creationId xmlns:a16="http://schemas.microsoft.com/office/drawing/2014/main" id="{D736BE8E-6D3B-4EBF-B2B2-50C76AE7EBC4}"/>
              </a:ext>
            </a:extLst>
          </p:cNvPr>
          <p:cNvSpPr>
            <a:spLocks noChangeAspect="1"/>
          </p:cNvSpPr>
          <p:nvPr/>
        </p:nvSpPr>
        <p:spPr bwMode="auto">
          <a:xfrm>
            <a:off x="531586" y="4883887"/>
            <a:ext cx="609685" cy="543605"/>
          </a:xfrm>
          <a:custGeom>
            <a:avLst/>
            <a:gdLst>
              <a:gd name="connsiteX0" fmla="*/ 444103 w 607089"/>
              <a:gd name="connsiteY0" fmla="*/ 163584 h 606152"/>
              <a:gd name="connsiteX1" fmla="*/ 469914 w 607089"/>
              <a:gd name="connsiteY1" fmla="*/ 176766 h 606152"/>
              <a:gd name="connsiteX2" fmla="*/ 475193 w 607089"/>
              <a:gd name="connsiteY2" fmla="*/ 220412 h 606152"/>
              <a:gd name="connsiteX3" fmla="*/ 378258 w 607089"/>
              <a:gd name="connsiteY3" fmla="*/ 317225 h 606152"/>
              <a:gd name="connsiteX4" fmla="*/ 346435 w 607089"/>
              <a:gd name="connsiteY4" fmla="*/ 330260 h 606152"/>
              <a:gd name="connsiteX5" fmla="*/ 313879 w 607089"/>
              <a:gd name="connsiteY5" fmla="*/ 316492 h 606152"/>
              <a:gd name="connsiteX6" fmla="*/ 248913 w 607089"/>
              <a:gd name="connsiteY6" fmla="*/ 251755 h 606152"/>
              <a:gd name="connsiteX7" fmla="*/ 242021 w 607089"/>
              <a:gd name="connsiteY7" fmla="*/ 228760 h 606152"/>
              <a:gd name="connsiteX8" fmla="*/ 254926 w 607089"/>
              <a:gd name="connsiteY8" fmla="*/ 208695 h 606152"/>
              <a:gd name="connsiteX9" fmla="*/ 280883 w 607089"/>
              <a:gd name="connsiteY9" fmla="*/ 195074 h 606152"/>
              <a:gd name="connsiteX10" fmla="*/ 297894 w 607089"/>
              <a:gd name="connsiteY10" fmla="*/ 202836 h 606152"/>
              <a:gd name="connsiteX11" fmla="*/ 342036 w 607089"/>
              <a:gd name="connsiteY11" fmla="*/ 246922 h 606152"/>
              <a:gd name="connsiteX12" fmla="*/ 346435 w 607089"/>
              <a:gd name="connsiteY12" fmla="*/ 249705 h 606152"/>
              <a:gd name="connsiteX13" fmla="*/ 350541 w 607089"/>
              <a:gd name="connsiteY13" fmla="*/ 247068 h 606152"/>
              <a:gd name="connsiteX14" fmla="*/ 426212 w 607089"/>
              <a:gd name="connsiteY14" fmla="*/ 171493 h 606152"/>
              <a:gd name="connsiteX15" fmla="*/ 444103 w 607089"/>
              <a:gd name="connsiteY15" fmla="*/ 163584 h 606152"/>
              <a:gd name="connsiteX16" fmla="*/ 360877 w 607089"/>
              <a:gd name="connsiteY16" fmla="*/ 64177 h 606152"/>
              <a:gd name="connsiteX17" fmla="*/ 232178 w 607089"/>
              <a:gd name="connsiteY17" fmla="*/ 117334 h 606152"/>
              <a:gd name="connsiteX18" fmla="*/ 232178 w 607089"/>
              <a:gd name="connsiteY18" fmla="*/ 374333 h 606152"/>
              <a:gd name="connsiteX19" fmla="*/ 489575 w 607089"/>
              <a:gd name="connsiteY19" fmla="*/ 374333 h 606152"/>
              <a:gd name="connsiteX20" fmla="*/ 489575 w 607089"/>
              <a:gd name="connsiteY20" fmla="*/ 117334 h 606152"/>
              <a:gd name="connsiteX21" fmla="*/ 360877 w 607089"/>
              <a:gd name="connsiteY21" fmla="*/ 64177 h 606152"/>
              <a:gd name="connsiteX22" fmla="*/ 360876 w 607089"/>
              <a:gd name="connsiteY22" fmla="*/ 0 h 606152"/>
              <a:gd name="connsiteX23" fmla="*/ 535041 w 607089"/>
              <a:gd name="connsiteY23" fmla="*/ 71938 h 606152"/>
              <a:gd name="connsiteX24" fmla="*/ 535041 w 607089"/>
              <a:gd name="connsiteY24" fmla="*/ 419729 h 606152"/>
              <a:gd name="connsiteX25" fmla="*/ 237751 w 607089"/>
              <a:gd name="connsiteY25" fmla="*/ 456778 h 606152"/>
              <a:gd name="connsiteX26" fmla="*/ 225138 w 607089"/>
              <a:gd name="connsiteY26" fmla="*/ 458388 h 606152"/>
              <a:gd name="connsiteX27" fmla="*/ 99740 w 607089"/>
              <a:gd name="connsiteY27" fmla="*/ 583593 h 606152"/>
              <a:gd name="connsiteX28" fmla="*/ 17607 w 607089"/>
              <a:gd name="connsiteY28" fmla="*/ 592379 h 606152"/>
              <a:gd name="connsiteX29" fmla="*/ 13794 w 607089"/>
              <a:gd name="connsiteY29" fmla="*/ 588572 h 606152"/>
              <a:gd name="connsiteX30" fmla="*/ 22594 w 607089"/>
              <a:gd name="connsiteY30" fmla="*/ 506567 h 606152"/>
              <a:gd name="connsiteX31" fmla="*/ 148139 w 607089"/>
              <a:gd name="connsiteY31" fmla="*/ 381069 h 606152"/>
              <a:gd name="connsiteX32" fmla="*/ 149606 w 607089"/>
              <a:gd name="connsiteY32" fmla="*/ 368768 h 606152"/>
              <a:gd name="connsiteX33" fmla="*/ 186712 w 607089"/>
              <a:gd name="connsiteY33" fmla="*/ 71938 h 606152"/>
              <a:gd name="connsiteX34" fmla="*/ 360876 w 607089"/>
              <a:gd name="connsiteY34" fmla="*/ 0 h 6061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</a:cxnLst>
            <a:rect l="l" t="t" r="r" b="b"/>
            <a:pathLst>
              <a:path w="607089" h="606152">
                <a:moveTo>
                  <a:pt x="444103" y="163584"/>
                </a:moveTo>
                <a:cubicBezTo>
                  <a:pt x="452462" y="163584"/>
                  <a:pt x="461261" y="167978"/>
                  <a:pt x="469914" y="176766"/>
                </a:cubicBezTo>
                <a:cubicBezTo>
                  <a:pt x="485459" y="192291"/>
                  <a:pt x="487365" y="208256"/>
                  <a:pt x="475193" y="220412"/>
                </a:cubicBezTo>
                <a:lnTo>
                  <a:pt x="378258" y="317225"/>
                </a:lnTo>
                <a:cubicBezTo>
                  <a:pt x="369459" y="326013"/>
                  <a:pt x="359047" y="330260"/>
                  <a:pt x="346435" y="330260"/>
                </a:cubicBezTo>
                <a:cubicBezTo>
                  <a:pt x="337783" y="330260"/>
                  <a:pt x="325171" y="327917"/>
                  <a:pt x="313879" y="316492"/>
                </a:cubicBezTo>
                <a:lnTo>
                  <a:pt x="248913" y="251755"/>
                </a:lnTo>
                <a:cubicBezTo>
                  <a:pt x="242314" y="245018"/>
                  <a:pt x="239821" y="237109"/>
                  <a:pt x="242021" y="228760"/>
                </a:cubicBezTo>
                <a:cubicBezTo>
                  <a:pt x="243634" y="222463"/>
                  <a:pt x="247887" y="215872"/>
                  <a:pt x="254926" y="208695"/>
                </a:cubicBezTo>
                <a:cubicBezTo>
                  <a:pt x="264165" y="199614"/>
                  <a:pt x="272670" y="195074"/>
                  <a:pt x="280883" y="195074"/>
                </a:cubicBezTo>
                <a:cubicBezTo>
                  <a:pt x="287042" y="195074"/>
                  <a:pt x="292761" y="197710"/>
                  <a:pt x="297894" y="202836"/>
                </a:cubicBezTo>
                <a:cubicBezTo>
                  <a:pt x="298187" y="203129"/>
                  <a:pt x="326491" y="231397"/>
                  <a:pt x="342036" y="246922"/>
                </a:cubicBezTo>
                <a:cubicBezTo>
                  <a:pt x="343649" y="248533"/>
                  <a:pt x="344529" y="249705"/>
                  <a:pt x="346435" y="249705"/>
                </a:cubicBezTo>
                <a:cubicBezTo>
                  <a:pt x="348195" y="249705"/>
                  <a:pt x="349075" y="248533"/>
                  <a:pt x="350541" y="247068"/>
                </a:cubicBezTo>
                <a:cubicBezTo>
                  <a:pt x="376058" y="221584"/>
                  <a:pt x="425626" y="172079"/>
                  <a:pt x="426212" y="171493"/>
                </a:cubicBezTo>
                <a:cubicBezTo>
                  <a:pt x="431492" y="166220"/>
                  <a:pt x="437504" y="163584"/>
                  <a:pt x="444103" y="163584"/>
                </a:cubicBezTo>
                <a:close/>
                <a:moveTo>
                  <a:pt x="360877" y="64177"/>
                </a:moveTo>
                <a:cubicBezTo>
                  <a:pt x="314274" y="64177"/>
                  <a:pt x="267671" y="81896"/>
                  <a:pt x="232178" y="117334"/>
                </a:cubicBezTo>
                <a:cubicBezTo>
                  <a:pt x="161192" y="188210"/>
                  <a:pt x="161192" y="303457"/>
                  <a:pt x="232178" y="374333"/>
                </a:cubicBezTo>
                <a:cubicBezTo>
                  <a:pt x="303164" y="445209"/>
                  <a:pt x="418589" y="445209"/>
                  <a:pt x="489575" y="374333"/>
                </a:cubicBezTo>
                <a:cubicBezTo>
                  <a:pt x="560560" y="303457"/>
                  <a:pt x="560560" y="188210"/>
                  <a:pt x="489575" y="117334"/>
                </a:cubicBezTo>
                <a:cubicBezTo>
                  <a:pt x="454082" y="81896"/>
                  <a:pt x="407479" y="64177"/>
                  <a:pt x="360877" y="64177"/>
                </a:cubicBezTo>
                <a:close/>
                <a:moveTo>
                  <a:pt x="360876" y="0"/>
                </a:moveTo>
                <a:cubicBezTo>
                  <a:pt x="423942" y="0"/>
                  <a:pt x="487008" y="23980"/>
                  <a:pt x="535041" y="71938"/>
                </a:cubicBezTo>
                <a:cubicBezTo>
                  <a:pt x="631106" y="167855"/>
                  <a:pt x="631106" y="323812"/>
                  <a:pt x="535041" y="419729"/>
                </a:cubicBezTo>
                <a:cubicBezTo>
                  <a:pt x="453495" y="501148"/>
                  <a:pt x="332350" y="513449"/>
                  <a:pt x="237751" y="456778"/>
                </a:cubicBezTo>
                <a:cubicBezTo>
                  <a:pt x="237751" y="456778"/>
                  <a:pt x="230858" y="452677"/>
                  <a:pt x="225138" y="458388"/>
                </a:cubicBezTo>
                <a:cubicBezTo>
                  <a:pt x="193752" y="489726"/>
                  <a:pt x="99740" y="583593"/>
                  <a:pt x="99740" y="583593"/>
                </a:cubicBezTo>
                <a:cubicBezTo>
                  <a:pt x="74660" y="608634"/>
                  <a:pt x="39754" y="614638"/>
                  <a:pt x="17607" y="592379"/>
                </a:cubicBezTo>
                <a:lnTo>
                  <a:pt x="13794" y="588572"/>
                </a:lnTo>
                <a:cubicBezTo>
                  <a:pt x="-8499" y="566460"/>
                  <a:pt x="-2486" y="531608"/>
                  <a:pt x="22594" y="506567"/>
                </a:cubicBezTo>
                <a:cubicBezTo>
                  <a:pt x="22594" y="506567"/>
                  <a:pt x="116753" y="412407"/>
                  <a:pt x="148139" y="381069"/>
                </a:cubicBezTo>
                <a:cubicBezTo>
                  <a:pt x="153712" y="375651"/>
                  <a:pt x="149606" y="368768"/>
                  <a:pt x="149606" y="368768"/>
                </a:cubicBezTo>
                <a:cubicBezTo>
                  <a:pt x="92846" y="274316"/>
                  <a:pt x="105166" y="153358"/>
                  <a:pt x="186712" y="71938"/>
                </a:cubicBezTo>
                <a:cubicBezTo>
                  <a:pt x="234745" y="23980"/>
                  <a:pt x="297810" y="0"/>
                  <a:pt x="360876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</p:spTree>
    <p:extLst>
      <p:ext uri="{BB962C8B-B14F-4D97-AF65-F5344CB8AC3E}">
        <p14:creationId xmlns:p14="http://schemas.microsoft.com/office/powerpoint/2010/main" val="59130212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 2">
            <a:extLst>
              <a:ext uri="{FF2B5EF4-FFF2-40B4-BE49-F238E27FC236}">
                <a16:creationId xmlns:a16="http://schemas.microsoft.com/office/drawing/2014/main" id="{4C990C51-A12A-45D3-9FAD-64DC46F2771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80487" y="2509287"/>
            <a:ext cx="3017091" cy="632616"/>
          </a:xfrm>
          <a:prstGeom prst="rect">
            <a:avLst/>
          </a:prstGeom>
        </p:spPr>
      </p:pic>
      <p:pic>
        <p:nvPicPr>
          <p:cNvPr id="4" name="图片 3">
            <a:extLst>
              <a:ext uri="{FF2B5EF4-FFF2-40B4-BE49-F238E27FC236}">
                <a16:creationId xmlns:a16="http://schemas.microsoft.com/office/drawing/2014/main" id="{12571E3B-1595-406E-9AFB-BDAC853FE06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54431" y="1741939"/>
            <a:ext cx="3233292" cy="788608"/>
          </a:xfrm>
          <a:prstGeom prst="rect">
            <a:avLst/>
          </a:prstGeom>
        </p:spPr>
      </p:pic>
      <p:pic>
        <p:nvPicPr>
          <p:cNvPr id="6" name="图片 5">
            <a:extLst>
              <a:ext uri="{FF2B5EF4-FFF2-40B4-BE49-F238E27FC236}">
                <a16:creationId xmlns:a16="http://schemas.microsoft.com/office/drawing/2014/main" id="{8F1F5F15-E03E-4B34-BD00-49BC1063D48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402720" y="4353770"/>
            <a:ext cx="2129582" cy="2504230"/>
          </a:xfrm>
          <a:prstGeom prst="rect">
            <a:avLst/>
          </a:prstGeom>
        </p:spPr>
      </p:pic>
      <p:pic>
        <p:nvPicPr>
          <p:cNvPr id="7" name="图片 6">
            <a:extLst>
              <a:ext uri="{FF2B5EF4-FFF2-40B4-BE49-F238E27FC236}">
                <a16:creationId xmlns:a16="http://schemas.microsoft.com/office/drawing/2014/main" id="{6DC729E4-D322-4035-99B2-396EE25E1D9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720855" y="1859404"/>
            <a:ext cx="7091917" cy="4998596"/>
          </a:xfrm>
          <a:prstGeom prst="rect">
            <a:avLst/>
          </a:prstGeom>
        </p:spPr>
      </p:pic>
      <p:sp>
        <p:nvSpPr>
          <p:cNvPr id="8" name="文本框 7">
            <a:extLst>
              <a:ext uri="{FF2B5EF4-FFF2-40B4-BE49-F238E27FC236}">
                <a16:creationId xmlns:a16="http://schemas.microsoft.com/office/drawing/2014/main" id="{FDD62F91-CD56-4AF9-AABB-294AD21C169C}"/>
              </a:ext>
            </a:extLst>
          </p:cNvPr>
          <p:cNvSpPr txBox="1"/>
          <p:nvPr/>
        </p:nvSpPr>
        <p:spPr>
          <a:xfrm>
            <a:off x="669925" y="1028700"/>
            <a:ext cx="5454503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4000" b="1" dirty="0"/>
              <a:t>病因与发病机制</a:t>
            </a: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84B5A938-79A4-4672-B394-C3D6D80B59C8}"/>
              </a:ext>
            </a:extLst>
          </p:cNvPr>
          <p:cNvSpPr txBox="1"/>
          <p:nvPr/>
        </p:nvSpPr>
        <p:spPr>
          <a:xfrm>
            <a:off x="669925" y="3573425"/>
            <a:ext cx="5454503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4000" b="1" dirty="0"/>
              <a:t>病理与分类</a:t>
            </a:r>
          </a:p>
        </p:txBody>
      </p:sp>
    </p:spTree>
    <p:extLst>
      <p:ext uri="{BB962C8B-B14F-4D97-AF65-F5344CB8AC3E}">
        <p14:creationId xmlns:p14="http://schemas.microsoft.com/office/powerpoint/2010/main" val="2847419234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框 2">
            <a:extLst>
              <a:ext uri="{FF2B5EF4-FFF2-40B4-BE49-F238E27FC236}">
                <a16:creationId xmlns:a16="http://schemas.microsoft.com/office/drawing/2014/main" id="{9B60BF93-EA8A-46AD-9628-FAD9C828F3E8}"/>
              </a:ext>
            </a:extLst>
          </p:cNvPr>
          <p:cNvSpPr txBox="1"/>
          <p:nvPr/>
        </p:nvSpPr>
        <p:spPr>
          <a:xfrm>
            <a:off x="669925" y="422414"/>
            <a:ext cx="5454503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4000" b="1" dirty="0"/>
              <a:t>病理与分型</a:t>
            </a:r>
          </a:p>
        </p:txBody>
      </p:sp>
      <p:pic>
        <p:nvPicPr>
          <p:cNvPr id="2" name="图片 1">
            <a:extLst>
              <a:ext uri="{FF2B5EF4-FFF2-40B4-BE49-F238E27FC236}">
                <a16:creationId xmlns:a16="http://schemas.microsoft.com/office/drawing/2014/main" id="{4A2D3EDF-ABEB-4238-8EB3-5BE1B5A19268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5234" b="-7482"/>
          <a:stretch/>
        </p:blipFill>
        <p:spPr>
          <a:xfrm>
            <a:off x="0" y="1884251"/>
            <a:ext cx="3270408" cy="4878056"/>
          </a:xfrm>
          <a:prstGeom prst="rect">
            <a:avLst/>
          </a:prstGeom>
        </p:spPr>
      </p:pic>
      <p:pic>
        <p:nvPicPr>
          <p:cNvPr id="4" name="图片 3">
            <a:extLst>
              <a:ext uri="{FF2B5EF4-FFF2-40B4-BE49-F238E27FC236}">
                <a16:creationId xmlns:a16="http://schemas.microsoft.com/office/drawing/2014/main" id="{F35478BE-B7B0-41E3-AA77-07D111A09803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5188" r="3012"/>
          <a:stretch/>
        </p:blipFill>
        <p:spPr>
          <a:xfrm>
            <a:off x="3391786" y="1624123"/>
            <a:ext cx="3572540" cy="4137828"/>
          </a:xfrm>
          <a:prstGeom prst="rect">
            <a:avLst/>
          </a:prstGeom>
        </p:spPr>
      </p:pic>
      <p:pic>
        <p:nvPicPr>
          <p:cNvPr id="5" name="图片 4">
            <a:extLst>
              <a:ext uri="{FF2B5EF4-FFF2-40B4-BE49-F238E27FC236}">
                <a16:creationId xmlns:a16="http://schemas.microsoft.com/office/drawing/2014/main" id="{E96698A2-C41D-4D43-BA58-BF341B2C8811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3323" t="4274" r="4301"/>
          <a:stretch/>
        </p:blipFill>
        <p:spPr>
          <a:xfrm>
            <a:off x="7113182" y="1797368"/>
            <a:ext cx="5100084" cy="50606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9315824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框 2">
            <a:extLst>
              <a:ext uri="{FF2B5EF4-FFF2-40B4-BE49-F238E27FC236}">
                <a16:creationId xmlns:a16="http://schemas.microsoft.com/office/drawing/2014/main" id="{9B60BF93-EA8A-46AD-9628-FAD9C828F3E8}"/>
              </a:ext>
            </a:extLst>
          </p:cNvPr>
          <p:cNvSpPr txBox="1"/>
          <p:nvPr/>
        </p:nvSpPr>
        <p:spPr>
          <a:xfrm>
            <a:off x="669925" y="422414"/>
            <a:ext cx="5454503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4000" b="1" dirty="0"/>
              <a:t>临床表现</a:t>
            </a:r>
          </a:p>
        </p:txBody>
      </p:sp>
      <p:pic>
        <p:nvPicPr>
          <p:cNvPr id="2" name="图片 1">
            <a:extLst>
              <a:ext uri="{FF2B5EF4-FFF2-40B4-BE49-F238E27FC236}">
                <a16:creationId xmlns:a16="http://schemas.microsoft.com/office/drawing/2014/main" id="{1E30C246-4DAB-4D19-ADA5-A357B78B439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3632" t="3951" r="657" b="945"/>
          <a:stretch/>
        </p:blipFill>
        <p:spPr>
          <a:xfrm>
            <a:off x="1765004" y="1183465"/>
            <a:ext cx="8378455" cy="56099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1694373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框 2">
            <a:extLst>
              <a:ext uri="{FF2B5EF4-FFF2-40B4-BE49-F238E27FC236}">
                <a16:creationId xmlns:a16="http://schemas.microsoft.com/office/drawing/2014/main" id="{9B60BF93-EA8A-46AD-9628-FAD9C828F3E8}"/>
              </a:ext>
            </a:extLst>
          </p:cNvPr>
          <p:cNvSpPr txBox="1"/>
          <p:nvPr/>
        </p:nvSpPr>
        <p:spPr>
          <a:xfrm>
            <a:off x="669925" y="422414"/>
            <a:ext cx="5454503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4000" b="1" dirty="0"/>
              <a:t>临床表现</a:t>
            </a:r>
          </a:p>
        </p:txBody>
      </p:sp>
      <p:pic>
        <p:nvPicPr>
          <p:cNvPr id="2" name="图片 1">
            <a:extLst>
              <a:ext uri="{FF2B5EF4-FFF2-40B4-BE49-F238E27FC236}">
                <a16:creationId xmlns:a16="http://schemas.microsoft.com/office/drawing/2014/main" id="{C99DA45A-68AC-4CD1-8453-830E180B7DE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14867" y="1464144"/>
            <a:ext cx="8875375" cy="45242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5732230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框 2">
            <a:extLst>
              <a:ext uri="{FF2B5EF4-FFF2-40B4-BE49-F238E27FC236}">
                <a16:creationId xmlns:a16="http://schemas.microsoft.com/office/drawing/2014/main" id="{9B60BF93-EA8A-46AD-9628-FAD9C828F3E8}"/>
              </a:ext>
            </a:extLst>
          </p:cNvPr>
          <p:cNvSpPr txBox="1"/>
          <p:nvPr/>
        </p:nvSpPr>
        <p:spPr>
          <a:xfrm>
            <a:off x="669925" y="422414"/>
            <a:ext cx="5454503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4000" b="1" dirty="0"/>
              <a:t>辅助检查</a:t>
            </a:r>
          </a:p>
        </p:txBody>
      </p:sp>
      <p:grpSp>
        <p:nvGrpSpPr>
          <p:cNvPr id="4" name="4050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ACFAA816-272E-495A-A5AB-42C4E124C444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2954791" y="1251459"/>
            <a:ext cx="7178036" cy="5478949"/>
            <a:chOff x="4656000" y="1293990"/>
            <a:chExt cx="7178036" cy="4700010"/>
          </a:xfrm>
        </p:grpSpPr>
        <p:sp>
          <p:nvSpPr>
            <p:cNvPr id="5" name="îSļïďé">
              <a:extLst>
                <a:ext uri="{FF2B5EF4-FFF2-40B4-BE49-F238E27FC236}">
                  <a16:creationId xmlns:a16="http://schemas.microsoft.com/office/drawing/2014/main" id="{D53AC47B-EEA7-4CE0-98C7-AF157BA3BEBD}"/>
                </a:ext>
              </a:extLst>
            </p:cNvPr>
            <p:cNvSpPr/>
            <p:nvPr/>
          </p:nvSpPr>
          <p:spPr bwMode="auto">
            <a:xfrm>
              <a:off x="4656000" y="1293990"/>
              <a:ext cx="828092" cy="595554"/>
            </a:xfrm>
            <a:prstGeom prst="parallelogram">
              <a:avLst/>
            </a:prstGeom>
            <a:solidFill>
              <a:schemeClr val="accent1">
                <a:lumMod val="100000"/>
              </a:schemeClr>
            </a:solidFill>
            <a:ln w="12700" cap="flat" cmpd="sng" algn="ctr">
              <a:solidFill>
                <a:schemeClr val="accent1">
                  <a:lumMod val="100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rot="0" spcFirstLastPara="0" vert="horz" wrap="none" lIns="91440" tIns="45720" rIns="91440" bIns="45720" anchor="ctr" anchorCtr="1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altLang="zh-CN" sz="2400" dirty="0">
                  <a:solidFill>
                    <a:schemeClr val="bg1">
                      <a:lumMod val="100000"/>
                    </a:schemeClr>
                  </a:solidFill>
                  <a:latin typeface="Impact" panose="020B0806030902050204" pitchFamily="34" charset="0"/>
                </a:rPr>
                <a:t>01</a:t>
              </a:r>
            </a:p>
          </p:txBody>
        </p:sp>
        <p:sp>
          <p:nvSpPr>
            <p:cNvPr id="6" name="iSḻíḋê">
              <a:extLst>
                <a:ext uri="{FF2B5EF4-FFF2-40B4-BE49-F238E27FC236}">
                  <a16:creationId xmlns:a16="http://schemas.microsoft.com/office/drawing/2014/main" id="{474B5FF7-0404-451B-9B09-7534D5F120DA}"/>
                </a:ext>
              </a:extLst>
            </p:cNvPr>
            <p:cNvSpPr/>
            <p:nvPr/>
          </p:nvSpPr>
          <p:spPr bwMode="auto">
            <a:xfrm>
              <a:off x="5213662" y="1293990"/>
              <a:ext cx="5346994" cy="595554"/>
            </a:xfrm>
            <a:prstGeom prst="parallelogram">
              <a:avLst/>
            </a:prstGeom>
            <a:noFill/>
            <a:ln w="12700" cap="flat" cmpd="sng" algn="ctr">
              <a:solidFill>
                <a:schemeClr val="accent1">
                  <a:lumMod val="100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rot="0" spcFirstLastPara="0" vert="horz" wrap="square" lIns="91440" tIns="45720" rIns="91440" bIns="45720" anchor="ctr" anchorCtr="1" forceAA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120000"/>
                </a:lnSpc>
              </a:pPr>
              <a:r>
                <a:rPr lang="zh-CN" altLang="en-US" sz="3600" b="1" dirty="0"/>
                <a:t>大便隐血试验</a:t>
              </a:r>
              <a:endParaRPr lang="en-US" altLang="zh-CN" sz="3600" b="1" dirty="0"/>
            </a:p>
          </p:txBody>
        </p:sp>
        <p:sp>
          <p:nvSpPr>
            <p:cNvPr id="7" name="îṡḻíḓê">
              <a:extLst>
                <a:ext uri="{FF2B5EF4-FFF2-40B4-BE49-F238E27FC236}">
                  <a16:creationId xmlns:a16="http://schemas.microsoft.com/office/drawing/2014/main" id="{918981C4-343E-4DA0-8CF7-7345C7DEE2B4}"/>
                </a:ext>
              </a:extLst>
            </p:cNvPr>
            <p:cNvSpPr/>
            <p:nvPr/>
          </p:nvSpPr>
          <p:spPr bwMode="auto">
            <a:xfrm>
              <a:off x="4656000" y="2114881"/>
              <a:ext cx="828092" cy="595554"/>
            </a:xfrm>
            <a:prstGeom prst="parallelogram">
              <a:avLst/>
            </a:prstGeom>
            <a:solidFill>
              <a:schemeClr val="accent2">
                <a:lumMod val="100000"/>
              </a:schemeClr>
            </a:solidFill>
            <a:ln w="12700" cap="flat" cmpd="sng" algn="ctr">
              <a:solidFill>
                <a:schemeClr val="accent2">
                  <a:lumMod val="100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rot="0" spcFirstLastPara="0" vert="horz" wrap="none" lIns="91440" tIns="45720" rIns="91440" bIns="45720" anchor="ctr" anchorCtr="1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altLang="zh-CN" sz="2400">
                  <a:solidFill>
                    <a:schemeClr val="bg1">
                      <a:lumMod val="100000"/>
                    </a:schemeClr>
                  </a:solidFill>
                  <a:latin typeface="Impact" panose="020B0806030902050204" pitchFamily="34" charset="0"/>
                </a:rPr>
                <a:t>02</a:t>
              </a:r>
            </a:p>
          </p:txBody>
        </p:sp>
        <p:sp>
          <p:nvSpPr>
            <p:cNvPr id="8" name="îṥļiďè">
              <a:extLst>
                <a:ext uri="{FF2B5EF4-FFF2-40B4-BE49-F238E27FC236}">
                  <a16:creationId xmlns:a16="http://schemas.microsoft.com/office/drawing/2014/main" id="{4686B3C9-5867-4167-B739-92F4196E078F}"/>
                </a:ext>
              </a:extLst>
            </p:cNvPr>
            <p:cNvSpPr/>
            <p:nvPr/>
          </p:nvSpPr>
          <p:spPr bwMode="auto">
            <a:xfrm>
              <a:off x="5213662" y="2114881"/>
              <a:ext cx="5346994" cy="595554"/>
            </a:xfrm>
            <a:prstGeom prst="parallelogram">
              <a:avLst/>
            </a:prstGeom>
            <a:noFill/>
            <a:ln w="12700" cap="flat" cmpd="sng" algn="ctr">
              <a:solidFill>
                <a:schemeClr val="accent2">
                  <a:lumMod val="100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rot="0" spcFirstLastPara="0" vert="horz" wrap="square" lIns="91440" tIns="45720" rIns="91440" bIns="45720" anchor="ctr" anchorCtr="1" forceAA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120000"/>
                </a:lnSpc>
              </a:pPr>
              <a:r>
                <a:rPr lang="zh-CN" altLang="en-US" sz="3600" b="1" dirty="0"/>
                <a:t>直肠指检</a:t>
              </a:r>
              <a:endParaRPr lang="en-US" altLang="zh-CN" sz="3600" b="1" dirty="0"/>
            </a:p>
          </p:txBody>
        </p:sp>
        <p:sp>
          <p:nvSpPr>
            <p:cNvPr id="9" name="ïṧ1îdê">
              <a:extLst>
                <a:ext uri="{FF2B5EF4-FFF2-40B4-BE49-F238E27FC236}">
                  <a16:creationId xmlns:a16="http://schemas.microsoft.com/office/drawing/2014/main" id="{295627B5-DB9D-483B-BD83-93A6C97738D6}"/>
                </a:ext>
              </a:extLst>
            </p:cNvPr>
            <p:cNvSpPr/>
            <p:nvPr/>
          </p:nvSpPr>
          <p:spPr bwMode="auto">
            <a:xfrm>
              <a:off x="4656000" y="2935772"/>
              <a:ext cx="828092" cy="595554"/>
            </a:xfrm>
            <a:prstGeom prst="parallelogram">
              <a:avLst/>
            </a:prstGeom>
            <a:solidFill>
              <a:schemeClr val="accent3">
                <a:lumMod val="100000"/>
              </a:schemeClr>
            </a:solidFill>
            <a:ln w="12700" cap="flat" cmpd="sng" algn="ctr">
              <a:solidFill>
                <a:schemeClr val="accent3">
                  <a:lumMod val="100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rot="0" spcFirstLastPara="0" vert="horz" wrap="none" lIns="91440" tIns="45720" rIns="91440" bIns="45720" anchor="ctr" anchorCtr="1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altLang="zh-CN" sz="2400">
                  <a:solidFill>
                    <a:schemeClr val="bg1">
                      <a:lumMod val="100000"/>
                    </a:schemeClr>
                  </a:solidFill>
                  <a:latin typeface="Impact" panose="020B0806030902050204" pitchFamily="34" charset="0"/>
                </a:rPr>
                <a:t>03</a:t>
              </a:r>
            </a:p>
          </p:txBody>
        </p:sp>
        <p:sp>
          <p:nvSpPr>
            <p:cNvPr id="10" name="iṥ1ïḓé">
              <a:extLst>
                <a:ext uri="{FF2B5EF4-FFF2-40B4-BE49-F238E27FC236}">
                  <a16:creationId xmlns:a16="http://schemas.microsoft.com/office/drawing/2014/main" id="{C98DBE3A-2E4D-45D3-8C4A-5F362F88A8C1}"/>
                </a:ext>
              </a:extLst>
            </p:cNvPr>
            <p:cNvSpPr/>
            <p:nvPr/>
          </p:nvSpPr>
          <p:spPr bwMode="auto">
            <a:xfrm>
              <a:off x="5213662" y="2935772"/>
              <a:ext cx="5346994" cy="595554"/>
            </a:xfrm>
            <a:prstGeom prst="parallelogram">
              <a:avLst/>
            </a:prstGeom>
            <a:noFill/>
            <a:ln w="12700" cap="flat" cmpd="sng" algn="ctr">
              <a:solidFill>
                <a:schemeClr val="accent3">
                  <a:lumMod val="100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rot="0" spcFirstLastPara="0" vert="horz" wrap="square" lIns="91440" tIns="45720" rIns="91440" bIns="45720" anchor="ctr" anchorCtr="1" forceAA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120000"/>
                </a:lnSpc>
              </a:pPr>
              <a:r>
                <a:rPr lang="zh-CN" altLang="en-US" sz="3600" b="1" dirty="0"/>
                <a:t>内镜检查</a:t>
              </a:r>
              <a:endParaRPr lang="en-US" altLang="zh-CN" sz="3600" b="1" dirty="0"/>
            </a:p>
          </p:txBody>
        </p:sp>
        <p:sp>
          <p:nvSpPr>
            <p:cNvPr id="11" name="í$ļíḑé">
              <a:extLst>
                <a:ext uri="{FF2B5EF4-FFF2-40B4-BE49-F238E27FC236}">
                  <a16:creationId xmlns:a16="http://schemas.microsoft.com/office/drawing/2014/main" id="{23382E27-285F-4EBF-8C8A-04E21A0A46FB}"/>
                </a:ext>
              </a:extLst>
            </p:cNvPr>
            <p:cNvSpPr/>
            <p:nvPr/>
          </p:nvSpPr>
          <p:spPr bwMode="auto">
            <a:xfrm>
              <a:off x="4656000" y="3756663"/>
              <a:ext cx="828092" cy="595554"/>
            </a:xfrm>
            <a:prstGeom prst="parallelogram">
              <a:avLst/>
            </a:prstGeom>
            <a:solidFill>
              <a:schemeClr val="accent4">
                <a:lumMod val="100000"/>
              </a:schemeClr>
            </a:solidFill>
            <a:ln w="12700" cap="flat" cmpd="sng" algn="ctr">
              <a:solidFill>
                <a:schemeClr val="accent4">
                  <a:lumMod val="100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rot="0" spcFirstLastPara="0" vert="horz" wrap="none" lIns="91440" tIns="45720" rIns="91440" bIns="45720" anchor="ctr" anchorCtr="1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altLang="zh-CN" sz="2400">
                  <a:solidFill>
                    <a:schemeClr val="bg1">
                      <a:lumMod val="100000"/>
                    </a:schemeClr>
                  </a:solidFill>
                  <a:latin typeface="Impact" panose="020B0806030902050204" pitchFamily="34" charset="0"/>
                </a:rPr>
                <a:t>04</a:t>
              </a:r>
            </a:p>
          </p:txBody>
        </p:sp>
        <p:sp>
          <p:nvSpPr>
            <p:cNvPr id="12" name="íṩľíďè">
              <a:extLst>
                <a:ext uri="{FF2B5EF4-FFF2-40B4-BE49-F238E27FC236}">
                  <a16:creationId xmlns:a16="http://schemas.microsoft.com/office/drawing/2014/main" id="{6739286A-A17A-4397-9A0B-0F37A596A0FB}"/>
                </a:ext>
              </a:extLst>
            </p:cNvPr>
            <p:cNvSpPr/>
            <p:nvPr/>
          </p:nvSpPr>
          <p:spPr bwMode="auto">
            <a:xfrm>
              <a:off x="5213662" y="3756663"/>
              <a:ext cx="5346994" cy="595554"/>
            </a:xfrm>
            <a:prstGeom prst="parallelogram">
              <a:avLst/>
            </a:prstGeom>
            <a:noFill/>
            <a:ln w="12700" cap="flat" cmpd="sng" algn="ctr">
              <a:solidFill>
                <a:schemeClr val="accent4">
                  <a:lumMod val="100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rot="0" spcFirstLastPara="0" vert="horz" wrap="square" lIns="91440" tIns="45720" rIns="91440" bIns="45720" anchor="ctr" anchorCtr="1" forceAA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120000"/>
                </a:lnSpc>
              </a:pPr>
              <a:r>
                <a:rPr lang="zh-CN" altLang="en-US" sz="3600" b="1" dirty="0"/>
                <a:t>影像学检查</a:t>
              </a:r>
              <a:endParaRPr lang="en-US" altLang="zh-CN" sz="3600" b="1" dirty="0"/>
            </a:p>
          </p:txBody>
        </p:sp>
        <p:sp>
          <p:nvSpPr>
            <p:cNvPr id="13" name="îşḻíḓe">
              <a:extLst>
                <a:ext uri="{FF2B5EF4-FFF2-40B4-BE49-F238E27FC236}">
                  <a16:creationId xmlns:a16="http://schemas.microsoft.com/office/drawing/2014/main" id="{72B081E4-870E-446F-9FE5-AF9E1937A7C1}"/>
                </a:ext>
              </a:extLst>
            </p:cNvPr>
            <p:cNvSpPr/>
            <p:nvPr/>
          </p:nvSpPr>
          <p:spPr bwMode="auto">
            <a:xfrm>
              <a:off x="4656000" y="4577554"/>
              <a:ext cx="828092" cy="595554"/>
            </a:xfrm>
            <a:prstGeom prst="parallelogram">
              <a:avLst/>
            </a:prstGeom>
            <a:solidFill>
              <a:schemeClr val="accent5">
                <a:lumMod val="100000"/>
              </a:schemeClr>
            </a:solidFill>
            <a:ln w="12700" cap="flat" cmpd="sng" algn="ctr">
              <a:solidFill>
                <a:schemeClr val="accent5">
                  <a:lumMod val="100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rot="0" spcFirstLastPara="0" vert="horz" wrap="none" lIns="91440" tIns="45720" rIns="91440" bIns="45720" anchor="ctr" anchorCtr="1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altLang="zh-CN" sz="2400">
                  <a:solidFill>
                    <a:schemeClr val="bg1">
                      <a:lumMod val="100000"/>
                    </a:schemeClr>
                  </a:solidFill>
                  <a:latin typeface="Impact" panose="020B0806030902050204" pitchFamily="34" charset="0"/>
                </a:rPr>
                <a:t>05</a:t>
              </a:r>
            </a:p>
          </p:txBody>
        </p:sp>
        <p:sp>
          <p:nvSpPr>
            <p:cNvPr id="14" name="ïṩ1iďe">
              <a:extLst>
                <a:ext uri="{FF2B5EF4-FFF2-40B4-BE49-F238E27FC236}">
                  <a16:creationId xmlns:a16="http://schemas.microsoft.com/office/drawing/2014/main" id="{5A68161D-1DCA-4D8C-BD11-96DEF9AEE8BB}"/>
                </a:ext>
              </a:extLst>
            </p:cNvPr>
            <p:cNvSpPr/>
            <p:nvPr/>
          </p:nvSpPr>
          <p:spPr bwMode="auto">
            <a:xfrm>
              <a:off x="5213662" y="4577554"/>
              <a:ext cx="5346994" cy="595554"/>
            </a:xfrm>
            <a:prstGeom prst="parallelogram">
              <a:avLst/>
            </a:prstGeom>
            <a:noFill/>
            <a:ln w="12700" cap="flat" cmpd="sng" algn="ctr">
              <a:solidFill>
                <a:schemeClr val="accent5">
                  <a:lumMod val="100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rot="0" spcFirstLastPara="0" vert="horz" wrap="square" lIns="91440" tIns="45720" rIns="91440" bIns="45720" anchor="ctr" anchorCtr="1" forceAA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120000"/>
                </a:lnSpc>
              </a:pPr>
              <a:r>
                <a:rPr lang="zh-CN" altLang="en-US" sz="3600" b="1" dirty="0"/>
                <a:t>肿瘤标志物</a:t>
              </a:r>
              <a:endParaRPr lang="en-US" altLang="zh-CN" sz="3600" b="1" dirty="0"/>
            </a:p>
          </p:txBody>
        </p:sp>
        <p:sp>
          <p:nvSpPr>
            <p:cNvPr id="15" name="îṣ1iḋé">
              <a:extLst>
                <a:ext uri="{FF2B5EF4-FFF2-40B4-BE49-F238E27FC236}">
                  <a16:creationId xmlns:a16="http://schemas.microsoft.com/office/drawing/2014/main" id="{29A7033A-21C6-468C-8438-8A0C9FE11585}"/>
                </a:ext>
              </a:extLst>
            </p:cNvPr>
            <p:cNvSpPr/>
            <p:nvPr/>
          </p:nvSpPr>
          <p:spPr bwMode="auto">
            <a:xfrm>
              <a:off x="4656000" y="5398446"/>
              <a:ext cx="828092" cy="595554"/>
            </a:xfrm>
            <a:prstGeom prst="parallelogram">
              <a:avLst/>
            </a:prstGeom>
            <a:solidFill>
              <a:schemeClr val="accent6">
                <a:lumMod val="100000"/>
              </a:schemeClr>
            </a:solidFill>
            <a:ln w="12700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rot="0" spcFirstLastPara="0" vert="horz" wrap="none" lIns="91440" tIns="45720" rIns="91440" bIns="45720" anchor="ctr" anchorCtr="1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altLang="zh-CN" sz="2400" dirty="0">
                  <a:solidFill>
                    <a:schemeClr val="bg1">
                      <a:lumMod val="100000"/>
                    </a:schemeClr>
                  </a:solidFill>
                  <a:latin typeface="Impact" panose="020B0806030902050204" pitchFamily="34" charset="0"/>
                </a:rPr>
                <a:t>06</a:t>
              </a:r>
            </a:p>
          </p:txBody>
        </p:sp>
        <p:sp>
          <p:nvSpPr>
            <p:cNvPr id="16" name="ïšļídè">
              <a:extLst>
                <a:ext uri="{FF2B5EF4-FFF2-40B4-BE49-F238E27FC236}">
                  <a16:creationId xmlns:a16="http://schemas.microsoft.com/office/drawing/2014/main" id="{78C522C3-5AB7-4CCA-882A-B9EEB1F8368B}"/>
                </a:ext>
              </a:extLst>
            </p:cNvPr>
            <p:cNvSpPr/>
            <p:nvPr/>
          </p:nvSpPr>
          <p:spPr bwMode="auto">
            <a:xfrm>
              <a:off x="5213661" y="5398446"/>
              <a:ext cx="6620375" cy="595554"/>
            </a:xfrm>
            <a:prstGeom prst="parallelogram">
              <a:avLst/>
            </a:prstGeom>
            <a:noFill/>
            <a:ln w="12700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rot="0" spcFirstLastPara="0" vert="horz" wrap="square" lIns="91440" tIns="45720" rIns="91440" bIns="45720" anchor="ctr" anchorCtr="1" forceAA="0" compatLnSpc="1">
              <a:prstTxWarp prst="textNoShape">
                <a:avLst/>
              </a:prstTxWarp>
              <a:normAutofit fontScale="92500"/>
            </a:bodyPr>
            <a:lstStyle/>
            <a:p>
              <a:pPr>
                <a:lnSpc>
                  <a:spcPct val="120000"/>
                </a:lnSpc>
              </a:pPr>
              <a:r>
                <a:rPr lang="zh-CN" altLang="en-US" sz="2800" b="1" dirty="0"/>
                <a:t>其他检查：阴道检查、膀胱镜检查</a:t>
              </a:r>
              <a:endParaRPr lang="en-US" altLang="zh-CN" sz="2800" b="1" dirty="0"/>
            </a:p>
          </p:txBody>
        </p:sp>
      </p:grpSp>
    </p:spTree>
    <p:extLst>
      <p:ext uri="{BB962C8B-B14F-4D97-AF65-F5344CB8AC3E}">
        <p14:creationId xmlns:p14="http://schemas.microsoft.com/office/powerpoint/2010/main" val="2005172618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框 2">
            <a:extLst>
              <a:ext uri="{FF2B5EF4-FFF2-40B4-BE49-F238E27FC236}">
                <a16:creationId xmlns:a16="http://schemas.microsoft.com/office/drawing/2014/main" id="{9B60BF93-EA8A-46AD-9628-FAD9C828F3E8}"/>
              </a:ext>
            </a:extLst>
          </p:cNvPr>
          <p:cNvSpPr txBox="1"/>
          <p:nvPr/>
        </p:nvSpPr>
        <p:spPr>
          <a:xfrm>
            <a:off x="669925" y="422414"/>
            <a:ext cx="5454503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4000" b="1" dirty="0"/>
              <a:t>治疗原则</a:t>
            </a:r>
          </a:p>
        </p:txBody>
      </p:sp>
      <p:sp>
        <p:nvSpPr>
          <p:cNvPr id="2" name="矩形 1">
            <a:extLst>
              <a:ext uri="{FF2B5EF4-FFF2-40B4-BE49-F238E27FC236}">
                <a16:creationId xmlns:a16="http://schemas.microsoft.com/office/drawing/2014/main" id="{C1133672-843B-4CD8-BFFA-FB33DA681618}"/>
              </a:ext>
            </a:extLst>
          </p:cNvPr>
          <p:cNvSpPr/>
          <p:nvPr/>
        </p:nvSpPr>
        <p:spPr>
          <a:xfrm>
            <a:off x="1337352" y="1351463"/>
            <a:ext cx="2492990" cy="324819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200000"/>
              </a:lnSpc>
            </a:pPr>
            <a:r>
              <a:rPr lang="zh-CN" altLang="en-US" sz="3600" b="1" dirty="0">
                <a:solidFill>
                  <a:srgbClr val="000000"/>
                </a:solidFill>
              </a:rPr>
              <a:t>手术治疗</a:t>
            </a:r>
            <a:endParaRPr lang="en-US" altLang="zh-CN" sz="3600" b="1" dirty="0">
              <a:solidFill>
                <a:srgbClr val="000000"/>
              </a:solidFill>
            </a:endParaRPr>
          </a:p>
          <a:p>
            <a:pPr>
              <a:lnSpc>
                <a:spcPct val="200000"/>
              </a:lnSpc>
            </a:pPr>
            <a:r>
              <a:rPr lang="zh-CN" altLang="en-US" sz="3600" b="1" dirty="0">
                <a:solidFill>
                  <a:srgbClr val="000000"/>
                </a:solidFill>
              </a:rPr>
              <a:t>化疗及放疗</a:t>
            </a:r>
            <a:endParaRPr lang="en-US" altLang="zh-CN" sz="3600" b="1" dirty="0">
              <a:solidFill>
                <a:srgbClr val="000000"/>
              </a:solidFill>
            </a:endParaRPr>
          </a:p>
          <a:p>
            <a:pPr>
              <a:lnSpc>
                <a:spcPct val="200000"/>
              </a:lnSpc>
            </a:pPr>
            <a:r>
              <a:rPr lang="zh-CN" altLang="en-US" sz="3600" b="1" dirty="0">
                <a:solidFill>
                  <a:srgbClr val="000000"/>
                </a:solidFill>
              </a:rPr>
              <a:t>其他治疗</a:t>
            </a:r>
          </a:p>
        </p:txBody>
      </p:sp>
      <p:sp>
        <p:nvSpPr>
          <p:cNvPr id="4" name="validate-search_64702">
            <a:extLst>
              <a:ext uri="{FF2B5EF4-FFF2-40B4-BE49-F238E27FC236}">
                <a16:creationId xmlns:a16="http://schemas.microsoft.com/office/drawing/2014/main" id="{1E4537A7-42C9-4D64-8E7F-42DC91855023}"/>
              </a:ext>
            </a:extLst>
          </p:cNvPr>
          <p:cNvSpPr>
            <a:spLocks noChangeAspect="1"/>
          </p:cNvSpPr>
          <p:nvPr/>
        </p:nvSpPr>
        <p:spPr bwMode="auto">
          <a:xfrm>
            <a:off x="489056" y="1775636"/>
            <a:ext cx="609685" cy="543605"/>
          </a:xfrm>
          <a:custGeom>
            <a:avLst/>
            <a:gdLst>
              <a:gd name="connsiteX0" fmla="*/ 444103 w 607089"/>
              <a:gd name="connsiteY0" fmla="*/ 163584 h 606152"/>
              <a:gd name="connsiteX1" fmla="*/ 469914 w 607089"/>
              <a:gd name="connsiteY1" fmla="*/ 176766 h 606152"/>
              <a:gd name="connsiteX2" fmla="*/ 475193 w 607089"/>
              <a:gd name="connsiteY2" fmla="*/ 220412 h 606152"/>
              <a:gd name="connsiteX3" fmla="*/ 378258 w 607089"/>
              <a:gd name="connsiteY3" fmla="*/ 317225 h 606152"/>
              <a:gd name="connsiteX4" fmla="*/ 346435 w 607089"/>
              <a:gd name="connsiteY4" fmla="*/ 330260 h 606152"/>
              <a:gd name="connsiteX5" fmla="*/ 313879 w 607089"/>
              <a:gd name="connsiteY5" fmla="*/ 316492 h 606152"/>
              <a:gd name="connsiteX6" fmla="*/ 248913 w 607089"/>
              <a:gd name="connsiteY6" fmla="*/ 251755 h 606152"/>
              <a:gd name="connsiteX7" fmla="*/ 242021 w 607089"/>
              <a:gd name="connsiteY7" fmla="*/ 228760 h 606152"/>
              <a:gd name="connsiteX8" fmla="*/ 254926 w 607089"/>
              <a:gd name="connsiteY8" fmla="*/ 208695 h 606152"/>
              <a:gd name="connsiteX9" fmla="*/ 280883 w 607089"/>
              <a:gd name="connsiteY9" fmla="*/ 195074 h 606152"/>
              <a:gd name="connsiteX10" fmla="*/ 297894 w 607089"/>
              <a:gd name="connsiteY10" fmla="*/ 202836 h 606152"/>
              <a:gd name="connsiteX11" fmla="*/ 342036 w 607089"/>
              <a:gd name="connsiteY11" fmla="*/ 246922 h 606152"/>
              <a:gd name="connsiteX12" fmla="*/ 346435 w 607089"/>
              <a:gd name="connsiteY12" fmla="*/ 249705 h 606152"/>
              <a:gd name="connsiteX13" fmla="*/ 350541 w 607089"/>
              <a:gd name="connsiteY13" fmla="*/ 247068 h 606152"/>
              <a:gd name="connsiteX14" fmla="*/ 426212 w 607089"/>
              <a:gd name="connsiteY14" fmla="*/ 171493 h 606152"/>
              <a:gd name="connsiteX15" fmla="*/ 444103 w 607089"/>
              <a:gd name="connsiteY15" fmla="*/ 163584 h 606152"/>
              <a:gd name="connsiteX16" fmla="*/ 360877 w 607089"/>
              <a:gd name="connsiteY16" fmla="*/ 64177 h 606152"/>
              <a:gd name="connsiteX17" fmla="*/ 232178 w 607089"/>
              <a:gd name="connsiteY17" fmla="*/ 117334 h 606152"/>
              <a:gd name="connsiteX18" fmla="*/ 232178 w 607089"/>
              <a:gd name="connsiteY18" fmla="*/ 374333 h 606152"/>
              <a:gd name="connsiteX19" fmla="*/ 489575 w 607089"/>
              <a:gd name="connsiteY19" fmla="*/ 374333 h 606152"/>
              <a:gd name="connsiteX20" fmla="*/ 489575 w 607089"/>
              <a:gd name="connsiteY20" fmla="*/ 117334 h 606152"/>
              <a:gd name="connsiteX21" fmla="*/ 360877 w 607089"/>
              <a:gd name="connsiteY21" fmla="*/ 64177 h 606152"/>
              <a:gd name="connsiteX22" fmla="*/ 360876 w 607089"/>
              <a:gd name="connsiteY22" fmla="*/ 0 h 606152"/>
              <a:gd name="connsiteX23" fmla="*/ 535041 w 607089"/>
              <a:gd name="connsiteY23" fmla="*/ 71938 h 606152"/>
              <a:gd name="connsiteX24" fmla="*/ 535041 w 607089"/>
              <a:gd name="connsiteY24" fmla="*/ 419729 h 606152"/>
              <a:gd name="connsiteX25" fmla="*/ 237751 w 607089"/>
              <a:gd name="connsiteY25" fmla="*/ 456778 h 606152"/>
              <a:gd name="connsiteX26" fmla="*/ 225138 w 607089"/>
              <a:gd name="connsiteY26" fmla="*/ 458388 h 606152"/>
              <a:gd name="connsiteX27" fmla="*/ 99740 w 607089"/>
              <a:gd name="connsiteY27" fmla="*/ 583593 h 606152"/>
              <a:gd name="connsiteX28" fmla="*/ 17607 w 607089"/>
              <a:gd name="connsiteY28" fmla="*/ 592379 h 606152"/>
              <a:gd name="connsiteX29" fmla="*/ 13794 w 607089"/>
              <a:gd name="connsiteY29" fmla="*/ 588572 h 606152"/>
              <a:gd name="connsiteX30" fmla="*/ 22594 w 607089"/>
              <a:gd name="connsiteY30" fmla="*/ 506567 h 606152"/>
              <a:gd name="connsiteX31" fmla="*/ 148139 w 607089"/>
              <a:gd name="connsiteY31" fmla="*/ 381069 h 606152"/>
              <a:gd name="connsiteX32" fmla="*/ 149606 w 607089"/>
              <a:gd name="connsiteY32" fmla="*/ 368768 h 606152"/>
              <a:gd name="connsiteX33" fmla="*/ 186712 w 607089"/>
              <a:gd name="connsiteY33" fmla="*/ 71938 h 606152"/>
              <a:gd name="connsiteX34" fmla="*/ 360876 w 607089"/>
              <a:gd name="connsiteY34" fmla="*/ 0 h 6061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</a:cxnLst>
            <a:rect l="l" t="t" r="r" b="b"/>
            <a:pathLst>
              <a:path w="607089" h="606152">
                <a:moveTo>
                  <a:pt x="444103" y="163584"/>
                </a:moveTo>
                <a:cubicBezTo>
                  <a:pt x="452462" y="163584"/>
                  <a:pt x="461261" y="167978"/>
                  <a:pt x="469914" y="176766"/>
                </a:cubicBezTo>
                <a:cubicBezTo>
                  <a:pt x="485459" y="192291"/>
                  <a:pt x="487365" y="208256"/>
                  <a:pt x="475193" y="220412"/>
                </a:cubicBezTo>
                <a:lnTo>
                  <a:pt x="378258" y="317225"/>
                </a:lnTo>
                <a:cubicBezTo>
                  <a:pt x="369459" y="326013"/>
                  <a:pt x="359047" y="330260"/>
                  <a:pt x="346435" y="330260"/>
                </a:cubicBezTo>
                <a:cubicBezTo>
                  <a:pt x="337783" y="330260"/>
                  <a:pt x="325171" y="327917"/>
                  <a:pt x="313879" y="316492"/>
                </a:cubicBezTo>
                <a:lnTo>
                  <a:pt x="248913" y="251755"/>
                </a:lnTo>
                <a:cubicBezTo>
                  <a:pt x="242314" y="245018"/>
                  <a:pt x="239821" y="237109"/>
                  <a:pt x="242021" y="228760"/>
                </a:cubicBezTo>
                <a:cubicBezTo>
                  <a:pt x="243634" y="222463"/>
                  <a:pt x="247887" y="215872"/>
                  <a:pt x="254926" y="208695"/>
                </a:cubicBezTo>
                <a:cubicBezTo>
                  <a:pt x="264165" y="199614"/>
                  <a:pt x="272670" y="195074"/>
                  <a:pt x="280883" y="195074"/>
                </a:cubicBezTo>
                <a:cubicBezTo>
                  <a:pt x="287042" y="195074"/>
                  <a:pt x="292761" y="197710"/>
                  <a:pt x="297894" y="202836"/>
                </a:cubicBezTo>
                <a:cubicBezTo>
                  <a:pt x="298187" y="203129"/>
                  <a:pt x="326491" y="231397"/>
                  <a:pt x="342036" y="246922"/>
                </a:cubicBezTo>
                <a:cubicBezTo>
                  <a:pt x="343649" y="248533"/>
                  <a:pt x="344529" y="249705"/>
                  <a:pt x="346435" y="249705"/>
                </a:cubicBezTo>
                <a:cubicBezTo>
                  <a:pt x="348195" y="249705"/>
                  <a:pt x="349075" y="248533"/>
                  <a:pt x="350541" y="247068"/>
                </a:cubicBezTo>
                <a:cubicBezTo>
                  <a:pt x="376058" y="221584"/>
                  <a:pt x="425626" y="172079"/>
                  <a:pt x="426212" y="171493"/>
                </a:cubicBezTo>
                <a:cubicBezTo>
                  <a:pt x="431492" y="166220"/>
                  <a:pt x="437504" y="163584"/>
                  <a:pt x="444103" y="163584"/>
                </a:cubicBezTo>
                <a:close/>
                <a:moveTo>
                  <a:pt x="360877" y="64177"/>
                </a:moveTo>
                <a:cubicBezTo>
                  <a:pt x="314274" y="64177"/>
                  <a:pt x="267671" y="81896"/>
                  <a:pt x="232178" y="117334"/>
                </a:cubicBezTo>
                <a:cubicBezTo>
                  <a:pt x="161192" y="188210"/>
                  <a:pt x="161192" y="303457"/>
                  <a:pt x="232178" y="374333"/>
                </a:cubicBezTo>
                <a:cubicBezTo>
                  <a:pt x="303164" y="445209"/>
                  <a:pt x="418589" y="445209"/>
                  <a:pt x="489575" y="374333"/>
                </a:cubicBezTo>
                <a:cubicBezTo>
                  <a:pt x="560560" y="303457"/>
                  <a:pt x="560560" y="188210"/>
                  <a:pt x="489575" y="117334"/>
                </a:cubicBezTo>
                <a:cubicBezTo>
                  <a:pt x="454082" y="81896"/>
                  <a:pt x="407479" y="64177"/>
                  <a:pt x="360877" y="64177"/>
                </a:cubicBezTo>
                <a:close/>
                <a:moveTo>
                  <a:pt x="360876" y="0"/>
                </a:moveTo>
                <a:cubicBezTo>
                  <a:pt x="423942" y="0"/>
                  <a:pt x="487008" y="23980"/>
                  <a:pt x="535041" y="71938"/>
                </a:cubicBezTo>
                <a:cubicBezTo>
                  <a:pt x="631106" y="167855"/>
                  <a:pt x="631106" y="323812"/>
                  <a:pt x="535041" y="419729"/>
                </a:cubicBezTo>
                <a:cubicBezTo>
                  <a:pt x="453495" y="501148"/>
                  <a:pt x="332350" y="513449"/>
                  <a:pt x="237751" y="456778"/>
                </a:cubicBezTo>
                <a:cubicBezTo>
                  <a:pt x="237751" y="456778"/>
                  <a:pt x="230858" y="452677"/>
                  <a:pt x="225138" y="458388"/>
                </a:cubicBezTo>
                <a:cubicBezTo>
                  <a:pt x="193752" y="489726"/>
                  <a:pt x="99740" y="583593"/>
                  <a:pt x="99740" y="583593"/>
                </a:cubicBezTo>
                <a:cubicBezTo>
                  <a:pt x="74660" y="608634"/>
                  <a:pt x="39754" y="614638"/>
                  <a:pt x="17607" y="592379"/>
                </a:cubicBezTo>
                <a:lnTo>
                  <a:pt x="13794" y="588572"/>
                </a:lnTo>
                <a:cubicBezTo>
                  <a:pt x="-8499" y="566460"/>
                  <a:pt x="-2486" y="531608"/>
                  <a:pt x="22594" y="506567"/>
                </a:cubicBezTo>
                <a:cubicBezTo>
                  <a:pt x="22594" y="506567"/>
                  <a:pt x="116753" y="412407"/>
                  <a:pt x="148139" y="381069"/>
                </a:cubicBezTo>
                <a:cubicBezTo>
                  <a:pt x="153712" y="375651"/>
                  <a:pt x="149606" y="368768"/>
                  <a:pt x="149606" y="368768"/>
                </a:cubicBezTo>
                <a:cubicBezTo>
                  <a:pt x="92846" y="274316"/>
                  <a:pt x="105166" y="153358"/>
                  <a:pt x="186712" y="71938"/>
                </a:cubicBezTo>
                <a:cubicBezTo>
                  <a:pt x="234745" y="23980"/>
                  <a:pt x="297810" y="0"/>
                  <a:pt x="360876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5" name="validate-search_64702">
            <a:extLst>
              <a:ext uri="{FF2B5EF4-FFF2-40B4-BE49-F238E27FC236}">
                <a16:creationId xmlns:a16="http://schemas.microsoft.com/office/drawing/2014/main" id="{B1540C50-BCF3-440F-9C61-A9D6997C8039}"/>
              </a:ext>
            </a:extLst>
          </p:cNvPr>
          <p:cNvSpPr>
            <a:spLocks noChangeAspect="1"/>
          </p:cNvSpPr>
          <p:nvPr/>
        </p:nvSpPr>
        <p:spPr bwMode="auto">
          <a:xfrm>
            <a:off x="492601" y="2842436"/>
            <a:ext cx="609685" cy="543605"/>
          </a:xfrm>
          <a:custGeom>
            <a:avLst/>
            <a:gdLst>
              <a:gd name="connsiteX0" fmla="*/ 444103 w 607089"/>
              <a:gd name="connsiteY0" fmla="*/ 163584 h 606152"/>
              <a:gd name="connsiteX1" fmla="*/ 469914 w 607089"/>
              <a:gd name="connsiteY1" fmla="*/ 176766 h 606152"/>
              <a:gd name="connsiteX2" fmla="*/ 475193 w 607089"/>
              <a:gd name="connsiteY2" fmla="*/ 220412 h 606152"/>
              <a:gd name="connsiteX3" fmla="*/ 378258 w 607089"/>
              <a:gd name="connsiteY3" fmla="*/ 317225 h 606152"/>
              <a:gd name="connsiteX4" fmla="*/ 346435 w 607089"/>
              <a:gd name="connsiteY4" fmla="*/ 330260 h 606152"/>
              <a:gd name="connsiteX5" fmla="*/ 313879 w 607089"/>
              <a:gd name="connsiteY5" fmla="*/ 316492 h 606152"/>
              <a:gd name="connsiteX6" fmla="*/ 248913 w 607089"/>
              <a:gd name="connsiteY6" fmla="*/ 251755 h 606152"/>
              <a:gd name="connsiteX7" fmla="*/ 242021 w 607089"/>
              <a:gd name="connsiteY7" fmla="*/ 228760 h 606152"/>
              <a:gd name="connsiteX8" fmla="*/ 254926 w 607089"/>
              <a:gd name="connsiteY8" fmla="*/ 208695 h 606152"/>
              <a:gd name="connsiteX9" fmla="*/ 280883 w 607089"/>
              <a:gd name="connsiteY9" fmla="*/ 195074 h 606152"/>
              <a:gd name="connsiteX10" fmla="*/ 297894 w 607089"/>
              <a:gd name="connsiteY10" fmla="*/ 202836 h 606152"/>
              <a:gd name="connsiteX11" fmla="*/ 342036 w 607089"/>
              <a:gd name="connsiteY11" fmla="*/ 246922 h 606152"/>
              <a:gd name="connsiteX12" fmla="*/ 346435 w 607089"/>
              <a:gd name="connsiteY12" fmla="*/ 249705 h 606152"/>
              <a:gd name="connsiteX13" fmla="*/ 350541 w 607089"/>
              <a:gd name="connsiteY13" fmla="*/ 247068 h 606152"/>
              <a:gd name="connsiteX14" fmla="*/ 426212 w 607089"/>
              <a:gd name="connsiteY14" fmla="*/ 171493 h 606152"/>
              <a:gd name="connsiteX15" fmla="*/ 444103 w 607089"/>
              <a:gd name="connsiteY15" fmla="*/ 163584 h 606152"/>
              <a:gd name="connsiteX16" fmla="*/ 360877 w 607089"/>
              <a:gd name="connsiteY16" fmla="*/ 64177 h 606152"/>
              <a:gd name="connsiteX17" fmla="*/ 232178 w 607089"/>
              <a:gd name="connsiteY17" fmla="*/ 117334 h 606152"/>
              <a:gd name="connsiteX18" fmla="*/ 232178 w 607089"/>
              <a:gd name="connsiteY18" fmla="*/ 374333 h 606152"/>
              <a:gd name="connsiteX19" fmla="*/ 489575 w 607089"/>
              <a:gd name="connsiteY19" fmla="*/ 374333 h 606152"/>
              <a:gd name="connsiteX20" fmla="*/ 489575 w 607089"/>
              <a:gd name="connsiteY20" fmla="*/ 117334 h 606152"/>
              <a:gd name="connsiteX21" fmla="*/ 360877 w 607089"/>
              <a:gd name="connsiteY21" fmla="*/ 64177 h 606152"/>
              <a:gd name="connsiteX22" fmla="*/ 360876 w 607089"/>
              <a:gd name="connsiteY22" fmla="*/ 0 h 606152"/>
              <a:gd name="connsiteX23" fmla="*/ 535041 w 607089"/>
              <a:gd name="connsiteY23" fmla="*/ 71938 h 606152"/>
              <a:gd name="connsiteX24" fmla="*/ 535041 w 607089"/>
              <a:gd name="connsiteY24" fmla="*/ 419729 h 606152"/>
              <a:gd name="connsiteX25" fmla="*/ 237751 w 607089"/>
              <a:gd name="connsiteY25" fmla="*/ 456778 h 606152"/>
              <a:gd name="connsiteX26" fmla="*/ 225138 w 607089"/>
              <a:gd name="connsiteY26" fmla="*/ 458388 h 606152"/>
              <a:gd name="connsiteX27" fmla="*/ 99740 w 607089"/>
              <a:gd name="connsiteY27" fmla="*/ 583593 h 606152"/>
              <a:gd name="connsiteX28" fmla="*/ 17607 w 607089"/>
              <a:gd name="connsiteY28" fmla="*/ 592379 h 606152"/>
              <a:gd name="connsiteX29" fmla="*/ 13794 w 607089"/>
              <a:gd name="connsiteY29" fmla="*/ 588572 h 606152"/>
              <a:gd name="connsiteX30" fmla="*/ 22594 w 607089"/>
              <a:gd name="connsiteY30" fmla="*/ 506567 h 606152"/>
              <a:gd name="connsiteX31" fmla="*/ 148139 w 607089"/>
              <a:gd name="connsiteY31" fmla="*/ 381069 h 606152"/>
              <a:gd name="connsiteX32" fmla="*/ 149606 w 607089"/>
              <a:gd name="connsiteY32" fmla="*/ 368768 h 606152"/>
              <a:gd name="connsiteX33" fmla="*/ 186712 w 607089"/>
              <a:gd name="connsiteY33" fmla="*/ 71938 h 606152"/>
              <a:gd name="connsiteX34" fmla="*/ 360876 w 607089"/>
              <a:gd name="connsiteY34" fmla="*/ 0 h 6061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</a:cxnLst>
            <a:rect l="l" t="t" r="r" b="b"/>
            <a:pathLst>
              <a:path w="607089" h="606152">
                <a:moveTo>
                  <a:pt x="444103" y="163584"/>
                </a:moveTo>
                <a:cubicBezTo>
                  <a:pt x="452462" y="163584"/>
                  <a:pt x="461261" y="167978"/>
                  <a:pt x="469914" y="176766"/>
                </a:cubicBezTo>
                <a:cubicBezTo>
                  <a:pt x="485459" y="192291"/>
                  <a:pt x="487365" y="208256"/>
                  <a:pt x="475193" y="220412"/>
                </a:cubicBezTo>
                <a:lnTo>
                  <a:pt x="378258" y="317225"/>
                </a:lnTo>
                <a:cubicBezTo>
                  <a:pt x="369459" y="326013"/>
                  <a:pt x="359047" y="330260"/>
                  <a:pt x="346435" y="330260"/>
                </a:cubicBezTo>
                <a:cubicBezTo>
                  <a:pt x="337783" y="330260"/>
                  <a:pt x="325171" y="327917"/>
                  <a:pt x="313879" y="316492"/>
                </a:cubicBezTo>
                <a:lnTo>
                  <a:pt x="248913" y="251755"/>
                </a:lnTo>
                <a:cubicBezTo>
                  <a:pt x="242314" y="245018"/>
                  <a:pt x="239821" y="237109"/>
                  <a:pt x="242021" y="228760"/>
                </a:cubicBezTo>
                <a:cubicBezTo>
                  <a:pt x="243634" y="222463"/>
                  <a:pt x="247887" y="215872"/>
                  <a:pt x="254926" y="208695"/>
                </a:cubicBezTo>
                <a:cubicBezTo>
                  <a:pt x="264165" y="199614"/>
                  <a:pt x="272670" y="195074"/>
                  <a:pt x="280883" y="195074"/>
                </a:cubicBezTo>
                <a:cubicBezTo>
                  <a:pt x="287042" y="195074"/>
                  <a:pt x="292761" y="197710"/>
                  <a:pt x="297894" y="202836"/>
                </a:cubicBezTo>
                <a:cubicBezTo>
                  <a:pt x="298187" y="203129"/>
                  <a:pt x="326491" y="231397"/>
                  <a:pt x="342036" y="246922"/>
                </a:cubicBezTo>
                <a:cubicBezTo>
                  <a:pt x="343649" y="248533"/>
                  <a:pt x="344529" y="249705"/>
                  <a:pt x="346435" y="249705"/>
                </a:cubicBezTo>
                <a:cubicBezTo>
                  <a:pt x="348195" y="249705"/>
                  <a:pt x="349075" y="248533"/>
                  <a:pt x="350541" y="247068"/>
                </a:cubicBezTo>
                <a:cubicBezTo>
                  <a:pt x="376058" y="221584"/>
                  <a:pt x="425626" y="172079"/>
                  <a:pt x="426212" y="171493"/>
                </a:cubicBezTo>
                <a:cubicBezTo>
                  <a:pt x="431492" y="166220"/>
                  <a:pt x="437504" y="163584"/>
                  <a:pt x="444103" y="163584"/>
                </a:cubicBezTo>
                <a:close/>
                <a:moveTo>
                  <a:pt x="360877" y="64177"/>
                </a:moveTo>
                <a:cubicBezTo>
                  <a:pt x="314274" y="64177"/>
                  <a:pt x="267671" y="81896"/>
                  <a:pt x="232178" y="117334"/>
                </a:cubicBezTo>
                <a:cubicBezTo>
                  <a:pt x="161192" y="188210"/>
                  <a:pt x="161192" y="303457"/>
                  <a:pt x="232178" y="374333"/>
                </a:cubicBezTo>
                <a:cubicBezTo>
                  <a:pt x="303164" y="445209"/>
                  <a:pt x="418589" y="445209"/>
                  <a:pt x="489575" y="374333"/>
                </a:cubicBezTo>
                <a:cubicBezTo>
                  <a:pt x="560560" y="303457"/>
                  <a:pt x="560560" y="188210"/>
                  <a:pt x="489575" y="117334"/>
                </a:cubicBezTo>
                <a:cubicBezTo>
                  <a:pt x="454082" y="81896"/>
                  <a:pt x="407479" y="64177"/>
                  <a:pt x="360877" y="64177"/>
                </a:cubicBezTo>
                <a:close/>
                <a:moveTo>
                  <a:pt x="360876" y="0"/>
                </a:moveTo>
                <a:cubicBezTo>
                  <a:pt x="423942" y="0"/>
                  <a:pt x="487008" y="23980"/>
                  <a:pt x="535041" y="71938"/>
                </a:cubicBezTo>
                <a:cubicBezTo>
                  <a:pt x="631106" y="167855"/>
                  <a:pt x="631106" y="323812"/>
                  <a:pt x="535041" y="419729"/>
                </a:cubicBezTo>
                <a:cubicBezTo>
                  <a:pt x="453495" y="501148"/>
                  <a:pt x="332350" y="513449"/>
                  <a:pt x="237751" y="456778"/>
                </a:cubicBezTo>
                <a:cubicBezTo>
                  <a:pt x="237751" y="456778"/>
                  <a:pt x="230858" y="452677"/>
                  <a:pt x="225138" y="458388"/>
                </a:cubicBezTo>
                <a:cubicBezTo>
                  <a:pt x="193752" y="489726"/>
                  <a:pt x="99740" y="583593"/>
                  <a:pt x="99740" y="583593"/>
                </a:cubicBezTo>
                <a:cubicBezTo>
                  <a:pt x="74660" y="608634"/>
                  <a:pt x="39754" y="614638"/>
                  <a:pt x="17607" y="592379"/>
                </a:cubicBezTo>
                <a:lnTo>
                  <a:pt x="13794" y="588572"/>
                </a:lnTo>
                <a:cubicBezTo>
                  <a:pt x="-8499" y="566460"/>
                  <a:pt x="-2486" y="531608"/>
                  <a:pt x="22594" y="506567"/>
                </a:cubicBezTo>
                <a:cubicBezTo>
                  <a:pt x="22594" y="506567"/>
                  <a:pt x="116753" y="412407"/>
                  <a:pt x="148139" y="381069"/>
                </a:cubicBezTo>
                <a:cubicBezTo>
                  <a:pt x="153712" y="375651"/>
                  <a:pt x="149606" y="368768"/>
                  <a:pt x="149606" y="368768"/>
                </a:cubicBezTo>
                <a:cubicBezTo>
                  <a:pt x="92846" y="274316"/>
                  <a:pt x="105166" y="153358"/>
                  <a:pt x="186712" y="71938"/>
                </a:cubicBezTo>
                <a:cubicBezTo>
                  <a:pt x="234745" y="23980"/>
                  <a:pt x="297810" y="0"/>
                  <a:pt x="360876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6" name="validate-search_64702">
            <a:extLst>
              <a:ext uri="{FF2B5EF4-FFF2-40B4-BE49-F238E27FC236}">
                <a16:creationId xmlns:a16="http://schemas.microsoft.com/office/drawing/2014/main" id="{0797433E-648B-4BE6-A28A-90721397CCEE}"/>
              </a:ext>
            </a:extLst>
          </p:cNvPr>
          <p:cNvSpPr>
            <a:spLocks noChangeAspect="1"/>
          </p:cNvSpPr>
          <p:nvPr/>
        </p:nvSpPr>
        <p:spPr bwMode="auto">
          <a:xfrm>
            <a:off x="503232" y="3969487"/>
            <a:ext cx="609685" cy="543605"/>
          </a:xfrm>
          <a:custGeom>
            <a:avLst/>
            <a:gdLst>
              <a:gd name="connsiteX0" fmla="*/ 444103 w 607089"/>
              <a:gd name="connsiteY0" fmla="*/ 163584 h 606152"/>
              <a:gd name="connsiteX1" fmla="*/ 469914 w 607089"/>
              <a:gd name="connsiteY1" fmla="*/ 176766 h 606152"/>
              <a:gd name="connsiteX2" fmla="*/ 475193 w 607089"/>
              <a:gd name="connsiteY2" fmla="*/ 220412 h 606152"/>
              <a:gd name="connsiteX3" fmla="*/ 378258 w 607089"/>
              <a:gd name="connsiteY3" fmla="*/ 317225 h 606152"/>
              <a:gd name="connsiteX4" fmla="*/ 346435 w 607089"/>
              <a:gd name="connsiteY4" fmla="*/ 330260 h 606152"/>
              <a:gd name="connsiteX5" fmla="*/ 313879 w 607089"/>
              <a:gd name="connsiteY5" fmla="*/ 316492 h 606152"/>
              <a:gd name="connsiteX6" fmla="*/ 248913 w 607089"/>
              <a:gd name="connsiteY6" fmla="*/ 251755 h 606152"/>
              <a:gd name="connsiteX7" fmla="*/ 242021 w 607089"/>
              <a:gd name="connsiteY7" fmla="*/ 228760 h 606152"/>
              <a:gd name="connsiteX8" fmla="*/ 254926 w 607089"/>
              <a:gd name="connsiteY8" fmla="*/ 208695 h 606152"/>
              <a:gd name="connsiteX9" fmla="*/ 280883 w 607089"/>
              <a:gd name="connsiteY9" fmla="*/ 195074 h 606152"/>
              <a:gd name="connsiteX10" fmla="*/ 297894 w 607089"/>
              <a:gd name="connsiteY10" fmla="*/ 202836 h 606152"/>
              <a:gd name="connsiteX11" fmla="*/ 342036 w 607089"/>
              <a:gd name="connsiteY11" fmla="*/ 246922 h 606152"/>
              <a:gd name="connsiteX12" fmla="*/ 346435 w 607089"/>
              <a:gd name="connsiteY12" fmla="*/ 249705 h 606152"/>
              <a:gd name="connsiteX13" fmla="*/ 350541 w 607089"/>
              <a:gd name="connsiteY13" fmla="*/ 247068 h 606152"/>
              <a:gd name="connsiteX14" fmla="*/ 426212 w 607089"/>
              <a:gd name="connsiteY14" fmla="*/ 171493 h 606152"/>
              <a:gd name="connsiteX15" fmla="*/ 444103 w 607089"/>
              <a:gd name="connsiteY15" fmla="*/ 163584 h 606152"/>
              <a:gd name="connsiteX16" fmla="*/ 360877 w 607089"/>
              <a:gd name="connsiteY16" fmla="*/ 64177 h 606152"/>
              <a:gd name="connsiteX17" fmla="*/ 232178 w 607089"/>
              <a:gd name="connsiteY17" fmla="*/ 117334 h 606152"/>
              <a:gd name="connsiteX18" fmla="*/ 232178 w 607089"/>
              <a:gd name="connsiteY18" fmla="*/ 374333 h 606152"/>
              <a:gd name="connsiteX19" fmla="*/ 489575 w 607089"/>
              <a:gd name="connsiteY19" fmla="*/ 374333 h 606152"/>
              <a:gd name="connsiteX20" fmla="*/ 489575 w 607089"/>
              <a:gd name="connsiteY20" fmla="*/ 117334 h 606152"/>
              <a:gd name="connsiteX21" fmla="*/ 360877 w 607089"/>
              <a:gd name="connsiteY21" fmla="*/ 64177 h 606152"/>
              <a:gd name="connsiteX22" fmla="*/ 360876 w 607089"/>
              <a:gd name="connsiteY22" fmla="*/ 0 h 606152"/>
              <a:gd name="connsiteX23" fmla="*/ 535041 w 607089"/>
              <a:gd name="connsiteY23" fmla="*/ 71938 h 606152"/>
              <a:gd name="connsiteX24" fmla="*/ 535041 w 607089"/>
              <a:gd name="connsiteY24" fmla="*/ 419729 h 606152"/>
              <a:gd name="connsiteX25" fmla="*/ 237751 w 607089"/>
              <a:gd name="connsiteY25" fmla="*/ 456778 h 606152"/>
              <a:gd name="connsiteX26" fmla="*/ 225138 w 607089"/>
              <a:gd name="connsiteY26" fmla="*/ 458388 h 606152"/>
              <a:gd name="connsiteX27" fmla="*/ 99740 w 607089"/>
              <a:gd name="connsiteY27" fmla="*/ 583593 h 606152"/>
              <a:gd name="connsiteX28" fmla="*/ 17607 w 607089"/>
              <a:gd name="connsiteY28" fmla="*/ 592379 h 606152"/>
              <a:gd name="connsiteX29" fmla="*/ 13794 w 607089"/>
              <a:gd name="connsiteY29" fmla="*/ 588572 h 606152"/>
              <a:gd name="connsiteX30" fmla="*/ 22594 w 607089"/>
              <a:gd name="connsiteY30" fmla="*/ 506567 h 606152"/>
              <a:gd name="connsiteX31" fmla="*/ 148139 w 607089"/>
              <a:gd name="connsiteY31" fmla="*/ 381069 h 606152"/>
              <a:gd name="connsiteX32" fmla="*/ 149606 w 607089"/>
              <a:gd name="connsiteY32" fmla="*/ 368768 h 606152"/>
              <a:gd name="connsiteX33" fmla="*/ 186712 w 607089"/>
              <a:gd name="connsiteY33" fmla="*/ 71938 h 606152"/>
              <a:gd name="connsiteX34" fmla="*/ 360876 w 607089"/>
              <a:gd name="connsiteY34" fmla="*/ 0 h 6061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</a:cxnLst>
            <a:rect l="l" t="t" r="r" b="b"/>
            <a:pathLst>
              <a:path w="607089" h="606152">
                <a:moveTo>
                  <a:pt x="444103" y="163584"/>
                </a:moveTo>
                <a:cubicBezTo>
                  <a:pt x="452462" y="163584"/>
                  <a:pt x="461261" y="167978"/>
                  <a:pt x="469914" y="176766"/>
                </a:cubicBezTo>
                <a:cubicBezTo>
                  <a:pt x="485459" y="192291"/>
                  <a:pt x="487365" y="208256"/>
                  <a:pt x="475193" y="220412"/>
                </a:cubicBezTo>
                <a:lnTo>
                  <a:pt x="378258" y="317225"/>
                </a:lnTo>
                <a:cubicBezTo>
                  <a:pt x="369459" y="326013"/>
                  <a:pt x="359047" y="330260"/>
                  <a:pt x="346435" y="330260"/>
                </a:cubicBezTo>
                <a:cubicBezTo>
                  <a:pt x="337783" y="330260"/>
                  <a:pt x="325171" y="327917"/>
                  <a:pt x="313879" y="316492"/>
                </a:cubicBezTo>
                <a:lnTo>
                  <a:pt x="248913" y="251755"/>
                </a:lnTo>
                <a:cubicBezTo>
                  <a:pt x="242314" y="245018"/>
                  <a:pt x="239821" y="237109"/>
                  <a:pt x="242021" y="228760"/>
                </a:cubicBezTo>
                <a:cubicBezTo>
                  <a:pt x="243634" y="222463"/>
                  <a:pt x="247887" y="215872"/>
                  <a:pt x="254926" y="208695"/>
                </a:cubicBezTo>
                <a:cubicBezTo>
                  <a:pt x="264165" y="199614"/>
                  <a:pt x="272670" y="195074"/>
                  <a:pt x="280883" y="195074"/>
                </a:cubicBezTo>
                <a:cubicBezTo>
                  <a:pt x="287042" y="195074"/>
                  <a:pt x="292761" y="197710"/>
                  <a:pt x="297894" y="202836"/>
                </a:cubicBezTo>
                <a:cubicBezTo>
                  <a:pt x="298187" y="203129"/>
                  <a:pt x="326491" y="231397"/>
                  <a:pt x="342036" y="246922"/>
                </a:cubicBezTo>
                <a:cubicBezTo>
                  <a:pt x="343649" y="248533"/>
                  <a:pt x="344529" y="249705"/>
                  <a:pt x="346435" y="249705"/>
                </a:cubicBezTo>
                <a:cubicBezTo>
                  <a:pt x="348195" y="249705"/>
                  <a:pt x="349075" y="248533"/>
                  <a:pt x="350541" y="247068"/>
                </a:cubicBezTo>
                <a:cubicBezTo>
                  <a:pt x="376058" y="221584"/>
                  <a:pt x="425626" y="172079"/>
                  <a:pt x="426212" y="171493"/>
                </a:cubicBezTo>
                <a:cubicBezTo>
                  <a:pt x="431492" y="166220"/>
                  <a:pt x="437504" y="163584"/>
                  <a:pt x="444103" y="163584"/>
                </a:cubicBezTo>
                <a:close/>
                <a:moveTo>
                  <a:pt x="360877" y="64177"/>
                </a:moveTo>
                <a:cubicBezTo>
                  <a:pt x="314274" y="64177"/>
                  <a:pt x="267671" y="81896"/>
                  <a:pt x="232178" y="117334"/>
                </a:cubicBezTo>
                <a:cubicBezTo>
                  <a:pt x="161192" y="188210"/>
                  <a:pt x="161192" y="303457"/>
                  <a:pt x="232178" y="374333"/>
                </a:cubicBezTo>
                <a:cubicBezTo>
                  <a:pt x="303164" y="445209"/>
                  <a:pt x="418589" y="445209"/>
                  <a:pt x="489575" y="374333"/>
                </a:cubicBezTo>
                <a:cubicBezTo>
                  <a:pt x="560560" y="303457"/>
                  <a:pt x="560560" y="188210"/>
                  <a:pt x="489575" y="117334"/>
                </a:cubicBezTo>
                <a:cubicBezTo>
                  <a:pt x="454082" y="81896"/>
                  <a:pt x="407479" y="64177"/>
                  <a:pt x="360877" y="64177"/>
                </a:cubicBezTo>
                <a:close/>
                <a:moveTo>
                  <a:pt x="360876" y="0"/>
                </a:moveTo>
                <a:cubicBezTo>
                  <a:pt x="423942" y="0"/>
                  <a:pt x="487008" y="23980"/>
                  <a:pt x="535041" y="71938"/>
                </a:cubicBezTo>
                <a:cubicBezTo>
                  <a:pt x="631106" y="167855"/>
                  <a:pt x="631106" y="323812"/>
                  <a:pt x="535041" y="419729"/>
                </a:cubicBezTo>
                <a:cubicBezTo>
                  <a:pt x="453495" y="501148"/>
                  <a:pt x="332350" y="513449"/>
                  <a:pt x="237751" y="456778"/>
                </a:cubicBezTo>
                <a:cubicBezTo>
                  <a:pt x="237751" y="456778"/>
                  <a:pt x="230858" y="452677"/>
                  <a:pt x="225138" y="458388"/>
                </a:cubicBezTo>
                <a:cubicBezTo>
                  <a:pt x="193752" y="489726"/>
                  <a:pt x="99740" y="583593"/>
                  <a:pt x="99740" y="583593"/>
                </a:cubicBezTo>
                <a:cubicBezTo>
                  <a:pt x="74660" y="608634"/>
                  <a:pt x="39754" y="614638"/>
                  <a:pt x="17607" y="592379"/>
                </a:cubicBezTo>
                <a:lnTo>
                  <a:pt x="13794" y="588572"/>
                </a:lnTo>
                <a:cubicBezTo>
                  <a:pt x="-8499" y="566460"/>
                  <a:pt x="-2486" y="531608"/>
                  <a:pt x="22594" y="506567"/>
                </a:cubicBezTo>
                <a:cubicBezTo>
                  <a:pt x="22594" y="506567"/>
                  <a:pt x="116753" y="412407"/>
                  <a:pt x="148139" y="381069"/>
                </a:cubicBezTo>
                <a:cubicBezTo>
                  <a:pt x="153712" y="375651"/>
                  <a:pt x="149606" y="368768"/>
                  <a:pt x="149606" y="368768"/>
                </a:cubicBezTo>
                <a:cubicBezTo>
                  <a:pt x="92846" y="274316"/>
                  <a:pt x="105166" y="153358"/>
                  <a:pt x="186712" y="71938"/>
                </a:cubicBezTo>
                <a:cubicBezTo>
                  <a:pt x="234745" y="23980"/>
                  <a:pt x="297810" y="0"/>
                  <a:pt x="360876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pic>
        <p:nvPicPr>
          <p:cNvPr id="7" name="图片 6">
            <a:extLst>
              <a:ext uri="{FF2B5EF4-FFF2-40B4-BE49-F238E27FC236}">
                <a16:creationId xmlns:a16="http://schemas.microsoft.com/office/drawing/2014/main" id="{D0C4ED16-AD01-412A-A94F-C4DCC1FE5C8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767209" y="233913"/>
            <a:ext cx="4398597" cy="6483349"/>
          </a:xfrm>
          <a:prstGeom prst="rect">
            <a:avLst/>
          </a:prstGeom>
        </p:spPr>
      </p:pic>
      <p:pic>
        <p:nvPicPr>
          <p:cNvPr id="8" name="图片 7">
            <a:extLst>
              <a:ext uri="{FF2B5EF4-FFF2-40B4-BE49-F238E27FC236}">
                <a16:creationId xmlns:a16="http://schemas.microsoft.com/office/drawing/2014/main" id="{BB6A07D4-C706-424D-9524-7320B8CD07F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82437" y="329609"/>
            <a:ext cx="4390904" cy="6356466"/>
          </a:xfrm>
          <a:prstGeom prst="rect">
            <a:avLst/>
          </a:prstGeom>
        </p:spPr>
      </p:pic>
      <p:pic>
        <p:nvPicPr>
          <p:cNvPr id="9" name="图片 8">
            <a:extLst>
              <a:ext uri="{FF2B5EF4-FFF2-40B4-BE49-F238E27FC236}">
                <a16:creationId xmlns:a16="http://schemas.microsoft.com/office/drawing/2014/main" id="{18276E1A-581A-4FE7-AC8B-BACF795261A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787960" y="318975"/>
            <a:ext cx="4365056" cy="6404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228960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框 2">
            <a:extLst>
              <a:ext uri="{FF2B5EF4-FFF2-40B4-BE49-F238E27FC236}">
                <a16:creationId xmlns:a16="http://schemas.microsoft.com/office/drawing/2014/main" id="{9B60BF93-EA8A-46AD-9628-FAD9C828F3E8}"/>
              </a:ext>
            </a:extLst>
          </p:cNvPr>
          <p:cNvSpPr txBox="1"/>
          <p:nvPr/>
        </p:nvSpPr>
        <p:spPr>
          <a:xfrm>
            <a:off x="669925" y="422414"/>
            <a:ext cx="5454503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4000" b="1" dirty="0"/>
              <a:t>常见护理诊断</a:t>
            </a:r>
            <a:r>
              <a:rPr lang="en-US" altLang="zh-CN" sz="4000" b="1" dirty="0"/>
              <a:t>/</a:t>
            </a:r>
            <a:r>
              <a:rPr lang="zh-CN" altLang="en-US" sz="4000" b="1" dirty="0"/>
              <a:t>问题</a:t>
            </a:r>
          </a:p>
        </p:txBody>
      </p:sp>
      <p:grpSp>
        <p:nvGrpSpPr>
          <p:cNvPr id="4" name="4193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DCD429F1-F0B8-44E5-AE0E-766A5A8AE772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1392865" y="1459909"/>
            <a:ext cx="9675625" cy="5016500"/>
            <a:chOff x="1396036" y="1130300"/>
            <a:chExt cx="9675625" cy="5016500"/>
          </a:xfrm>
        </p:grpSpPr>
        <p:cxnSp>
          <p:nvCxnSpPr>
            <p:cNvPr id="5" name="直接连接符 4">
              <a:extLst>
                <a:ext uri="{FF2B5EF4-FFF2-40B4-BE49-F238E27FC236}">
                  <a16:creationId xmlns:a16="http://schemas.microsoft.com/office/drawing/2014/main" id="{6A63AA5E-DD3E-42FA-B0A2-7E156DE06169}"/>
                </a:ext>
              </a:extLst>
            </p:cNvPr>
            <p:cNvCxnSpPr/>
            <p:nvPr/>
          </p:nvCxnSpPr>
          <p:spPr>
            <a:xfrm>
              <a:off x="6096000" y="1130300"/>
              <a:ext cx="0" cy="5016500"/>
            </a:xfrm>
            <a:prstGeom prst="line">
              <a:avLst/>
            </a:prstGeom>
            <a:ln w="19050" cap="rnd">
              <a:solidFill>
                <a:schemeClr val="bg1">
                  <a:lumMod val="75000"/>
                </a:schemeClr>
              </a:solidFill>
              <a:round/>
              <a:headEnd type="oval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" name="iṥḻïďe">
              <a:extLst>
                <a:ext uri="{FF2B5EF4-FFF2-40B4-BE49-F238E27FC236}">
                  <a16:creationId xmlns:a16="http://schemas.microsoft.com/office/drawing/2014/main" id="{4B8BA884-D235-4EF1-AB80-700FBF6E793D}"/>
                </a:ext>
              </a:extLst>
            </p:cNvPr>
            <p:cNvSpPr/>
            <p:nvPr/>
          </p:nvSpPr>
          <p:spPr bwMode="auto">
            <a:xfrm>
              <a:off x="1396040" y="1222743"/>
              <a:ext cx="4699961" cy="850605"/>
            </a:xfrm>
            <a:custGeom>
              <a:avLst/>
              <a:gdLst>
                <a:gd name="T0" fmla="*/ 3799 w 3804"/>
                <a:gd name="T1" fmla="*/ 0 h 1355"/>
                <a:gd name="T2" fmla="*/ 372 w 3804"/>
                <a:gd name="T3" fmla="*/ 0 h 1355"/>
                <a:gd name="T4" fmla="*/ 0 w 3804"/>
                <a:gd name="T5" fmla="*/ 679 h 1355"/>
                <a:gd name="T6" fmla="*/ 372 w 3804"/>
                <a:gd name="T7" fmla="*/ 1355 h 1355"/>
                <a:gd name="T8" fmla="*/ 3804 w 3804"/>
                <a:gd name="T9" fmla="*/ 1355 h 1355"/>
                <a:gd name="T10" fmla="*/ 3799 w 3804"/>
                <a:gd name="T11" fmla="*/ 0 h 13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804" h="1355">
                  <a:moveTo>
                    <a:pt x="3799" y="0"/>
                  </a:moveTo>
                  <a:lnTo>
                    <a:pt x="372" y="0"/>
                  </a:lnTo>
                  <a:lnTo>
                    <a:pt x="0" y="679"/>
                  </a:lnTo>
                  <a:lnTo>
                    <a:pt x="372" y="1355"/>
                  </a:lnTo>
                  <a:lnTo>
                    <a:pt x="3804" y="1355"/>
                  </a:lnTo>
                  <a:lnTo>
                    <a:pt x="3799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anchor="ctr" anchorCtr="0" compatLnSpc="1">
              <a:normAutofit/>
            </a:bodyPr>
            <a:lstStyle/>
            <a:p>
              <a:pPr algn="ctr"/>
              <a:r>
                <a:rPr lang="zh-CN" altLang="en-US" sz="3600" b="1" dirty="0">
                  <a:solidFill>
                    <a:schemeClr val="bg1"/>
                  </a:solidFill>
                </a:rPr>
                <a:t>焦 虑</a:t>
              </a:r>
            </a:p>
          </p:txBody>
        </p:sp>
        <p:sp>
          <p:nvSpPr>
            <p:cNvPr id="8" name="îSlíḓê">
              <a:extLst>
                <a:ext uri="{FF2B5EF4-FFF2-40B4-BE49-F238E27FC236}">
                  <a16:creationId xmlns:a16="http://schemas.microsoft.com/office/drawing/2014/main" id="{AD144F58-5432-45A0-B1C7-66250A95ED56}"/>
                </a:ext>
              </a:extLst>
            </p:cNvPr>
            <p:cNvSpPr/>
            <p:nvPr/>
          </p:nvSpPr>
          <p:spPr bwMode="auto">
            <a:xfrm flipH="1">
              <a:off x="6095996" y="2009554"/>
              <a:ext cx="4975665" cy="839971"/>
            </a:xfrm>
            <a:custGeom>
              <a:avLst/>
              <a:gdLst>
                <a:gd name="T0" fmla="*/ 3799 w 3804"/>
                <a:gd name="T1" fmla="*/ 0 h 1355"/>
                <a:gd name="T2" fmla="*/ 372 w 3804"/>
                <a:gd name="T3" fmla="*/ 0 h 1355"/>
                <a:gd name="T4" fmla="*/ 0 w 3804"/>
                <a:gd name="T5" fmla="*/ 679 h 1355"/>
                <a:gd name="T6" fmla="*/ 372 w 3804"/>
                <a:gd name="T7" fmla="*/ 1355 h 1355"/>
                <a:gd name="T8" fmla="*/ 3804 w 3804"/>
                <a:gd name="T9" fmla="*/ 1355 h 1355"/>
                <a:gd name="T10" fmla="*/ 3799 w 3804"/>
                <a:gd name="T11" fmla="*/ 0 h 13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804" h="1355">
                  <a:moveTo>
                    <a:pt x="3799" y="0"/>
                  </a:moveTo>
                  <a:lnTo>
                    <a:pt x="372" y="0"/>
                  </a:lnTo>
                  <a:lnTo>
                    <a:pt x="0" y="679"/>
                  </a:lnTo>
                  <a:lnTo>
                    <a:pt x="372" y="1355"/>
                  </a:lnTo>
                  <a:lnTo>
                    <a:pt x="3804" y="1355"/>
                  </a:lnTo>
                  <a:lnTo>
                    <a:pt x="3799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anchor="ctr" anchorCtr="0" compatLnSpc="1">
              <a:normAutofit/>
            </a:bodyPr>
            <a:lstStyle/>
            <a:p>
              <a:pPr algn="ctr"/>
              <a:r>
                <a:rPr lang="zh-CN" altLang="en-US" sz="3600" b="1" dirty="0"/>
                <a:t>知识缺乏</a:t>
              </a:r>
            </a:p>
          </p:txBody>
        </p:sp>
        <p:sp>
          <p:nvSpPr>
            <p:cNvPr id="10" name="î$ḻíďè">
              <a:extLst>
                <a:ext uri="{FF2B5EF4-FFF2-40B4-BE49-F238E27FC236}">
                  <a16:creationId xmlns:a16="http://schemas.microsoft.com/office/drawing/2014/main" id="{29DA1067-6BE7-4A88-8EA7-D5A204090A28}"/>
                </a:ext>
              </a:extLst>
            </p:cNvPr>
            <p:cNvSpPr/>
            <p:nvPr/>
          </p:nvSpPr>
          <p:spPr bwMode="auto">
            <a:xfrm>
              <a:off x="1396038" y="2839862"/>
              <a:ext cx="4699961" cy="849636"/>
            </a:xfrm>
            <a:custGeom>
              <a:avLst/>
              <a:gdLst>
                <a:gd name="T0" fmla="*/ 3799 w 3804"/>
                <a:gd name="T1" fmla="*/ 0 h 1355"/>
                <a:gd name="T2" fmla="*/ 372 w 3804"/>
                <a:gd name="T3" fmla="*/ 0 h 1355"/>
                <a:gd name="T4" fmla="*/ 0 w 3804"/>
                <a:gd name="T5" fmla="*/ 679 h 1355"/>
                <a:gd name="T6" fmla="*/ 372 w 3804"/>
                <a:gd name="T7" fmla="*/ 1355 h 1355"/>
                <a:gd name="T8" fmla="*/ 3804 w 3804"/>
                <a:gd name="T9" fmla="*/ 1355 h 1355"/>
                <a:gd name="T10" fmla="*/ 3799 w 3804"/>
                <a:gd name="T11" fmla="*/ 0 h 13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804" h="1355">
                  <a:moveTo>
                    <a:pt x="3799" y="0"/>
                  </a:moveTo>
                  <a:lnTo>
                    <a:pt x="372" y="0"/>
                  </a:lnTo>
                  <a:lnTo>
                    <a:pt x="0" y="679"/>
                  </a:lnTo>
                  <a:lnTo>
                    <a:pt x="372" y="1355"/>
                  </a:lnTo>
                  <a:lnTo>
                    <a:pt x="3804" y="1355"/>
                  </a:lnTo>
                  <a:lnTo>
                    <a:pt x="3799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anchor="ctr" anchorCtr="0" compatLnSpc="1">
              <a:normAutofit/>
            </a:bodyPr>
            <a:lstStyle/>
            <a:p>
              <a:pPr algn="ctr"/>
              <a:r>
                <a:rPr lang="zh-CN" altLang="en-US" sz="4000" b="1" dirty="0"/>
                <a:t>营养失调</a:t>
              </a:r>
            </a:p>
          </p:txBody>
        </p:sp>
        <p:sp>
          <p:nvSpPr>
            <p:cNvPr id="12" name="iŝḷïdè">
              <a:extLst>
                <a:ext uri="{FF2B5EF4-FFF2-40B4-BE49-F238E27FC236}">
                  <a16:creationId xmlns:a16="http://schemas.microsoft.com/office/drawing/2014/main" id="{A7F81581-B5BF-4FC6-A35E-9CBA5D0E5CA2}"/>
                </a:ext>
              </a:extLst>
            </p:cNvPr>
            <p:cNvSpPr/>
            <p:nvPr/>
          </p:nvSpPr>
          <p:spPr bwMode="auto">
            <a:xfrm flipH="1">
              <a:off x="6095994" y="3626672"/>
              <a:ext cx="4975665" cy="839971"/>
            </a:xfrm>
            <a:custGeom>
              <a:avLst/>
              <a:gdLst>
                <a:gd name="T0" fmla="*/ 3799 w 3804"/>
                <a:gd name="T1" fmla="*/ 0 h 1355"/>
                <a:gd name="T2" fmla="*/ 372 w 3804"/>
                <a:gd name="T3" fmla="*/ 0 h 1355"/>
                <a:gd name="T4" fmla="*/ 0 w 3804"/>
                <a:gd name="T5" fmla="*/ 679 h 1355"/>
                <a:gd name="T6" fmla="*/ 372 w 3804"/>
                <a:gd name="T7" fmla="*/ 1355 h 1355"/>
                <a:gd name="T8" fmla="*/ 3804 w 3804"/>
                <a:gd name="T9" fmla="*/ 1355 h 1355"/>
                <a:gd name="T10" fmla="*/ 3799 w 3804"/>
                <a:gd name="T11" fmla="*/ 0 h 13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804" h="1355">
                  <a:moveTo>
                    <a:pt x="3799" y="0"/>
                  </a:moveTo>
                  <a:lnTo>
                    <a:pt x="372" y="0"/>
                  </a:lnTo>
                  <a:lnTo>
                    <a:pt x="0" y="679"/>
                  </a:lnTo>
                  <a:lnTo>
                    <a:pt x="372" y="1355"/>
                  </a:lnTo>
                  <a:lnTo>
                    <a:pt x="3804" y="1355"/>
                  </a:lnTo>
                  <a:lnTo>
                    <a:pt x="3799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anchor="ctr" anchorCtr="0" compatLnSpc="1">
              <a:normAutofit fontScale="92500"/>
            </a:bodyPr>
            <a:lstStyle/>
            <a:p>
              <a:pPr algn="ctr"/>
              <a:r>
                <a:rPr lang="zh-CN" altLang="en-US" sz="3600" b="1" dirty="0">
                  <a:solidFill>
                    <a:schemeClr val="bg1"/>
                  </a:solidFill>
                </a:rPr>
                <a:t>有皮肤完整性受损的危险</a:t>
              </a:r>
            </a:p>
          </p:txBody>
        </p:sp>
        <p:sp>
          <p:nvSpPr>
            <p:cNvPr id="14" name="işļidè">
              <a:extLst>
                <a:ext uri="{FF2B5EF4-FFF2-40B4-BE49-F238E27FC236}">
                  <a16:creationId xmlns:a16="http://schemas.microsoft.com/office/drawing/2014/main" id="{4FBF3E32-0E5D-4266-A302-FDA5D630E08E}"/>
                </a:ext>
              </a:extLst>
            </p:cNvPr>
            <p:cNvSpPr/>
            <p:nvPr/>
          </p:nvSpPr>
          <p:spPr bwMode="auto">
            <a:xfrm>
              <a:off x="1396036" y="4456979"/>
              <a:ext cx="4699961" cy="923095"/>
            </a:xfrm>
            <a:custGeom>
              <a:avLst/>
              <a:gdLst>
                <a:gd name="T0" fmla="*/ 3799 w 3804"/>
                <a:gd name="T1" fmla="*/ 0 h 1355"/>
                <a:gd name="T2" fmla="*/ 372 w 3804"/>
                <a:gd name="T3" fmla="*/ 0 h 1355"/>
                <a:gd name="T4" fmla="*/ 0 w 3804"/>
                <a:gd name="T5" fmla="*/ 679 h 1355"/>
                <a:gd name="T6" fmla="*/ 372 w 3804"/>
                <a:gd name="T7" fmla="*/ 1355 h 1355"/>
                <a:gd name="T8" fmla="*/ 3804 w 3804"/>
                <a:gd name="T9" fmla="*/ 1355 h 1355"/>
                <a:gd name="T10" fmla="*/ 3799 w 3804"/>
                <a:gd name="T11" fmla="*/ 0 h 13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804" h="1355">
                  <a:moveTo>
                    <a:pt x="3799" y="0"/>
                  </a:moveTo>
                  <a:lnTo>
                    <a:pt x="372" y="0"/>
                  </a:lnTo>
                  <a:lnTo>
                    <a:pt x="0" y="679"/>
                  </a:lnTo>
                  <a:lnTo>
                    <a:pt x="372" y="1355"/>
                  </a:lnTo>
                  <a:lnTo>
                    <a:pt x="3804" y="1355"/>
                  </a:lnTo>
                  <a:lnTo>
                    <a:pt x="3799" y="0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anchor="ctr" anchorCtr="0" compatLnSpc="1">
              <a:normAutofit/>
            </a:bodyPr>
            <a:lstStyle/>
            <a:p>
              <a:pPr algn="ctr"/>
              <a:r>
                <a:rPr lang="zh-CN" altLang="en-US" sz="3600" b="1" dirty="0">
                  <a:solidFill>
                    <a:schemeClr val="bg1"/>
                  </a:solidFill>
                </a:rPr>
                <a:t>自我形象紊乱</a:t>
              </a:r>
            </a:p>
          </p:txBody>
        </p:sp>
        <p:sp>
          <p:nvSpPr>
            <p:cNvPr id="16" name="iṣ1íḓe">
              <a:extLst>
                <a:ext uri="{FF2B5EF4-FFF2-40B4-BE49-F238E27FC236}">
                  <a16:creationId xmlns:a16="http://schemas.microsoft.com/office/drawing/2014/main" id="{D761B9F8-5BEC-4D0A-A9D1-3CE55DC5437B}"/>
                </a:ext>
              </a:extLst>
            </p:cNvPr>
            <p:cNvSpPr/>
            <p:nvPr/>
          </p:nvSpPr>
          <p:spPr bwMode="auto">
            <a:xfrm flipH="1">
              <a:off x="6095992" y="5243789"/>
              <a:ext cx="4975665" cy="839971"/>
            </a:xfrm>
            <a:custGeom>
              <a:avLst/>
              <a:gdLst>
                <a:gd name="T0" fmla="*/ 3799 w 3804"/>
                <a:gd name="T1" fmla="*/ 0 h 1355"/>
                <a:gd name="T2" fmla="*/ 372 w 3804"/>
                <a:gd name="T3" fmla="*/ 0 h 1355"/>
                <a:gd name="T4" fmla="*/ 0 w 3804"/>
                <a:gd name="T5" fmla="*/ 679 h 1355"/>
                <a:gd name="T6" fmla="*/ 372 w 3804"/>
                <a:gd name="T7" fmla="*/ 1355 h 1355"/>
                <a:gd name="T8" fmla="*/ 3804 w 3804"/>
                <a:gd name="T9" fmla="*/ 1355 h 1355"/>
                <a:gd name="T10" fmla="*/ 3799 w 3804"/>
                <a:gd name="T11" fmla="*/ 0 h 13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804" h="1355">
                  <a:moveTo>
                    <a:pt x="3799" y="0"/>
                  </a:moveTo>
                  <a:lnTo>
                    <a:pt x="372" y="0"/>
                  </a:lnTo>
                  <a:lnTo>
                    <a:pt x="0" y="679"/>
                  </a:lnTo>
                  <a:lnTo>
                    <a:pt x="372" y="1355"/>
                  </a:lnTo>
                  <a:lnTo>
                    <a:pt x="3804" y="1355"/>
                  </a:lnTo>
                  <a:lnTo>
                    <a:pt x="3799" y="0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anchor="ctr" anchorCtr="0" compatLnSpc="1">
              <a:normAutofit/>
            </a:bodyPr>
            <a:lstStyle/>
            <a:p>
              <a:pPr algn="ctr"/>
              <a:r>
                <a:rPr lang="zh-CN" altLang="en-US" sz="3600" b="1" dirty="0"/>
                <a:t>潜在并发症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849942384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框 2">
            <a:extLst>
              <a:ext uri="{FF2B5EF4-FFF2-40B4-BE49-F238E27FC236}">
                <a16:creationId xmlns:a16="http://schemas.microsoft.com/office/drawing/2014/main" id="{9B60BF93-EA8A-46AD-9628-FAD9C828F3E8}"/>
              </a:ext>
            </a:extLst>
          </p:cNvPr>
          <p:cNvSpPr txBox="1"/>
          <p:nvPr/>
        </p:nvSpPr>
        <p:spPr>
          <a:xfrm>
            <a:off x="669925" y="422414"/>
            <a:ext cx="5454503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4000" b="1" dirty="0"/>
              <a:t>护理措施</a:t>
            </a:r>
          </a:p>
        </p:txBody>
      </p:sp>
      <p:grpSp>
        <p:nvGrpSpPr>
          <p:cNvPr id="4" name="195055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1F8C73CC-EB0B-4CEA-AB9E-A5B8C73D959C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667134" y="1576868"/>
            <a:ext cx="10853354" cy="4971938"/>
            <a:chOff x="667134" y="1353584"/>
            <a:chExt cx="10853354" cy="4971938"/>
          </a:xfrm>
        </p:grpSpPr>
        <p:grpSp>
          <p:nvGrpSpPr>
            <p:cNvPr id="5" name="ïṩ1iḍe">
              <a:extLst>
                <a:ext uri="{FF2B5EF4-FFF2-40B4-BE49-F238E27FC236}">
                  <a16:creationId xmlns:a16="http://schemas.microsoft.com/office/drawing/2014/main" id="{B841F98B-6D20-4CC9-B60E-727FD6980DC7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4367806" y="1844824"/>
              <a:ext cx="3350568" cy="3751314"/>
              <a:chOff x="4137" y="924"/>
              <a:chExt cx="2734" cy="3061"/>
            </a:xfrm>
          </p:grpSpPr>
          <p:sp>
            <p:nvSpPr>
              <p:cNvPr id="29" name="íṣ1ïḓé">
                <a:extLst>
                  <a:ext uri="{FF2B5EF4-FFF2-40B4-BE49-F238E27FC236}">
                    <a16:creationId xmlns:a16="http://schemas.microsoft.com/office/drawing/2014/main" id="{D311E3D0-BDD1-4916-9018-24CF77C5FD76}"/>
                  </a:ext>
                </a:extLst>
              </p:cNvPr>
              <p:cNvSpPr/>
              <p:nvPr/>
            </p:nvSpPr>
            <p:spPr bwMode="auto">
              <a:xfrm>
                <a:off x="5008" y="1957"/>
                <a:ext cx="992" cy="994"/>
              </a:xfrm>
              <a:prstGeom prst="ellipse">
                <a:avLst/>
              </a:pr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" name="iṩľïḋê">
                <a:extLst>
                  <a:ext uri="{FF2B5EF4-FFF2-40B4-BE49-F238E27FC236}">
                    <a16:creationId xmlns:a16="http://schemas.microsoft.com/office/drawing/2014/main" id="{011B4120-8F77-4C90-AB90-ABFE4FCB59BB}"/>
                  </a:ext>
                </a:extLst>
              </p:cNvPr>
              <p:cNvSpPr/>
              <p:nvPr/>
            </p:nvSpPr>
            <p:spPr bwMode="auto">
              <a:xfrm>
                <a:off x="4798" y="1009"/>
                <a:ext cx="838" cy="1063"/>
              </a:xfrm>
              <a:custGeom>
                <a:avLst/>
                <a:gdLst>
                  <a:gd name="T0" fmla="*/ 109 w 423"/>
                  <a:gd name="T1" fmla="*/ 537 h 537"/>
                  <a:gd name="T2" fmla="*/ 249 w 423"/>
                  <a:gd name="T3" fmla="*/ 0 h 537"/>
                  <a:gd name="T4" fmla="*/ 220 w 423"/>
                  <a:gd name="T5" fmla="*/ 182 h 537"/>
                  <a:gd name="T6" fmla="*/ 420 w 423"/>
                  <a:gd name="T7" fmla="*/ 235 h 537"/>
                  <a:gd name="T8" fmla="*/ 310 w 423"/>
                  <a:gd name="T9" fmla="*/ 419 h 537"/>
                  <a:gd name="T10" fmla="*/ 109 w 423"/>
                  <a:gd name="T11" fmla="*/ 537 h 5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23" h="537">
                    <a:moveTo>
                      <a:pt x="109" y="537"/>
                    </a:moveTo>
                    <a:cubicBezTo>
                      <a:pt x="0" y="350"/>
                      <a:pt x="63" y="110"/>
                      <a:pt x="249" y="0"/>
                    </a:cubicBezTo>
                    <a:cubicBezTo>
                      <a:pt x="198" y="45"/>
                      <a:pt x="184" y="121"/>
                      <a:pt x="220" y="182"/>
                    </a:cubicBezTo>
                    <a:cubicBezTo>
                      <a:pt x="260" y="252"/>
                      <a:pt x="350" y="276"/>
                      <a:pt x="420" y="235"/>
                    </a:cubicBezTo>
                    <a:cubicBezTo>
                      <a:pt x="423" y="234"/>
                      <a:pt x="327" y="360"/>
                      <a:pt x="310" y="419"/>
                    </a:cubicBezTo>
                    <a:cubicBezTo>
                      <a:pt x="231" y="430"/>
                      <a:pt x="157" y="473"/>
                      <a:pt x="109" y="537"/>
                    </a:cubicBezTo>
                    <a:close/>
                  </a:path>
                </a:pathLst>
              </a:custGeom>
              <a:solidFill>
                <a:schemeClr val="accent1">
                  <a:alpha val="4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" name="ïsḻíḋê">
                <a:extLst>
                  <a:ext uri="{FF2B5EF4-FFF2-40B4-BE49-F238E27FC236}">
                    <a16:creationId xmlns:a16="http://schemas.microsoft.com/office/drawing/2014/main" id="{EAC12F27-4AC3-475D-8FFC-B75DA5A6D179}"/>
                  </a:ext>
                </a:extLst>
              </p:cNvPr>
              <p:cNvSpPr/>
              <p:nvPr/>
            </p:nvSpPr>
            <p:spPr bwMode="auto">
              <a:xfrm>
                <a:off x="5184" y="924"/>
                <a:ext cx="600" cy="600"/>
              </a:xfrm>
              <a:custGeom>
                <a:avLst/>
                <a:gdLst>
                  <a:gd name="T0" fmla="*/ 85 w 303"/>
                  <a:gd name="T1" fmla="*/ 37 h 303"/>
                  <a:gd name="T2" fmla="*/ 266 w 303"/>
                  <a:gd name="T3" fmla="*/ 85 h 303"/>
                  <a:gd name="T4" fmla="*/ 218 w 303"/>
                  <a:gd name="T5" fmla="*/ 267 h 303"/>
                  <a:gd name="T6" fmla="*/ 37 w 303"/>
                  <a:gd name="T7" fmla="*/ 218 h 303"/>
                  <a:gd name="T8" fmla="*/ 85 w 303"/>
                  <a:gd name="T9" fmla="*/ 37 h 3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03" h="303">
                    <a:moveTo>
                      <a:pt x="85" y="37"/>
                    </a:moveTo>
                    <a:cubicBezTo>
                      <a:pt x="149" y="0"/>
                      <a:pt x="230" y="22"/>
                      <a:pt x="266" y="85"/>
                    </a:cubicBezTo>
                    <a:cubicBezTo>
                      <a:pt x="303" y="149"/>
                      <a:pt x="281" y="230"/>
                      <a:pt x="218" y="267"/>
                    </a:cubicBezTo>
                    <a:cubicBezTo>
                      <a:pt x="154" y="303"/>
                      <a:pt x="73" y="282"/>
                      <a:pt x="37" y="218"/>
                    </a:cubicBezTo>
                    <a:cubicBezTo>
                      <a:pt x="0" y="155"/>
                      <a:pt x="22" y="73"/>
                      <a:pt x="85" y="37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" name="ísļïďè">
                <a:extLst>
                  <a:ext uri="{FF2B5EF4-FFF2-40B4-BE49-F238E27FC236}">
                    <a16:creationId xmlns:a16="http://schemas.microsoft.com/office/drawing/2014/main" id="{A9317D48-F901-4545-859E-8C21AC28FFA9}"/>
                  </a:ext>
                </a:extLst>
              </p:cNvPr>
              <p:cNvSpPr/>
              <p:nvPr/>
            </p:nvSpPr>
            <p:spPr bwMode="auto">
              <a:xfrm>
                <a:off x="5600" y="1342"/>
                <a:ext cx="1065" cy="740"/>
              </a:xfrm>
              <a:custGeom>
                <a:avLst/>
                <a:gdLst>
                  <a:gd name="T0" fmla="*/ 0 w 538"/>
                  <a:gd name="T1" fmla="*/ 249 h 374"/>
                  <a:gd name="T2" fmla="*/ 538 w 538"/>
                  <a:gd name="T3" fmla="*/ 108 h 374"/>
                  <a:gd name="T4" fmla="*/ 365 w 538"/>
                  <a:gd name="T5" fmla="*/ 172 h 374"/>
                  <a:gd name="T6" fmla="*/ 416 w 538"/>
                  <a:gd name="T7" fmla="*/ 372 h 374"/>
                  <a:gd name="T8" fmla="*/ 202 w 538"/>
                  <a:gd name="T9" fmla="*/ 367 h 374"/>
                  <a:gd name="T10" fmla="*/ 0 w 538"/>
                  <a:gd name="T11" fmla="*/ 249 h 3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38" h="374">
                    <a:moveTo>
                      <a:pt x="0" y="249"/>
                    </a:moveTo>
                    <a:cubicBezTo>
                      <a:pt x="111" y="62"/>
                      <a:pt x="351" y="0"/>
                      <a:pt x="538" y="108"/>
                    </a:cubicBezTo>
                    <a:cubicBezTo>
                      <a:pt x="474" y="86"/>
                      <a:pt x="401" y="111"/>
                      <a:pt x="365" y="172"/>
                    </a:cubicBezTo>
                    <a:cubicBezTo>
                      <a:pt x="323" y="241"/>
                      <a:pt x="346" y="331"/>
                      <a:pt x="416" y="372"/>
                    </a:cubicBezTo>
                    <a:cubicBezTo>
                      <a:pt x="419" y="374"/>
                      <a:pt x="262" y="352"/>
                      <a:pt x="202" y="367"/>
                    </a:cubicBezTo>
                    <a:cubicBezTo>
                      <a:pt x="154" y="303"/>
                      <a:pt x="80" y="260"/>
                      <a:pt x="0" y="249"/>
                    </a:cubicBezTo>
                    <a:close/>
                  </a:path>
                </a:pathLst>
              </a:custGeom>
              <a:solidFill>
                <a:schemeClr val="accent3">
                  <a:alpha val="4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" name="iṣlïḑê">
                <a:extLst>
                  <a:ext uri="{FF2B5EF4-FFF2-40B4-BE49-F238E27FC236}">
                    <a16:creationId xmlns:a16="http://schemas.microsoft.com/office/drawing/2014/main" id="{5C8B82C9-2201-46ED-97BE-1E0C693FF5D8}"/>
                  </a:ext>
                </a:extLst>
              </p:cNvPr>
              <p:cNvSpPr/>
              <p:nvPr/>
            </p:nvSpPr>
            <p:spPr bwMode="auto">
              <a:xfrm>
                <a:off x="6271" y="1530"/>
                <a:ext cx="600" cy="599"/>
              </a:xfrm>
              <a:custGeom>
                <a:avLst/>
                <a:gdLst>
                  <a:gd name="T0" fmla="*/ 219 w 303"/>
                  <a:gd name="T1" fmla="*/ 37 h 303"/>
                  <a:gd name="T2" fmla="*/ 266 w 303"/>
                  <a:gd name="T3" fmla="*/ 219 h 303"/>
                  <a:gd name="T4" fmla="*/ 84 w 303"/>
                  <a:gd name="T5" fmla="*/ 265 h 303"/>
                  <a:gd name="T6" fmla="*/ 37 w 303"/>
                  <a:gd name="T7" fmla="*/ 83 h 303"/>
                  <a:gd name="T8" fmla="*/ 219 w 303"/>
                  <a:gd name="T9" fmla="*/ 37 h 3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03" h="303">
                    <a:moveTo>
                      <a:pt x="219" y="37"/>
                    </a:moveTo>
                    <a:cubicBezTo>
                      <a:pt x="282" y="74"/>
                      <a:pt x="303" y="156"/>
                      <a:pt x="266" y="219"/>
                    </a:cubicBezTo>
                    <a:cubicBezTo>
                      <a:pt x="228" y="282"/>
                      <a:pt x="147" y="303"/>
                      <a:pt x="84" y="265"/>
                    </a:cubicBezTo>
                    <a:cubicBezTo>
                      <a:pt x="21" y="228"/>
                      <a:pt x="0" y="147"/>
                      <a:pt x="37" y="83"/>
                    </a:cubicBezTo>
                    <a:cubicBezTo>
                      <a:pt x="75" y="20"/>
                      <a:pt x="156" y="0"/>
                      <a:pt x="219" y="37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" name="i$ḷîḓè">
                <a:extLst>
                  <a:ext uri="{FF2B5EF4-FFF2-40B4-BE49-F238E27FC236}">
                    <a16:creationId xmlns:a16="http://schemas.microsoft.com/office/drawing/2014/main" id="{41F9822B-80EA-4C50-B7BF-AA2FE8DF03F7}"/>
                  </a:ext>
                </a:extLst>
              </p:cNvPr>
              <p:cNvSpPr/>
              <p:nvPr/>
            </p:nvSpPr>
            <p:spPr bwMode="auto">
              <a:xfrm>
                <a:off x="6089" y="2222"/>
                <a:ext cx="782" cy="839"/>
              </a:xfrm>
              <a:custGeom>
                <a:avLst/>
                <a:gdLst>
                  <a:gd name="T0" fmla="*/ 0 w 395"/>
                  <a:gd name="T1" fmla="*/ 0 h 424"/>
                  <a:gd name="T2" fmla="*/ 395 w 395"/>
                  <a:gd name="T3" fmla="*/ 390 h 424"/>
                  <a:gd name="T4" fmla="*/ 252 w 395"/>
                  <a:gd name="T5" fmla="*/ 274 h 424"/>
                  <a:gd name="T6" fmla="*/ 106 w 395"/>
                  <a:gd name="T7" fmla="*/ 420 h 424"/>
                  <a:gd name="T8" fmla="*/ 1 w 395"/>
                  <a:gd name="T9" fmla="*/ 233 h 424"/>
                  <a:gd name="T10" fmla="*/ 0 w 395"/>
                  <a:gd name="T11" fmla="*/ 0 h 4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95" h="424">
                    <a:moveTo>
                      <a:pt x="0" y="0"/>
                    </a:moveTo>
                    <a:cubicBezTo>
                      <a:pt x="217" y="0"/>
                      <a:pt x="393" y="174"/>
                      <a:pt x="395" y="390"/>
                    </a:cubicBezTo>
                    <a:cubicBezTo>
                      <a:pt x="382" y="324"/>
                      <a:pt x="323" y="274"/>
                      <a:pt x="252" y="274"/>
                    </a:cubicBezTo>
                    <a:cubicBezTo>
                      <a:pt x="171" y="274"/>
                      <a:pt x="106" y="339"/>
                      <a:pt x="106" y="420"/>
                    </a:cubicBezTo>
                    <a:cubicBezTo>
                      <a:pt x="106" y="424"/>
                      <a:pt x="44" y="277"/>
                      <a:pt x="1" y="233"/>
                    </a:cubicBezTo>
                    <a:cubicBezTo>
                      <a:pt x="31" y="159"/>
                      <a:pt x="31" y="74"/>
                      <a:pt x="0" y="0"/>
                    </a:cubicBezTo>
                    <a:close/>
                  </a:path>
                </a:pathLst>
              </a:custGeom>
              <a:solidFill>
                <a:schemeClr val="accent1">
                  <a:alpha val="4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" name="íṩḷíďé">
                <a:extLst>
                  <a:ext uri="{FF2B5EF4-FFF2-40B4-BE49-F238E27FC236}">
                    <a16:creationId xmlns:a16="http://schemas.microsoft.com/office/drawing/2014/main" id="{B9F40ED7-7D7B-4ACA-9BE7-AEB57D30AAD1}"/>
                  </a:ext>
                </a:extLst>
              </p:cNvPr>
              <p:cNvSpPr/>
              <p:nvPr/>
            </p:nvSpPr>
            <p:spPr bwMode="auto">
              <a:xfrm>
                <a:off x="6325" y="2790"/>
                <a:ext cx="526" cy="527"/>
              </a:xfrm>
              <a:prstGeom prst="ellipse">
                <a:avLst/>
              </a:prstGeom>
              <a:solidFill>
                <a:schemeClr val="accent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" name="isľíḑé">
                <a:extLst>
                  <a:ext uri="{FF2B5EF4-FFF2-40B4-BE49-F238E27FC236}">
                    <a16:creationId xmlns:a16="http://schemas.microsoft.com/office/drawing/2014/main" id="{44F51E8F-4B66-44AF-80E3-D0FC361A4AC3}"/>
                  </a:ext>
                </a:extLst>
              </p:cNvPr>
              <p:cNvSpPr/>
              <p:nvPr/>
            </p:nvSpPr>
            <p:spPr bwMode="auto">
              <a:xfrm>
                <a:off x="5372" y="2838"/>
                <a:ext cx="838" cy="1064"/>
              </a:xfrm>
              <a:custGeom>
                <a:avLst/>
                <a:gdLst>
                  <a:gd name="T0" fmla="*/ 314 w 423"/>
                  <a:gd name="T1" fmla="*/ 0 h 538"/>
                  <a:gd name="T2" fmla="*/ 174 w 423"/>
                  <a:gd name="T3" fmla="*/ 538 h 538"/>
                  <a:gd name="T4" fmla="*/ 203 w 423"/>
                  <a:gd name="T5" fmla="*/ 355 h 538"/>
                  <a:gd name="T6" fmla="*/ 3 w 423"/>
                  <a:gd name="T7" fmla="*/ 302 h 538"/>
                  <a:gd name="T8" fmla="*/ 113 w 423"/>
                  <a:gd name="T9" fmla="*/ 118 h 538"/>
                  <a:gd name="T10" fmla="*/ 314 w 423"/>
                  <a:gd name="T11" fmla="*/ 0 h 5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23" h="538">
                    <a:moveTo>
                      <a:pt x="314" y="0"/>
                    </a:moveTo>
                    <a:cubicBezTo>
                      <a:pt x="423" y="188"/>
                      <a:pt x="360" y="427"/>
                      <a:pt x="174" y="538"/>
                    </a:cubicBezTo>
                    <a:cubicBezTo>
                      <a:pt x="225" y="492"/>
                      <a:pt x="239" y="416"/>
                      <a:pt x="203" y="355"/>
                    </a:cubicBezTo>
                    <a:cubicBezTo>
                      <a:pt x="163" y="285"/>
                      <a:pt x="73" y="261"/>
                      <a:pt x="3" y="302"/>
                    </a:cubicBezTo>
                    <a:cubicBezTo>
                      <a:pt x="0" y="304"/>
                      <a:pt x="96" y="177"/>
                      <a:pt x="113" y="118"/>
                    </a:cubicBezTo>
                    <a:cubicBezTo>
                      <a:pt x="192" y="107"/>
                      <a:pt x="266" y="64"/>
                      <a:pt x="314" y="0"/>
                    </a:cubicBezTo>
                    <a:close/>
                  </a:path>
                </a:pathLst>
              </a:custGeom>
              <a:solidFill>
                <a:schemeClr val="accent3">
                  <a:alpha val="4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" name="i$ḷïḑe">
                <a:extLst>
                  <a:ext uri="{FF2B5EF4-FFF2-40B4-BE49-F238E27FC236}">
                    <a16:creationId xmlns:a16="http://schemas.microsoft.com/office/drawing/2014/main" id="{10C56E9C-8B25-4586-870E-498F400B6C4D}"/>
                  </a:ext>
                </a:extLst>
              </p:cNvPr>
              <p:cNvSpPr/>
              <p:nvPr/>
            </p:nvSpPr>
            <p:spPr bwMode="auto">
              <a:xfrm>
                <a:off x="5224" y="3386"/>
                <a:ext cx="600" cy="599"/>
              </a:xfrm>
              <a:custGeom>
                <a:avLst/>
                <a:gdLst>
                  <a:gd name="T0" fmla="*/ 218 w 303"/>
                  <a:gd name="T1" fmla="*/ 266 h 303"/>
                  <a:gd name="T2" fmla="*/ 37 w 303"/>
                  <a:gd name="T3" fmla="*/ 218 h 303"/>
                  <a:gd name="T4" fmla="*/ 85 w 303"/>
                  <a:gd name="T5" fmla="*/ 36 h 303"/>
                  <a:gd name="T6" fmla="*/ 266 w 303"/>
                  <a:gd name="T7" fmla="*/ 85 h 303"/>
                  <a:gd name="T8" fmla="*/ 218 w 303"/>
                  <a:gd name="T9" fmla="*/ 266 h 3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03" h="303">
                    <a:moveTo>
                      <a:pt x="218" y="266"/>
                    </a:moveTo>
                    <a:cubicBezTo>
                      <a:pt x="154" y="303"/>
                      <a:pt x="73" y="281"/>
                      <a:pt x="37" y="218"/>
                    </a:cubicBezTo>
                    <a:cubicBezTo>
                      <a:pt x="0" y="154"/>
                      <a:pt x="22" y="73"/>
                      <a:pt x="85" y="36"/>
                    </a:cubicBezTo>
                    <a:cubicBezTo>
                      <a:pt x="149" y="0"/>
                      <a:pt x="230" y="22"/>
                      <a:pt x="266" y="85"/>
                    </a:cubicBezTo>
                    <a:cubicBezTo>
                      <a:pt x="303" y="149"/>
                      <a:pt x="281" y="230"/>
                      <a:pt x="218" y="266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" name="íśḷîḓe">
                <a:extLst>
                  <a:ext uri="{FF2B5EF4-FFF2-40B4-BE49-F238E27FC236}">
                    <a16:creationId xmlns:a16="http://schemas.microsoft.com/office/drawing/2014/main" id="{ECF17A23-B690-4FFB-869E-821014366330}"/>
                  </a:ext>
                </a:extLst>
              </p:cNvPr>
              <p:cNvSpPr/>
              <p:nvPr/>
            </p:nvSpPr>
            <p:spPr bwMode="auto">
              <a:xfrm>
                <a:off x="4343" y="2828"/>
                <a:ext cx="1065" cy="740"/>
              </a:xfrm>
              <a:custGeom>
                <a:avLst/>
                <a:gdLst>
                  <a:gd name="T0" fmla="*/ 538 w 538"/>
                  <a:gd name="T1" fmla="*/ 125 h 374"/>
                  <a:gd name="T2" fmla="*/ 0 w 538"/>
                  <a:gd name="T3" fmla="*/ 266 h 374"/>
                  <a:gd name="T4" fmla="*/ 173 w 538"/>
                  <a:gd name="T5" fmla="*/ 203 h 374"/>
                  <a:gd name="T6" fmla="*/ 122 w 538"/>
                  <a:gd name="T7" fmla="*/ 2 h 374"/>
                  <a:gd name="T8" fmla="*/ 336 w 538"/>
                  <a:gd name="T9" fmla="*/ 7 h 374"/>
                  <a:gd name="T10" fmla="*/ 538 w 538"/>
                  <a:gd name="T11" fmla="*/ 125 h 3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38" h="374">
                    <a:moveTo>
                      <a:pt x="538" y="125"/>
                    </a:moveTo>
                    <a:cubicBezTo>
                      <a:pt x="427" y="312"/>
                      <a:pt x="187" y="374"/>
                      <a:pt x="0" y="266"/>
                    </a:cubicBezTo>
                    <a:cubicBezTo>
                      <a:pt x="64" y="289"/>
                      <a:pt x="137" y="263"/>
                      <a:pt x="173" y="203"/>
                    </a:cubicBezTo>
                    <a:cubicBezTo>
                      <a:pt x="215" y="133"/>
                      <a:pt x="192" y="43"/>
                      <a:pt x="122" y="2"/>
                    </a:cubicBezTo>
                    <a:cubicBezTo>
                      <a:pt x="119" y="0"/>
                      <a:pt x="276" y="22"/>
                      <a:pt x="336" y="7"/>
                    </a:cubicBezTo>
                    <a:cubicBezTo>
                      <a:pt x="384" y="71"/>
                      <a:pt x="458" y="114"/>
                      <a:pt x="538" y="125"/>
                    </a:cubicBezTo>
                    <a:close/>
                  </a:path>
                </a:pathLst>
              </a:custGeom>
              <a:solidFill>
                <a:schemeClr val="accent1">
                  <a:alpha val="4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" name="í$ḻîďê">
                <a:extLst>
                  <a:ext uri="{FF2B5EF4-FFF2-40B4-BE49-F238E27FC236}">
                    <a16:creationId xmlns:a16="http://schemas.microsoft.com/office/drawing/2014/main" id="{D05AF68B-E6B4-4414-B4B3-DB1F5034CCFC}"/>
                  </a:ext>
                </a:extLst>
              </p:cNvPr>
              <p:cNvSpPr/>
              <p:nvPr/>
            </p:nvSpPr>
            <p:spPr bwMode="auto">
              <a:xfrm>
                <a:off x="4137" y="2780"/>
                <a:ext cx="600" cy="602"/>
              </a:xfrm>
              <a:custGeom>
                <a:avLst/>
                <a:gdLst>
                  <a:gd name="T0" fmla="*/ 84 w 303"/>
                  <a:gd name="T1" fmla="*/ 266 h 304"/>
                  <a:gd name="T2" fmla="*/ 37 w 303"/>
                  <a:gd name="T3" fmla="*/ 84 h 304"/>
                  <a:gd name="T4" fmla="*/ 219 w 303"/>
                  <a:gd name="T5" fmla="*/ 38 h 304"/>
                  <a:gd name="T6" fmla="*/ 266 w 303"/>
                  <a:gd name="T7" fmla="*/ 220 h 304"/>
                  <a:gd name="T8" fmla="*/ 84 w 303"/>
                  <a:gd name="T9" fmla="*/ 266 h 3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03" h="304">
                    <a:moveTo>
                      <a:pt x="84" y="266"/>
                    </a:moveTo>
                    <a:cubicBezTo>
                      <a:pt x="21" y="229"/>
                      <a:pt x="0" y="147"/>
                      <a:pt x="37" y="84"/>
                    </a:cubicBezTo>
                    <a:cubicBezTo>
                      <a:pt x="75" y="21"/>
                      <a:pt x="156" y="0"/>
                      <a:pt x="219" y="38"/>
                    </a:cubicBezTo>
                    <a:cubicBezTo>
                      <a:pt x="282" y="75"/>
                      <a:pt x="303" y="157"/>
                      <a:pt x="266" y="220"/>
                    </a:cubicBezTo>
                    <a:cubicBezTo>
                      <a:pt x="228" y="283"/>
                      <a:pt x="147" y="304"/>
                      <a:pt x="84" y="266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0" name="iśľídê">
                <a:extLst>
                  <a:ext uri="{FF2B5EF4-FFF2-40B4-BE49-F238E27FC236}">
                    <a16:creationId xmlns:a16="http://schemas.microsoft.com/office/drawing/2014/main" id="{3F9D1F01-E3B0-4E5C-AFDF-AAE6316DF90B}"/>
                  </a:ext>
                </a:extLst>
              </p:cNvPr>
              <p:cNvSpPr/>
              <p:nvPr/>
            </p:nvSpPr>
            <p:spPr bwMode="auto">
              <a:xfrm>
                <a:off x="4137" y="1850"/>
                <a:ext cx="782" cy="837"/>
              </a:xfrm>
              <a:custGeom>
                <a:avLst/>
                <a:gdLst>
                  <a:gd name="T0" fmla="*/ 395 w 395"/>
                  <a:gd name="T1" fmla="*/ 423 h 423"/>
                  <a:gd name="T2" fmla="*/ 0 w 395"/>
                  <a:gd name="T3" fmla="*/ 33 h 423"/>
                  <a:gd name="T4" fmla="*/ 143 w 395"/>
                  <a:gd name="T5" fmla="*/ 149 h 423"/>
                  <a:gd name="T6" fmla="*/ 289 w 395"/>
                  <a:gd name="T7" fmla="*/ 3 h 423"/>
                  <a:gd name="T8" fmla="*/ 394 w 395"/>
                  <a:gd name="T9" fmla="*/ 190 h 423"/>
                  <a:gd name="T10" fmla="*/ 395 w 395"/>
                  <a:gd name="T11" fmla="*/ 423 h 4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95" h="423">
                    <a:moveTo>
                      <a:pt x="395" y="423"/>
                    </a:moveTo>
                    <a:cubicBezTo>
                      <a:pt x="179" y="423"/>
                      <a:pt x="3" y="249"/>
                      <a:pt x="0" y="33"/>
                    </a:cubicBezTo>
                    <a:cubicBezTo>
                      <a:pt x="13" y="100"/>
                      <a:pt x="72" y="149"/>
                      <a:pt x="143" y="149"/>
                    </a:cubicBezTo>
                    <a:cubicBezTo>
                      <a:pt x="224" y="149"/>
                      <a:pt x="289" y="84"/>
                      <a:pt x="289" y="3"/>
                    </a:cubicBezTo>
                    <a:cubicBezTo>
                      <a:pt x="289" y="0"/>
                      <a:pt x="351" y="146"/>
                      <a:pt x="394" y="190"/>
                    </a:cubicBezTo>
                    <a:cubicBezTo>
                      <a:pt x="364" y="264"/>
                      <a:pt x="364" y="349"/>
                      <a:pt x="395" y="423"/>
                    </a:cubicBezTo>
                    <a:close/>
                  </a:path>
                </a:pathLst>
              </a:custGeom>
              <a:solidFill>
                <a:schemeClr val="accent3">
                  <a:alpha val="4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1" name="işliḓé">
                <a:extLst>
                  <a:ext uri="{FF2B5EF4-FFF2-40B4-BE49-F238E27FC236}">
                    <a16:creationId xmlns:a16="http://schemas.microsoft.com/office/drawing/2014/main" id="{A0AE8602-0D9D-4A7F-86FB-DA718AFD4464}"/>
                  </a:ext>
                </a:extLst>
              </p:cNvPr>
              <p:cNvSpPr/>
              <p:nvPr/>
            </p:nvSpPr>
            <p:spPr bwMode="auto">
              <a:xfrm>
                <a:off x="4157" y="1593"/>
                <a:ext cx="526" cy="527"/>
              </a:xfrm>
              <a:prstGeom prst="ellipse">
                <a:avLst/>
              </a:prstGeom>
              <a:solidFill>
                <a:schemeClr val="accent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6" name="iš1îḓè">
              <a:extLst>
                <a:ext uri="{FF2B5EF4-FFF2-40B4-BE49-F238E27FC236}">
                  <a16:creationId xmlns:a16="http://schemas.microsoft.com/office/drawing/2014/main" id="{250EC359-4B43-48BB-B952-048ACE536E35}"/>
                </a:ext>
              </a:extLst>
            </p:cNvPr>
            <p:cNvSpPr/>
            <p:nvPr/>
          </p:nvSpPr>
          <p:spPr>
            <a:xfrm>
              <a:off x="4561198" y="2831039"/>
              <a:ext cx="313162" cy="31316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5709" y="18655"/>
                  </a:moveTo>
                  <a:lnTo>
                    <a:pt x="14727" y="18655"/>
                  </a:lnTo>
                  <a:lnTo>
                    <a:pt x="14727" y="19636"/>
                  </a:lnTo>
                  <a:lnTo>
                    <a:pt x="15709" y="19636"/>
                  </a:lnTo>
                  <a:cubicBezTo>
                    <a:pt x="15709" y="19636"/>
                    <a:pt x="15709" y="18655"/>
                    <a:pt x="15709" y="18655"/>
                  </a:cubicBezTo>
                  <a:close/>
                  <a:moveTo>
                    <a:pt x="15709" y="14727"/>
                  </a:moveTo>
                  <a:lnTo>
                    <a:pt x="14727" y="14727"/>
                  </a:lnTo>
                  <a:lnTo>
                    <a:pt x="14727" y="15709"/>
                  </a:lnTo>
                  <a:lnTo>
                    <a:pt x="15709" y="15709"/>
                  </a:lnTo>
                  <a:cubicBezTo>
                    <a:pt x="15709" y="15709"/>
                    <a:pt x="15709" y="14727"/>
                    <a:pt x="15709" y="14727"/>
                  </a:cubicBezTo>
                  <a:close/>
                  <a:moveTo>
                    <a:pt x="14727" y="10800"/>
                  </a:moveTo>
                  <a:lnTo>
                    <a:pt x="15709" y="10800"/>
                  </a:lnTo>
                  <a:lnTo>
                    <a:pt x="15709" y="9818"/>
                  </a:lnTo>
                  <a:lnTo>
                    <a:pt x="14727" y="9818"/>
                  </a:lnTo>
                  <a:cubicBezTo>
                    <a:pt x="14727" y="9818"/>
                    <a:pt x="14727" y="10800"/>
                    <a:pt x="14727" y="10800"/>
                  </a:cubicBezTo>
                  <a:close/>
                  <a:moveTo>
                    <a:pt x="15709" y="16691"/>
                  </a:moveTo>
                  <a:lnTo>
                    <a:pt x="14727" y="16691"/>
                  </a:lnTo>
                  <a:lnTo>
                    <a:pt x="14727" y="17673"/>
                  </a:lnTo>
                  <a:lnTo>
                    <a:pt x="15709" y="17673"/>
                  </a:lnTo>
                  <a:cubicBezTo>
                    <a:pt x="15709" y="17673"/>
                    <a:pt x="15709" y="16691"/>
                    <a:pt x="15709" y="16691"/>
                  </a:cubicBezTo>
                  <a:close/>
                  <a:moveTo>
                    <a:pt x="14727" y="8836"/>
                  </a:moveTo>
                  <a:lnTo>
                    <a:pt x="15709" y="8836"/>
                  </a:lnTo>
                  <a:lnTo>
                    <a:pt x="15709" y="7855"/>
                  </a:lnTo>
                  <a:lnTo>
                    <a:pt x="14727" y="7855"/>
                  </a:lnTo>
                  <a:cubicBezTo>
                    <a:pt x="14727" y="7855"/>
                    <a:pt x="14727" y="8836"/>
                    <a:pt x="14727" y="8836"/>
                  </a:cubicBezTo>
                  <a:close/>
                  <a:moveTo>
                    <a:pt x="19636" y="0"/>
                  </a:moveTo>
                  <a:lnTo>
                    <a:pt x="5891" y="0"/>
                  </a:lnTo>
                  <a:cubicBezTo>
                    <a:pt x="4806" y="0"/>
                    <a:pt x="3927" y="879"/>
                    <a:pt x="3927" y="1964"/>
                  </a:cubicBezTo>
                  <a:lnTo>
                    <a:pt x="3927" y="2455"/>
                  </a:lnTo>
                  <a:cubicBezTo>
                    <a:pt x="3927" y="2726"/>
                    <a:pt x="4147" y="2945"/>
                    <a:pt x="4418" y="2945"/>
                  </a:cubicBezTo>
                  <a:cubicBezTo>
                    <a:pt x="4690" y="2945"/>
                    <a:pt x="4909" y="2726"/>
                    <a:pt x="4909" y="2455"/>
                  </a:cubicBezTo>
                  <a:lnTo>
                    <a:pt x="4909" y="1964"/>
                  </a:lnTo>
                  <a:cubicBezTo>
                    <a:pt x="4909" y="1422"/>
                    <a:pt x="5349" y="982"/>
                    <a:pt x="5891" y="982"/>
                  </a:cubicBezTo>
                  <a:lnTo>
                    <a:pt x="19636" y="982"/>
                  </a:lnTo>
                  <a:cubicBezTo>
                    <a:pt x="20178" y="982"/>
                    <a:pt x="20618" y="1422"/>
                    <a:pt x="20618" y="1964"/>
                  </a:cubicBezTo>
                  <a:lnTo>
                    <a:pt x="20618" y="15709"/>
                  </a:lnTo>
                  <a:cubicBezTo>
                    <a:pt x="20618" y="16251"/>
                    <a:pt x="20178" y="16691"/>
                    <a:pt x="19636" y="16691"/>
                  </a:cubicBezTo>
                  <a:lnTo>
                    <a:pt x="19145" y="16691"/>
                  </a:lnTo>
                  <a:cubicBezTo>
                    <a:pt x="18874" y="16691"/>
                    <a:pt x="18655" y="16911"/>
                    <a:pt x="18655" y="17182"/>
                  </a:cubicBezTo>
                  <a:cubicBezTo>
                    <a:pt x="18655" y="17453"/>
                    <a:pt x="18874" y="17673"/>
                    <a:pt x="19145" y="17673"/>
                  </a:cubicBezTo>
                  <a:lnTo>
                    <a:pt x="19636" y="17673"/>
                  </a:lnTo>
                  <a:cubicBezTo>
                    <a:pt x="20721" y="17673"/>
                    <a:pt x="21600" y="16794"/>
                    <a:pt x="21600" y="15709"/>
                  </a:cubicBezTo>
                  <a:lnTo>
                    <a:pt x="21600" y="1964"/>
                  </a:lnTo>
                  <a:cubicBezTo>
                    <a:pt x="21600" y="879"/>
                    <a:pt x="20721" y="0"/>
                    <a:pt x="19636" y="0"/>
                  </a:cubicBezTo>
                  <a:moveTo>
                    <a:pt x="14727" y="6873"/>
                  </a:moveTo>
                  <a:lnTo>
                    <a:pt x="15709" y="6873"/>
                  </a:lnTo>
                  <a:lnTo>
                    <a:pt x="15709" y="5891"/>
                  </a:lnTo>
                  <a:lnTo>
                    <a:pt x="14727" y="5891"/>
                  </a:lnTo>
                  <a:cubicBezTo>
                    <a:pt x="14727" y="5891"/>
                    <a:pt x="14727" y="6873"/>
                    <a:pt x="14727" y="6873"/>
                  </a:cubicBezTo>
                  <a:close/>
                  <a:moveTo>
                    <a:pt x="16691" y="12273"/>
                  </a:moveTo>
                  <a:lnTo>
                    <a:pt x="13745" y="12273"/>
                  </a:lnTo>
                  <a:lnTo>
                    <a:pt x="13745" y="4909"/>
                  </a:lnTo>
                  <a:lnTo>
                    <a:pt x="15709" y="4909"/>
                  </a:lnTo>
                  <a:cubicBezTo>
                    <a:pt x="16251" y="4909"/>
                    <a:pt x="16691" y="5349"/>
                    <a:pt x="16691" y="5891"/>
                  </a:cubicBezTo>
                  <a:cubicBezTo>
                    <a:pt x="16691" y="5891"/>
                    <a:pt x="16691" y="12273"/>
                    <a:pt x="16691" y="12273"/>
                  </a:cubicBezTo>
                  <a:close/>
                  <a:moveTo>
                    <a:pt x="16691" y="19636"/>
                  </a:moveTo>
                  <a:cubicBezTo>
                    <a:pt x="16691" y="20178"/>
                    <a:pt x="16251" y="20618"/>
                    <a:pt x="15709" y="20618"/>
                  </a:cubicBezTo>
                  <a:lnTo>
                    <a:pt x="13745" y="20618"/>
                  </a:lnTo>
                  <a:lnTo>
                    <a:pt x="13745" y="13255"/>
                  </a:lnTo>
                  <a:lnTo>
                    <a:pt x="16691" y="13255"/>
                  </a:lnTo>
                  <a:cubicBezTo>
                    <a:pt x="16691" y="13255"/>
                    <a:pt x="16691" y="19636"/>
                    <a:pt x="16691" y="19636"/>
                  </a:cubicBezTo>
                  <a:close/>
                  <a:moveTo>
                    <a:pt x="12764" y="12273"/>
                  </a:moveTo>
                  <a:lnTo>
                    <a:pt x="4909" y="12273"/>
                  </a:lnTo>
                  <a:lnTo>
                    <a:pt x="4909" y="4909"/>
                  </a:lnTo>
                  <a:lnTo>
                    <a:pt x="12764" y="4909"/>
                  </a:lnTo>
                  <a:cubicBezTo>
                    <a:pt x="12764" y="4909"/>
                    <a:pt x="12764" y="12273"/>
                    <a:pt x="12764" y="12273"/>
                  </a:cubicBezTo>
                  <a:close/>
                  <a:moveTo>
                    <a:pt x="12764" y="20618"/>
                  </a:moveTo>
                  <a:lnTo>
                    <a:pt x="4909" y="20618"/>
                  </a:lnTo>
                  <a:lnTo>
                    <a:pt x="4909" y="13255"/>
                  </a:lnTo>
                  <a:lnTo>
                    <a:pt x="12764" y="13255"/>
                  </a:lnTo>
                  <a:cubicBezTo>
                    <a:pt x="12764" y="13255"/>
                    <a:pt x="12764" y="20618"/>
                    <a:pt x="12764" y="20618"/>
                  </a:cubicBezTo>
                  <a:close/>
                  <a:moveTo>
                    <a:pt x="3927" y="12273"/>
                  </a:moveTo>
                  <a:lnTo>
                    <a:pt x="982" y="12273"/>
                  </a:lnTo>
                  <a:lnTo>
                    <a:pt x="982" y="5891"/>
                  </a:lnTo>
                  <a:cubicBezTo>
                    <a:pt x="982" y="5349"/>
                    <a:pt x="1422" y="4909"/>
                    <a:pt x="1964" y="4909"/>
                  </a:cubicBezTo>
                  <a:lnTo>
                    <a:pt x="3927" y="4909"/>
                  </a:lnTo>
                  <a:cubicBezTo>
                    <a:pt x="3927" y="4909"/>
                    <a:pt x="3927" y="12273"/>
                    <a:pt x="3927" y="12273"/>
                  </a:cubicBezTo>
                  <a:close/>
                  <a:moveTo>
                    <a:pt x="3927" y="20618"/>
                  </a:moveTo>
                  <a:lnTo>
                    <a:pt x="1964" y="20618"/>
                  </a:lnTo>
                  <a:cubicBezTo>
                    <a:pt x="1422" y="20618"/>
                    <a:pt x="982" y="20178"/>
                    <a:pt x="982" y="19636"/>
                  </a:cubicBezTo>
                  <a:lnTo>
                    <a:pt x="982" y="13255"/>
                  </a:lnTo>
                  <a:lnTo>
                    <a:pt x="3927" y="13255"/>
                  </a:lnTo>
                  <a:cubicBezTo>
                    <a:pt x="3927" y="13255"/>
                    <a:pt x="3927" y="20618"/>
                    <a:pt x="3927" y="20618"/>
                  </a:cubicBezTo>
                  <a:close/>
                  <a:moveTo>
                    <a:pt x="15709" y="3927"/>
                  </a:moveTo>
                  <a:lnTo>
                    <a:pt x="1964" y="3927"/>
                  </a:lnTo>
                  <a:cubicBezTo>
                    <a:pt x="879" y="3927"/>
                    <a:pt x="0" y="4806"/>
                    <a:pt x="0" y="5891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5709" y="21600"/>
                  </a:lnTo>
                  <a:cubicBezTo>
                    <a:pt x="16794" y="21600"/>
                    <a:pt x="17673" y="20721"/>
                    <a:pt x="17673" y="19636"/>
                  </a:cubicBezTo>
                  <a:lnTo>
                    <a:pt x="17673" y="5891"/>
                  </a:lnTo>
                  <a:cubicBezTo>
                    <a:pt x="17673" y="4806"/>
                    <a:pt x="16794" y="3927"/>
                    <a:pt x="15709" y="3927"/>
                  </a:cubicBezTo>
                  <a:moveTo>
                    <a:pt x="1964" y="8836"/>
                  </a:moveTo>
                  <a:lnTo>
                    <a:pt x="2945" y="8836"/>
                  </a:lnTo>
                  <a:lnTo>
                    <a:pt x="2945" y="7855"/>
                  </a:lnTo>
                  <a:lnTo>
                    <a:pt x="1964" y="7855"/>
                  </a:lnTo>
                  <a:cubicBezTo>
                    <a:pt x="1964" y="7855"/>
                    <a:pt x="1964" y="8836"/>
                    <a:pt x="1964" y="8836"/>
                  </a:cubicBezTo>
                  <a:close/>
                  <a:moveTo>
                    <a:pt x="1964" y="10800"/>
                  </a:moveTo>
                  <a:lnTo>
                    <a:pt x="2945" y="10800"/>
                  </a:lnTo>
                  <a:lnTo>
                    <a:pt x="2945" y="9818"/>
                  </a:lnTo>
                  <a:lnTo>
                    <a:pt x="1964" y="9818"/>
                  </a:lnTo>
                  <a:cubicBezTo>
                    <a:pt x="1964" y="9818"/>
                    <a:pt x="1964" y="10800"/>
                    <a:pt x="1964" y="10800"/>
                  </a:cubicBezTo>
                  <a:close/>
                  <a:moveTo>
                    <a:pt x="2945" y="16691"/>
                  </a:moveTo>
                  <a:lnTo>
                    <a:pt x="1964" y="16691"/>
                  </a:lnTo>
                  <a:lnTo>
                    <a:pt x="1964" y="17673"/>
                  </a:lnTo>
                  <a:lnTo>
                    <a:pt x="2945" y="17673"/>
                  </a:lnTo>
                  <a:cubicBezTo>
                    <a:pt x="2945" y="17673"/>
                    <a:pt x="2945" y="16691"/>
                    <a:pt x="2945" y="16691"/>
                  </a:cubicBezTo>
                  <a:close/>
                  <a:moveTo>
                    <a:pt x="1964" y="6873"/>
                  </a:moveTo>
                  <a:lnTo>
                    <a:pt x="2945" y="6873"/>
                  </a:lnTo>
                  <a:lnTo>
                    <a:pt x="2945" y="5891"/>
                  </a:lnTo>
                  <a:lnTo>
                    <a:pt x="1964" y="5891"/>
                  </a:lnTo>
                  <a:cubicBezTo>
                    <a:pt x="1964" y="5891"/>
                    <a:pt x="1964" y="6873"/>
                    <a:pt x="1964" y="6873"/>
                  </a:cubicBezTo>
                  <a:close/>
                  <a:moveTo>
                    <a:pt x="2945" y="14727"/>
                  </a:moveTo>
                  <a:lnTo>
                    <a:pt x="1964" y="14727"/>
                  </a:lnTo>
                  <a:lnTo>
                    <a:pt x="1964" y="15709"/>
                  </a:lnTo>
                  <a:lnTo>
                    <a:pt x="2945" y="15709"/>
                  </a:lnTo>
                  <a:cubicBezTo>
                    <a:pt x="2945" y="15709"/>
                    <a:pt x="2945" y="14727"/>
                    <a:pt x="2945" y="14727"/>
                  </a:cubicBezTo>
                  <a:close/>
                  <a:moveTo>
                    <a:pt x="2945" y="18655"/>
                  </a:moveTo>
                  <a:lnTo>
                    <a:pt x="1964" y="18655"/>
                  </a:lnTo>
                  <a:lnTo>
                    <a:pt x="1964" y="19636"/>
                  </a:lnTo>
                  <a:lnTo>
                    <a:pt x="2945" y="19636"/>
                  </a:lnTo>
                  <a:cubicBezTo>
                    <a:pt x="2945" y="19636"/>
                    <a:pt x="2945" y="18655"/>
                    <a:pt x="2945" y="18655"/>
                  </a:cubicBezTo>
                  <a:close/>
                </a:path>
              </a:pathLst>
            </a:custGeom>
            <a:solidFill>
              <a:schemeClr val="bg1"/>
            </a:solidFill>
            <a:ln w="12700">
              <a:miter lim="400000"/>
            </a:ln>
          </p:spPr>
          <p:txBody>
            <a:bodyPr lIns="19045" tIns="19045" rIns="19045" bIns="19045" anchor="ctr"/>
            <a:lstStyle/>
            <a:p>
              <a:pPr defTabSz="228532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</a:defRPr>
              </a:pPr>
              <a:endParaRPr sz="1500"/>
            </a:p>
          </p:txBody>
        </p:sp>
        <p:sp>
          <p:nvSpPr>
            <p:cNvPr id="7" name="isļîdè">
              <a:extLst>
                <a:ext uri="{FF2B5EF4-FFF2-40B4-BE49-F238E27FC236}">
                  <a16:creationId xmlns:a16="http://schemas.microsoft.com/office/drawing/2014/main" id="{BCE51595-6287-4C45-B022-B7531A306776}"/>
                </a:ext>
              </a:extLst>
            </p:cNvPr>
            <p:cNvSpPr/>
            <p:nvPr/>
          </p:nvSpPr>
          <p:spPr>
            <a:xfrm>
              <a:off x="5862001" y="2044953"/>
              <a:ext cx="313162" cy="28480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144" extrusionOk="0">
                  <a:moveTo>
                    <a:pt x="20618" y="7406"/>
                  </a:moveTo>
                  <a:lnTo>
                    <a:pt x="13580" y="7406"/>
                  </a:lnTo>
                  <a:cubicBezTo>
                    <a:pt x="13156" y="6803"/>
                    <a:pt x="12718" y="6095"/>
                    <a:pt x="12319" y="5293"/>
                  </a:cubicBezTo>
                  <a:lnTo>
                    <a:pt x="20618" y="5293"/>
                  </a:lnTo>
                  <a:cubicBezTo>
                    <a:pt x="20618" y="5293"/>
                    <a:pt x="20618" y="7406"/>
                    <a:pt x="20618" y="7406"/>
                  </a:cubicBezTo>
                  <a:close/>
                  <a:moveTo>
                    <a:pt x="19636" y="13747"/>
                  </a:moveTo>
                  <a:lnTo>
                    <a:pt x="11291" y="13747"/>
                  </a:lnTo>
                  <a:lnTo>
                    <a:pt x="11291" y="8463"/>
                  </a:lnTo>
                  <a:lnTo>
                    <a:pt x="13090" y="8463"/>
                  </a:lnTo>
                  <a:cubicBezTo>
                    <a:pt x="14022" y="9712"/>
                    <a:pt x="14815" y="10437"/>
                    <a:pt x="14882" y="10497"/>
                  </a:cubicBezTo>
                  <a:cubicBezTo>
                    <a:pt x="15009" y="10610"/>
                    <a:pt x="15174" y="10644"/>
                    <a:pt x="15323" y="10601"/>
                  </a:cubicBezTo>
                  <a:cubicBezTo>
                    <a:pt x="15418" y="10574"/>
                    <a:pt x="15505" y="10516"/>
                    <a:pt x="15573" y="10429"/>
                  </a:cubicBezTo>
                  <a:cubicBezTo>
                    <a:pt x="15746" y="10205"/>
                    <a:pt x="15718" y="9871"/>
                    <a:pt x="15510" y="9684"/>
                  </a:cubicBezTo>
                  <a:cubicBezTo>
                    <a:pt x="15498" y="9674"/>
                    <a:pt x="15023" y="9238"/>
                    <a:pt x="14383" y="8463"/>
                  </a:cubicBezTo>
                  <a:lnTo>
                    <a:pt x="19636" y="8463"/>
                  </a:lnTo>
                  <a:cubicBezTo>
                    <a:pt x="19636" y="8463"/>
                    <a:pt x="19636" y="13747"/>
                    <a:pt x="19636" y="13747"/>
                  </a:cubicBezTo>
                  <a:close/>
                  <a:moveTo>
                    <a:pt x="19636" y="20087"/>
                  </a:moveTo>
                  <a:lnTo>
                    <a:pt x="11291" y="20087"/>
                  </a:lnTo>
                  <a:lnTo>
                    <a:pt x="11291" y="14803"/>
                  </a:lnTo>
                  <a:lnTo>
                    <a:pt x="19636" y="14803"/>
                  </a:lnTo>
                  <a:cubicBezTo>
                    <a:pt x="19636" y="14803"/>
                    <a:pt x="19636" y="20087"/>
                    <a:pt x="19636" y="20087"/>
                  </a:cubicBezTo>
                  <a:close/>
                  <a:moveTo>
                    <a:pt x="11291" y="5461"/>
                  </a:moveTo>
                  <a:cubicBezTo>
                    <a:pt x="11626" y="6178"/>
                    <a:pt x="11991" y="6828"/>
                    <a:pt x="12360" y="7406"/>
                  </a:cubicBezTo>
                  <a:lnTo>
                    <a:pt x="11291" y="7406"/>
                  </a:lnTo>
                  <a:cubicBezTo>
                    <a:pt x="11291" y="7406"/>
                    <a:pt x="11291" y="5461"/>
                    <a:pt x="11291" y="5461"/>
                  </a:cubicBezTo>
                  <a:close/>
                  <a:moveTo>
                    <a:pt x="12871" y="1481"/>
                  </a:moveTo>
                  <a:cubicBezTo>
                    <a:pt x="14045" y="751"/>
                    <a:pt x="15436" y="979"/>
                    <a:pt x="15979" y="1990"/>
                  </a:cubicBezTo>
                  <a:cubicBezTo>
                    <a:pt x="16343" y="2668"/>
                    <a:pt x="16223" y="3523"/>
                    <a:pt x="15755" y="4236"/>
                  </a:cubicBezTo>
                  <a:lnTo>
                    <a:pt x="11845" y="4236"/>
                  </a:lnTo>
                  <a:cubicBezTo>
                    <a:pt x="11740" y="3975"/>
                    <a:pt x="11641" y="3708"/>
                    <a:pt x="11550" y="3432"/>
                  </a:cubicBezTo>
                  <a:cubicBezTo>
                    <a:pt x="11653" y="2691"/>
                    <a:pt x="12120" y="1947"/>
                    <a:pt x="12871" y="1481"/>
                  </a:cubicBezTo>
                  <a:moveTo>
                    <a:pt x="10309" y="7406"/>
                  </a:moveTo>
                  <a:lnTo>
                    <a:pt x="9224" y="7406"/>
                  </a:lnTo>
                  <a:cubicBezTo>
                    <a:pt x="9600" y="6819"/>
                    <a:pt x="9970" y="6158"/>
                    <a:pt x="10309" y="5429"/>
                  </a:cubicBezTo>
                  <a:cubicBezTo>
                    <a:pt x="10309" y="5429"/>
                    <a:pt x="10309" y="7406"/>
                    <a:pt x="10309" y="7406"/>
                  </a:cubicBezTo>
                  <a:close/>
                  <a:moveTo>
                    <a:pt x="10309" y="13747"/>
                  </a:moveTo>
                  <a:lnTo>
                    <a:pt x="1964" y="13747"/>
                  </a:lnTo>
                  <a:lnTo>
                    <a:pt x="1964" y="8463"/>
                  </a:lnTo>
                  <a:lnTo>
                    <a:pt x="7202" y="8463"/>
                  </a:lnTo>
                  <a:cubicBezTo>
                    <a:pt x="6563" y="9238"/>
                    <a:pt x="6087" y="9674"/>
                    <a:pt x="6075" y="9684"/>
                  </a:cubicBezTo>
                  <a:cubicBezTo>
                    <a:pt x="5867" y="9871"/>
                    <a:pt x="5839" y="10205"/>
                    <a:pt x="6012" y="10429"/>
                  </a:cubicBezTo>
                  <a:cubicBezTo>
                    <a:pt x="6080" y="10516"/>
                    <a:pt x="6167" y="10574"/>
                    <a:pt x="6261" y="10601"/>
                  </a:cubicBezTo>
                  <a:cubicBezTo>
                    <a:pt x="6411" y="10644"/>
                    <a:pt x="6575" y="10610"/>
                    <a:pt x="6703" y="10497"/>
                  </a:cubicBezTo>
                  <a:cubicBezTo>
                    <a:pt x="6770" y="10437"/>
                    <a:pt x="7563" y="9712"/>
                    <a:pt x="8495" y="8463"/>
                  </a:cubicBezTo>
                  <a:lnTo>
                    <a:pt x="10309" y="8463"/>
                  </a:lnTo>
                  <a:cubicBezTo>
                    <a:pt x="10309" y="8463"/>
                    <a:pt x="10309" y="13747"/>
                    <a:pt x="10309" y="13747"/>
                  </a:cubicBezTo>
                  <a:close/>
                  <a:moveTo>
                    <a:pt x="10309" y="20087"/>
                  </a:moveTo>
                  <a:lnTo>
                    <a:pt x="1964" y="20087"/>
                  </a:lnTo>
                  <a:lnTo>
                    <a:pt x="1964" y="14803"/>
                  </a:lnTo>
                  <a:lnTo>
                    <a:pt x="10309" y="14803"/>
                  </a:lnTo>
                  <a:cubicBezTo>
                    <a:pt x="10309" y="14803"/>
                    <a:pt x="10309" y="20087"/>
                    <a:pt x="10309" y="20087"/>
                  </a:cubicBezTo>
                  <a:close/>
                  <a:moveTo>
                    <a:pt x="982" y="7406"/>
                  </a:moveTo>
                  <a:lnTo>
                    <a:pt x="982" y="5293"/>
                  </a:lnTo>
                  <a:lnTo>
                    <a:pt x="9266" y="5293"/>
                  </a:lnTo>
                  <a:cubicBezTo>
                    <a:pt x="8867" y="6095"/>
                    <a:pt x="8429" y="6803"/>
                    <a:pt x="8005" y="7406"/>
                  </a:cubicBezTo>
                  <a:cubicBezTo>
                    <a:pt x="8005" y="7406"/>
                    <a:pt x="982" y="7406"/>
                    <a:pt x="982" y="7406"/>
                  </a:cubicBezTo>
                  <a:close/>
                  <a:moveTo>
                    <a:pt x="5606" y="1990"/>
                  </a:moveTo>
                  <a:cubicBezTo>
                    <a:pt x="6148" y="980"/>
                    <a:pt x="7540" y="751"/>
                    <a:pt x="8714" y="1481"/>
                  </a:cubicBezTo>
                  <a:cubicBezTo>
                    <a:pt x="9465" y="1948"/>
                    <a:pt x="9931" y="2692"/>
                    <a:pt x="10035" y="3433"/>
                  </a:cubicBezTo>
                  <a:cubicBezTo>
                    <a:pt x="9944" y="3708"/>
                    <a:pt x="9845" y="3975"/>
                    <a:pt x="9740" y="4236"/>
                  </a:cubicBezTo>
                  <a:lnTo>
                    <a:pt x="5830" y="4236"/>
                  </a:lnTo>
                  <a:cubicBezTo>
                    <a:pt x="5362" y="3523"/>
                    <a:pt x="5242" y="2668"/>
                    <a:pt x="5606" y="1990"/>
                  </a:cubicBezTo>
                  <a:moveTo>
                    <a:pt x="20618" y="4236"/>
                  </a:moveTo>
                  <a:lnTo>
                    <a:pt x="16874" y="4236"/>
                  </a:lnTo>
                  <a:cubicBezTo>
                    <a:pt x="17259" y="3325"/>
                    <a:pt x="17284" y="2310"/>
                    <a:pt x="16829" y="1461"/>
                  </a:cubicBezTo>
                  <a:cubicBezTo>
                    <a:pt x="16015" y="-54"/>
                    <a:pt x="14024" y="-456"/>
                    <a:pt x="12380" y="565"/>
                  </a:cubicBezTo>
                  <a:cubicBezTo>
                    <a:pt x="11747" y="959"/>
                    <a:pt x="11277" y="1511"/>
                    <a:pt x="10965" y="2122"/>
                  </a:cubicBezTo>
                  <a:cubicBezTo>
                    <a:pt x="10949" y="2115"/>
                    <a:pt x="10937" y="2103"/>
                    <a:pt x="10920" y="2098"/>
                  </a:cubicBezTo>
                  <a:cubicBezTo>
                    <a:pt x="10909" y="2095"/>
                    <a:pt x="10899" y="2097"/>
                    <a:pt x="10888" y="2095"/>
                  </a:cubicBezTo>
                  <a:cubicBezTo>
                    <a:pt x="10861" y="2089"/>
                    <a:pt x="10834" y="2089"/>
                    <a:pt x="10806" y="2088"/>
                  </a:cubicBezTo>
                  <a:cubicBezTo>
                    <a:pt x="10782" y="2089"/>
                    <a:pt x="10759" y="2089"/>
                    <a:pt x="10735" y="2093"/>
                  </a:cubicBezTo>
                  <a:cubicBezTo>
                    <a:pt x="10712" y="2096"/>
                    <a:pt x="10689" y="2090"/>
                    <a:pt x="10665" y="2098"/>
                  </a:cubicBezTo>
                  <a:cubicBezTo>
                    <a:pt x="10648" y="2103"/>
                    <a:pt x="10636" y="2115"/>
                    <a:pt x="10620" y="2122"/>
                  </a:cubicBezTo>
                  <a:cubicBezTo>
                    <a:pt x="10307" y="1511"/>
                    <a:pt x="9837" y="959"/>
                    <a:pt x="9205" y="566"/>
                  </a:cubicBezTo>
                  <a:cubicBezTo>
                    <a:pt x="7561" y="-456"/>
                    <a:pt x="5569" y="-54"/>
                    <a:pt x="4755" y="1461"/>
                  </a:cubicBezTo>
                  <a:cubicBezTo>
                    <a:pt x="4301" y="2310"/>
                    <a:pt x="4325" y="3325"/>
                    <a:pt x="4711" y="4236"/>
                  </a:cubicBezTo>
                  <a:lnTo>
                    <a:pt x="982" y="4236"/>
                  </a:lnTo>
                  <a:cubicBezTo>
                    <a:pt x="440" y="4236"/>
                    <a:pt x="0" y="4709"/>
                    <a:pt x="0" y="5293"/>
                  </a:cubicBezTo>
                  <a:lnTo>
                    <a:pt x="0" y="7406"/>
                  </a:lnTo>
                  <a:cubicBezTo>
                    <a:pt x="0" y="7990"/>
                    <a:pt x="440" y="8463"/>
                    <a:pt x="982" y="8463"/>
                  </a:cubicBezTo>
                  <a:lnTo>
                    <a:pt x="982" y="20087"/>
                  </a:lnTo>
                  <a:cubicBezTo>
                    <a:pt x="982" y="20671"/>
                    <a:pt x="1422" y="21144"/>
                    <a:pt x="1964" y="21144"/>
                  </a:cubicBezTo>
                  <a:lnTo>
                    <a:pt x="19636" y="21144"/>
                  </a:lnTo>
                  <a:cubicBezTo>
                    <a:pt x="20178" y="21144"/>
                    <a:pt x="20618" y="20671"/>
                    <a:pt x="20618" y="20087"/>
                  </a:cubicBezTo>
                  <a:lnTo>
                    <a:pt x="20618" y="8463"/>
                  </a:lnTo>
                  <a:cubicBezTo>
                    <a:pt x="21160" y="8463"/>
                    <a:pt x="21600" y="7990"/>
                    <a:pt x="21600" y="7406"/>
                  </a:cubicBezTo>
                  <a:lnTo>
                    <a:pt x="21600" y="5293"/>
                  </a:lnTo>
                  <a:cubicBezTo>
                    <a:pt x="21600" y="4709"/>
                    <a:pt x="21160" y="4236"/>
                    <a:pt x="20618" y="4236"/>
                  </a:cubicBezTo>
                </a:path>
              </a:pathLst>
            </a:custGeom>
            <a:solidFill>
              <a:schemeClr val="bg1"/>
            </a:solidFill>
            <a:ln w="12700">
              <a:miter lim="400000"/>
            </a:ln>
          </p:spPr>
          <p:txBody>
            <a:bodyPr lIns="19045" tIns="19045" rIns="19045" bIns="19045" anchor="ctr"/>
            <a:lstStyle/>
            <a:p>
              <a:pPr defTabSz="228532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</a:defRPr>
              </a:pPr>
              <a:endParaRPr sz="1500"/>
            </a:p>
          </p:txBody>
        </p:sp>
        <p:sp>
          <p:nvSpPr>
            <p:cNvPr id="8" name="îṣḷîďé">
              <a:extLst>
                <a:ext uri="{FF2B5EF4-FFF2-40B4-BE49-F238E27FC236}">
                  <a16:creationId xmlns:a16="http://schemas.microsoft.com/office/drawing/2014/main" id="{352FC595-4A96-4769-9F41-C637D2BB9B89}"/>
                </a:ext>
              </a:extLst>
            </p:cNvPr>
            <p:cNvSpPr/>
            <p:nvPr/>
          </p:nvSpPr>
          <p:spPr>
            <a:xfrm>
              <a:off x="7214973" y="2797950"/>
              <a:ext cx="313162" cy="31316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636" y="0"/>
                  </a:moveTo>
                  <a:lnTo>
                    <a:pt x="5891" y="0"/>
                  </a:lnTo>
                  <a:cubicBezTo>
                    <a:pt x="4806" y="0"/>
                    <a:pt x="3927" y="879"/>
                    <a:pt x="3927" y="1964"/>
                  </a:cubicBezTo>
                  <a:lnTo>
                    <a:pt x="3927" y="2455"/>
                  </a:lnTo>
                  <a:cubicBezTo>
                    <a:pt x="3927" y="2726"/>
                    <a:pt x="4147" y="2945"/>
                    <a:pt x="4418" y="2945"/>
                  </a:cubicBezTo>
                  <a:cubicBezTo>
                    <a:pt x="4690" y="2945"/>
                    <a:pt x="4909" y="2726"/>
                    <a:pt x="4909" y="2455"/>
                  </a:cubicBezTo>
                  <a:lnTo>
                    <a:pt x="4909" y="1964"/>
                  </a:lnTo>
                  <a:cubicBezTo>
                    <a:pt x="4909" y="1422"/>
                    <a:pt x="5349" y="982"/>
                    <a:pt x="5891" y="982"/>
                  </a:cubicBezTo>
                  <a:lnTo>
                    <a:pt x="19636" y="982"/>
                  </a:lnTo>
                  <a:cubicBezTo>
                    <a:pt x="20178" y="982"/>
                    <a:pt x="20618" y="1422"/>
                    <a:pt x="20618" y="1964"/>
                  </a:cubicBezTo>
                  <a:lnTo>
                    <a:pt x="20618" y="15709"/>
                  </a:lnTo>
                  <a:cubicBezTo>
                    <a:pt x="20618" y="16252"/>
                    <a:pt x="20178" y="16691"/>
                    <a:pt x="19636" y="16691"/>
                  </a:cubicBezTo>
                  <a:lnTo>
                    <a:pt x="19145" y="16691"/>
                  </a:lnTo>
                  <a:cubicBezTo>
                    <a:pt x="18874" y="16691"/>
                    <a:pt x="18655" y="16911"/>
                    <a:pt x="18655" y="17182"/>
                  </a:cubicBezTo>
                  <a:cubicBezTo>
                    <a:pt x="18655" y="17453"/>
                    <a:pt x="18874" y="17673"/>
                    <a:pt x="19145" y="17673"/>
                  </a:cubicBezTo>
                  <a:lnTo>
                    <a:pt x="19636" y="17673"/>
                  </a:lnTo>
                  <a:cubicBezTo>
                    <a:pt x="20721" y="17673"/>
                    <a:pt x="21600" y="16794"/>
                    <a:pt x="21600" y="15709"/>
                  </a:cubicBezTo>
                  <a:lnTo>
                    <a:pt x="21600" y="1964"/>
                  </a:lnTo>
                  <a:cubicBezTo>
                    <a:pt x="21600" y="879"/>
                    <a:pt x="20721" y="0"/>
                    <a:pt x="19636" y="0"/>
                  </a:cubicBezTo>
                  <a:moveTo>
                    <a:pt x="4354" y="17673"/>
                  </a:moveTo>
                  <a:lnTo>
                    <a:pt x="7369" y="13149"/>
                  </a:lnTo>
                  <a:lnTo>
                    <a:pt x="8875" y="15407"/>
                  </a:lnTo>
                  <a:cubicBezTo>
                    <a:pt x="8949" y="15584"/>
                    <a:pt x="9123" y="15709"/>
                    <a:pt x="9327" y="15709"/>
                  </a:cubicBezTo>
                  <a:cubicBezTo>
                    <a:pt x="9463" y="15709"/>
                    <a:pt x="9586" y="15655"/>
                    <a:pt x="9674" y="15565"/>
                  </a:cubicBezTo>
                  <a:lnTo>
                    <a:pt x="11198" y="14042"/>
                  </a:lnTo>
                  <a:lnTo>
                    <a:pt x="13376" y="17673"/>
                  </a:lnTo>
                  <a:cubicBezTo>
                    <a:pt x="13376" y="17673"/>
                    <a:pt x="4354" y="17673"/>
                    <a:pt x="4354" y="17673"/>
                  </a:cubicBezTo>
                  <a:close/>
                  <a:moveTo>
                    <a:pt x="14692" y="17982"/>
                  </a:moveTo>
                  <a:lnTo>
                    <a:pt x="14690" y="17977"/>
                  </a:lnTo>
                  <a:cubicBezTo>
                    <a:pt x="14685" y="17967"/>
                    <a:pt x="14677" y="17959"/>
                    <a:pt x="14673" y="17949"/>
                  </a:cubicBezTo>
                  <a:lnTo>
                    <a:pt x="11747" y="13073"/>
                  </a:lnTo>
                  <a:lnTo>
                    <a:pt x="11745" y="13073"/>
                  </a:lnTo>
                  <a:cubicBezTo>
                    <a:pt x="11673" y="12892"/>
                    <a:pt x="11498" y="12764"/>
                    <a:pt x="11291" y="12764"/>
                  </a:cubicBezTo>
                  <a:cubicBezTo>
                    <a:pt x="11155" y="12764"/>
                    <a:pt x="11033" y="12819"/>
                    <a:pt x="10944" y="12908"/>
                  </a:cubicBezTo>
                  <a:lnTo>
                    <a:pt x="9397" y="14454"/>
                  </a:lnTo>
                  <a:lnTo>
                    <a:pt x="7816" y="12084"/>
                  </a:lnTo>
                  <a:cubicBezTo>
                    <a:pt x="7742" y="11907"/>
                    <a:pt x="7568" y="11782"/>
                    <a:pt x="7364" y="11782"/>
                  </a:cubicBezTo>
                  <a:cubicBezTo>
                    <a:pt x="7193" y="11782"/>
                    <a:pt x="7051" y="11874"/>
                    <a:pt x="6963" y="12006"/>
                  </a:cubicBezTo>
                  <a:lnTo>
                    <a:pt x="6955" y="12000"/>
                  </a:lnTo>
                  <a:lnTo>
                    <a:pt x="3028" y="17891"/>
                  </a:lnTo>
                  <a:lnTo>
                    <a:pt x="3036" y="17897"/>
                  </a:lnTo>
                  <a:cubicBezTo>
                    <a:pt x="2983" y="17974"/>
                    <a:pt x="2945" y="18063"/>
                    <a:pt x="2945" y="18164"/>
                  </a:cubicBezTo>
                  <a:cubicBezTo>
                    <a:pt x="2945" y="18435"/>
                    <a:pt x="3165" y="18655"/>
                    <a:pt x="3436" y="18655"/>
                  </a:cubicBezTo>
                  <a:lnTo>
                    <a:pt x="14236" y="18655"/>
                  </a:lnTo>
                  <a:cubicBezTo>
                    <a:pt x="14508" y="18655"/>
                    <a:pt x="14727" y="18435"/>
                    <a:pt x="14727" y="18164"/>
                  </a:cubicBezTo>
                  <a:cubicBezTo>
                    <a:pt x="14727" y="18099"/>
                    <a:pt x="14713" y="18039"/>
                    <a:pt x="14691" y="17983"/>
                  </a:cubicBezTo>
                  <a:cubicBezTo>
                    <a:pt x="14691" y="17983"/>
                    <a:pt x="14692" y="17982"/>
                    <a:pt x="14692" y="17982"/>
                  </a:cubicBezTo>
                  <a:close/>
                  <a:moveTo>
                    <a:pt x="4909" y="7855"/>
                  </a:moveTo>
                  <a:cubicBezTo>
                    <a:pt x="5451" y="7855"/>
                    <a:pt x="5891" y="8295"/>
                    <a:pt x="5891" y="8836"/>
                  </a:cubicBezTo>
                  <a:cubicBezTo>
                    <a:pt x="5891" y="9379"/>
                    <a:pt x="5451" y="9818"/>
                    <a:pt x="4909" y="9818"/>
                  </a:cubicBezTo>
                  <a:cubicBezTo>
                    <a:pt x="4367" y="9818"/>
                    <a:pt x="3927" y="9379"/>
                    <a:pt x="3927" y="8836"/>
                  </a:cubicBezTo>
                  <a:cubicBezTo>
                    <a:pt x="3927" y="8295"/>
                    <a:pt x="4367" y="7855"/>
                    <a:pt x="4909" y="7855"/>
                  </a:cubicBezTo>
                  <a:moveTo>
                    <a:pt x="4909" y="10800"/>
                  </a:moveTo>
                  <a:cubicBezTo>
                    <a:pt x="5994" y="10800"/>
                    <a:pt x="6873" y="9921"/>
                    <a:pt x="6873" y="8836"/>
                  </a:cubicBezTo>
                  <a:cubicBezTo>
                    <a:pt x="6873" y="7752"/>
                    <a:pt x="5994" y="6873"/>
                    <a:pt x="4909" y="6873"/>
                  </a:cubicBezTo>
                  <a:cubicBezTo>
                    <a:pt x="3825" y="6873"/>
                    <a:pt x="2945" y="7752"/>
                    <a:pt x="2945" y="8836"/>
                  </a:cubicBezTo>
                  <a:cubicBezTo>
                    <a:pt x="2945" y="9921"/>
                    <a:pt x="3825" y="10800"/>
                    <a:pt x="4909" y="10800"/>
                  </a:cubicBezTo>
                  <a:moveTo>
                    <a:pt x="16691" y="19636"/>
                  </a:moveTo>
                  <a:cubicBezTo>
                    <a:pt x="16691" y="20179"/>
                    <a:pt x="16251" y="20619"/>
                    <a:pt x="15709" y="20619"/>
                  </a:cubicBezTo>
                  <a:lnTo>
                    <a:pt x="1964" y="20619"/>
                  </a:lnTo>
                  <a:cubicBezTo>
                    <a:pt x="1422" y="20619"/>
                    <a:pt x="982" y="20179"/>
                    <a:pt x="982" y="19636"/>
                  </a:cubicBezTo>
                  <a:lnTo>
                    <a:pt x="982" y="5891"/>
                  </a:lnTo>
                  <a:cubicBezTo>
                    <a:pt x="982" y="5349"/>
                    <a:pt x="1422" y="4909"/>
                    <a:pt x="1964" y="4909"/>
                  </a:cubicBezTo>
                  <a:lnTo>
                    <a:pt x="15709" y="4909"/>
                  </a:lnTo>
                  <a:cubicBezTo>
                    <a:pt x="16251" y="4909"/>
                    <a:pt x="16691" y="5349"/>
                    <a:pt x="16691" y="5891"/>
                  </a:cubicBezTo>
                  <a:cubicBezTo>
                    <a:pt x="16691" y="5891"/>
                    <a:pt x="16691" y="19636"/>
                    <a:pt x="16691" y="19636"/>
                  </a:cubicBezTo>
                  <a:close/>
                  <a:moveTo>
                    <a:pt x="15709" y="3927"/>
                  </a:moveTo>
                  <a:lnTo>
                    <a:pt x="1964" y="3927"/>
                  </a:lnTo>
                  <a:cubicBezTo>
                    <a:pt x="879" y="3927"/>
                    <a:pt x="0" y="4806"/>
                    <a:pt x="0" y="5891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5709" y="21600"/>
                  </a:lnTo>
                  <a:cubicBezTo>
                    <a:pt x="16794" y="21600"/>
                    <a:pt x="17673" y="20721"/>
                    <a:pt x="17673" y="19636"/>
                  </a:cubicBezTo>
                  <a:lnTo>
                    <a:pt x="17673" y="5891"/>
                  </a:lnTo>
                  <a:cubicBezTo>
                    <a:pt x="17673" y="4806"/>
                    <a:pt x="16794" y="3927"/>
                    <a:pt x="15709" y="3927"/>
                  </a:cubicBezTo>
                </a:path>
              </a:pathLst>
            </a:custGeom>
            <a:solidFill>
              <a:schemeClr val="bg1"/>
            </a:solidFill>
            <a:ln w="12700">
              <a:miter lim="400000"/>
            </a:ln>
          </p:spPr>
          <p:txBody>
            <a:bodyPr lIns="19045" tIns="19045" rIns="19045" bIns="19045" anchor="ctr"/>
            <a:lstStyle/>
            <a:p>
              <a:pPr defTabSz="228532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</a:defRPr>
              </a:pPr>
              <a:endParaRPr sz="1500"/>
            </a:p>
          </p:txBody>
        </p:sp>
        <p:sp>
          <p:nvSpPr>
            <p:cNvPr id="9" name="ïṣlîde">
              <a:extLst>
                <a:ext uri="{FF2B5EF4-FFF2-40B4-BE49-F238E27FC236}">
                  <a16:creationId xmlns:a16="http://schemas.microsoft.com/office/drawing/2014/main" id="{4C25D401-EA7D-47EE-A458-6E1E0E45D1DB}"/>
                </a:ext>
              </a:extLst>
            </p:cNvPr>
            <p:cNvSpPr/>
            <p:nvPr/>
          </p:nvSpPr>
          <p:spPr>
            <a:xfrm>
              <a:off x="7214973" y="4331688"/>
              <a:ext cx="313162" cy="31315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583" extrusionOk="0">
                  <a:moveTo>
                    <a:pt x="12364" y="11941"/>
                  </a:moveTo>
                  <a:lnTo>
                    <a:pt x="13062" y="14033"/>
                  </a:lnTo>
                  <a:lnTo>
                    <a:pt x="11365" y="12790"/>
                  </a:lnTo>
                  <a:lnTo>
                    <a:pt x="10785" y="12365"/>
                  </a:lnTo>
                  <a:lnTo>
                    <a:pt x="10205" y="12790"/>
                  </a:lnTo>
                  <a:lnTo>
                    <a:pt x="8508" y="14033"/>
                  </a:lnTo>
                  <a:lnTo>
                    <a:pt x="9206" y="11941"/>
                  </a:lnTo>
                  <a:lnTo>
                    <a:pt x="9426" y="11282"/>
                  </a:lnTo>
                  <a:lnTo>
                    <a:pt x="8877" y="10856"/>
                  </a:lnTo>
                  <a:lnTo>
                    <a:pt x="7511" y="9794"/>
                  </a:lnTo>
                  <a:lnTo>
                    <a:pt x="9790" y="9794"/>
                  </a:lnTo>
                  <a:lnTo>
                    <a:pt x="10030" y="9160"/>
                  </a:lnTo>
                  <a:lnTo>
                    <a:pt x="10785" y="7162"/>
                  </a:lnTo>
                  <a:lnTo>
                    <a:pt x="11540" y="9160"/>
                  </a:lnTo>
                  <a:lnTo>
                    <a:pt x="11779" y="9794"/>
                  </a:lnTo>
                  <a:lnTo>
                    <a:pt x="14059" y="9794"/>
                  </a:lnTo>
                  <a:lnTo>
                    <a:pt x="12692" y="10856"/>
                  </a:lnTo>
                  <a:lnTo>
                    <a:pt x="12144" y="11282"/>
                  </a:lnTo>
                  <a:cubicBezTo>
                    <a:pt x="12144" y="11282"/>
                    <a:pt x="12364" y="11941"/>
                    <a:pt x="12364" y="11941"/>
                  </a:cubicBezTo>
                  <a:close/>
                  <a:moveTo>
                    <a:pt x="12458" y="8813"/>
                  </a:moveTo>
                  <a:lnTo>
                    <a:pt x="10785" y="4384"/>
                  </a:lnTo>
                  <a:lnTo>
                    <a:pt x="9111" y="8813"/>
                  </a:lnTo>
                  <a:lnTo>
                    <a:pt x="4649" y="8813"/>
                  </a:lnTo>
                  <a:lnTo>
                    <a:pt x="8275" y="11631"/>
                  </a:lnTo>
                  <a:lnTo>
                    <a:pt x="6601" y="16647"/>
                  </a:lnTo>
                  <a:lnTo>
                    <a:pt x="10785" y="13582"/>
                  </a:lnTo>
                  <a:lnTo>
                    <a:pt x="14969" y="16647"/>
                  </a:lnTo>
                  <a:lnTo>
                    <a:pt x="13295" y="11631"/>
                  </a:lnTo>
                  <a:lnTo>
                    <a:pt x="16921" y="8813"/>
                  </a:lnTo>
                  <a:cubicBezTo>
                    <a:pt x="16921" y="8813"/>
                    <a:pt x="12458" y="8813"/>
                    <a:pt x="12458" y="8813"/>
                  </a:cubicBezTo>
                  <a:close/>
                  <a:moveTo>
                    <a:pt x="10800" y="20592"/>
                  </a:moveTo>
                  <a:cubicBezTo>
                    <a:pt x="9796" y="20381"/>
                    <a:pt x="982" y="17399"/>
                    <a:pt x="982" y="12263"/>
                  </a:cubicBezTo>
                  <a:cubicBezTo>
                    <a:pt x="982" y="7469"/>
                    <a:pt x="2322" y="2919"/>
                    <a:pt x="2778" y="1179"/>
                  </a:cubicBezTo>
                  <a:cubicBezTo>
                    <a:pt x="4022" y="1719"/>
                    <a:pt x="7232" y="2943"/>
                    <a:pt x="10800" y="2943"/>
                  </a:cubicBezTo>
                  <a:cubicBezTo>
                    <a:pt x="14368" y="2943"/>
                    <a:pt x="17579" y="1719"/>
                    <a:pt x="18823" y="1179"/>
                  </a:cubicBezTo>
                  <a:cubicBezTo>
                    <a:pt x="19278" y="2918"/>
                    <a:pt x="20618" y="7466"/>
                    <a:pt x="20618" y="12263"/>
                  </a:cubicBezTo>
                  <a:cubicBezTo>
                    <a:pt x="20618" y="17393"/>
                    <a:pt x="11803" y="20381"/>
                    <a:pt x="10800" y="20592"/>
                  </a:cubicBezTo>
                  <a:moveTo>
                    <a:pt x="19618" y="356"/>
                  </a:moveTo>
                  <a:cubicBezTo>
                    <a:pt x="19577" y="216"/>
                    <a:pt x="19477" y="101"/>
                    <a:pt x="19343" y="42"/>
                  </a:cubicBezTo>
                  <a:cubicBezTo>
                    <a:pt x="19210" y="-17"/>
                    <a:pt x="19057" y="-13"/>
                    <a:pt x="18926" y="52"/>
                  </a:cubicBezTo>
                  <a:cubicBezTo>
                    <a:pt x="18888" y="71"/>
                    <a:pt x="15053" y="1962"/>
                    <a:pt x="10800" y="1962"/>
                  </a:cubicBezTo>
                  <a:cubicBezTo>
                    <a:pt x="6556" y="1962"/>
                    <a:pt x="2712" y="71"/>
                    <a:pt x="2674" y="52"/>
                  </a:cubicBezTo>
                  <a:cubicBezTo>
                    <a:pt x="2543" y="-13"/>
                    <a:pt x="2391" y="-17"/>
                    <a:pt x="2257" y="42"/>
                  </a:cubicBezTo>
                  <a:cubicBezTo>
                    <a:pt x="2124" y="101"/>
                    <a:pt x="2023" y="216"/>
                    <a:pt x="1983" y="356"/>
                  </a:cubicBezTo>
                  <a:cubicBezTo>
                    <a:pt x="1963" y="426"/>
                    <a:pt x="0" y="6376"/>
                    <a:pt x="0" y="12263"/>
                  </a:cubicBezTo>
                  <a:cubicBezTo>
                    <a:pt x="0" y="18484"/>
                    <a:pt x="10271" y="21491"/>
                    <a:pt x="10708" y="21575"/>
                  </a:cubicBezTo>
                  <a:cubicBezTo>
                    <a:pt x="10739" y="21580"/>
                    <a:pt x="10770" y="21583"/>
                    <a:pt x="10800" y="21583"/>
                  </a:cubicBezTo>
                  <a:cubicBezTo>
                    <a:pt x="10831" y="21583"/>
                    <a:pt x="10862" y="21580"/>
                    <a:pt x="10892" y="21575"/>
                  </a:cubicBezTo>
                  <a:cubicBezTo>
                    <a:pt x="11329" y="21491"/>
                    <a:pt x="21600" y="18484"/>
                    <a:pt x="21600" y="12263"/>
                  </a:cubicBezTo>
                  <a:cubicBezTo>
                    <a:pt x="21600" y="6376"/>
                    <a:pt x="19637" y="426"/>
                    <a:pt x="19618" y="356"/>
                  </a:cubicBezTo>
                </a:path>
              </a:pathLst>
            </a:custGeom>
            <a:solidFill>
              <a:schemeClr val="bg1"/>
            </a:solidFill>
            <a:ln w="12700">
              <a:miter lim="400000"/>
            </a:ln>
          </p:spPr>
          <p:txBody>
            <a:bodyPr lIns="19045" tIns="19045" rIns="19045" bIns="19045" anchor="ctr"/>
            <a:lstStyle/>
            <a:p>
              <a:pPr defTabSz="228532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</a:defRPr>
              </a:pPr>
              <a:endParaRPr sz="1500"/>
            </a:p>
          </p:txBody>
        </p:sp>
        <p:sp>
          <p:nvSpPr>
            <p:cNvPr id="10" name="iṧliḓé">
              <a:extLst>
                <a:ext uri="{FF2B5EF4-FFF2-40B4-BE49-F238E27FC236}">
                  <a16:creationId xmlns:a16="http://schemas.microsoft.com/office/drawing/2014/main" id="{FE2B2F18-69CC-4A45-8FDB-2D71C7A2B5E8}"/>
                </a:ext>
              </a:extLst>
            </p:cNvPr>
            <p:cNvSpPr/>
            <p:nvPr/>
          </p:nvSpPr>
          <p:spPr>
            <a:xfrm>
              <a:off x="5911022" y="5076070"/>
              <a:ext cx="313162" cy="30604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319" extrusionOk="0">
                  <a:moveTo>
                    <a:pt x="7530" y="4197"/>
                  </a:moveTo>
                  <a:lnTo>
                    <a:pt x="6680" y="3701"/>
                  </a:lnTo>
                  <a:lnTo>
                    <a:pt x="6189" y="4560"/>
                  </a:lnTo>
                  <a:lnTo>
                    <a:pt x="7040" y="5056"/>
                  </a:lnTo>
                  <a:cubicBezTo>
                    <a:pt x="7040" y="5056"/>
                    <a:pt x="7530" y="4197"/>
                    <a:pt x="7530" y="4197"/>
                  </a:cubicBezTo>
                  <a:close/>
                  <a:moveTo>
                    <a:pt x="8512" y="2479"/>
                  </a:moveTo>
                  <a:lnTo>
                    <a:pt x="7662" y="1984"/>
                  </a:lnTo>
                  <a:lnTo>
                    <a:pt x="7171" y="2843"/>
                  </a:lnTo>
                  <a:lnTo>
                    <a:pt x="8021" y="3339"/>
                  </a:lnTo>
                  <a:cubicBezTo>
                    <a:pt x="8021" y="3339"/>
                    <a:pt x="8512" y="2479"/>
                    <a:pt x="8512" y="2479"/>
                  </a:cubicBezTo>
                  <a:close/>
                  <a:moveTo>
                    <a:pt x="20618" y="8428"/>
                  </a:moveTo>
                  <a:lnTo>
                    <a:pt x="982" y="8428"/>
                  </a:lnTo>
                  <a:lnTo>
                    <a:pt x="982" y="6445"/>
                  </a:lnTo>
                  <a:lnTo>
                    <a:pt x="20618" y="6445"/>
                  </a:lnTo>
                  <a:cubicBezTo>
                    <a:pt x="20618" y="6445"/>
                    <a:pt x="20618" y="8428"/>
                    <a:pt x="20618" y="8428"/>
                  </a:cubicBezTo>
                  <a:close/>
                  <a:moveTo>
                    <a:pt x="18655" y="20327"/>
                  </a:moveTo>
                  <a:lnTo>
                    <a:pt x="2945" y="20327"/>
                  </a:lnTo>
                  <a:lnTo>
                    <a:pt x="2945" y="9420"/>
                  </a:lnTo>
                  <a:lnTo>
                    <a:pt x="18655" y="9420"/>
                  </a:lnTo>
                  <a:cubicBezTo>
                    <a:pt x="18655" y="9420"/>
                    <a:pt x="18655" y="20327"/>
                    <a:pt x="18655" y="20327"/>
                  </a:cubicBezTo>
                  <a:close/>
                  <a:moveTo>
                    <a:pt x="6811" y="1488"/>
                  </a:moveTo>
                  <a:cubicBezTo>
                    <a:pt x="7083" y="1014"/>
                    <a:pt x="7683" y="851"/>
                    <a:pt x="8153" y="1125"/>
                  </a:cubicBezTo>
                  <a:lnTo>
                    <a:pt x="9854" y="2117"/>
                  </a:lnTo>
                  <a:lnTo>
                    <a:pt x="7946" y="5454"/>
                  </a:lnTo>
                  <a:lnTo>
                    <a:pt x="5759" y="5454"/>
                  </a:lnTo>
                  <a:lnTo>
                    <a:pt x="5698" y="5419"/>
                  </a:lnTo>
                  <a:lnTo>
                    <a:pt x="5678" y="5454"/>
                  </a:lnTo>
                  <a:lnTo>
                    <a:pt x="4545" y="5454"/>
                  </a:lnTo>
                  <a:cubicBezTo>
                    <a:pt x="4545" y="5454"/>
                    <a:pt x="6811" y="1488"/>
                    <a:pt x="6811" y="1488"/>
                  </a:cubicBezTo>
                  <a:close/>
                  <a:moveTo>
                    <a:pt x="15577" y="5454"/>
                  </a:moveTo>
                  <a:lnTo>
                    <a:pt x="9079" y="5454"/>
                  </a:lnTo>
                  <a:lnTo>
                    <a:pt x="10704" y="2612"/>
                  </a:lnTo>
                  <a:cubicBezTo>
                    <a:pt x="10704" y="2612"/>
                    <a:pt x="15577" y="5454"/>
                    <a:pt x="15577" y="5454"/>
                  </a:cubicBezTo>
                  <a:close/>
                  <a:moveTo>
                    <a:pt x="15930" y="2759"/>
                  </a:moveTo>
                  <a:cubicBezTo>
                    <a:pt x="16454" y="2617"/>
                    <a:pt x="16991" y="2931"/>
                    <a:pt x="17132" y="3460"/>
                  </a:cubicBezTo>
                  <a:lnTo>
                    <a:pt x="17661" y="5454"/>
                  </a:lnTo>
                  <a:lnTo>
                    <a:pt x="17540" y="5454"/>
                  </a:lnTo>
                  <a:lnTo>
                    <a:pt x="16279" y="4718"/>
                  </a:lnTo>
                  <a:lnTo>
                    <a:pt x="16438" y="4674"/>
                  </a:lnTo>
                  <a:lnTo>
                    <a:pt x="16184" y="3716"/>
                  </a:lnTo>
                  <a:lnTo>
                    <a:pt x="15236" y="3973"/>
                  </a:lnTo>
                  <a:lnTo>
                    <a:pt x="15279" y="4135"/>
                  </a:lnTo>
                  <a:lnTo>
                    <a:pt x="14076" y="3434"/>
                  </a:lnTo>
                  <a:lnTo>
                    <a:pt x="14033" y="3272"/>
                  </a:lnTo>
                  <a:cubicBezTo>
                    <a:pt x="14033" y="3272"/>
                    <a:pt x="15930" y="2759"/>
                    <a:pt x="15930" y="2759"/>
                  </a:cubicBezTo>
                  <a:close/>
                  <a:moveTo>
                    <a:pt x="20618" y="5454"/>
                  </a:moveTo>
                  <a:lnTo>
                    <a:pt x="18678" y="5454"/>
                  </a:lnTo>
                  <a:lnTo>
                    <a:pt x="18081" y="3203"/>
                  </a:lnTo>
                  <a:cubicBezTo>
                    <a:pt x="17800" y="2145"/>
                    <a:pt x="16724" y="1518"/>
                    <a:pt x="15676" y="1801"/>
                  </a:cubicBezTo>
                  <a:lnTo>
                    <a:pt x="12671" y="2615"/>
                  </a:lnTo>
                  <a:lnTo>
                    <a:pt x="8644" y="266"/>
                  </a:lnTo>
                  <a:cubicBezTo>
                    <a:pt x="7704" y="-281"/>
                    <a:pt x="6504" y="44"/>
                    <a:pt x="5961" y="992"/>
                  </a:cubicBezTo>
                  <a:lnTo>
                    <a:pt x="3410" y="5454"/>
                  </a:lnTo>
                  <a:lnTo>
                    <a:pt x="982" y="5454"/>
                  </a:lnTo>
                  <a:cubicBezTo>
                    <a:pt x="440" y="5454"/>
                    <a:pt x="0" y="5898"/>
                    <a:pt x="0" y="6445"/>
                  </a:cubicBezTo>
                  <a:lnTo>
                    <a:pt x="0" y="8428"/>
                  </a:lnTo>
                  <a:cubicBezTo>
                    <a:pt x="0" y="8977"/>
                    <a:pt x="440" y="9420"/>
                    <a:pt x="982" y="9420"/>
                  </a:cubicBezTo>
                  <a:lnTo>
                    <a:pt x="1964" y="9420"/>
                  </a:lnTo>
                  <a:lnTo>
                    <a:pt x="1964" y="20327"/>
                  </a:lnTo>
                  <a:cubicBezTo>
                    <a:pt x="1964" y="20875"/>
                    <a:pt x="2403" y="21319"/>
                    <a:pt x="2945" y="21319"/>
                  </a:cubicBezTo>
                  <a:lnTo>
                    <a:pt x="18655" y="21319"/>
                  </a:lnTo>
                  <a:cubicBezTo>
                    <a:pt x="19197" y="21319"/>
                    <a:pt x="19636" y="20875"/>
                    <a:pt x="19636" y="20327"/>
                  </a:cubicBezTo>
                  <a:lnTo>
                    <a:pt x="19636" y="9420"/>
                  </a:lnTo>
                  <a:lnTo>
                    <a:pt x="20618" y="9420"/>
                  </a:lnTo>
                  <a:cubicBezTo>
                    <a:pt x="21160" y="9420"/>
                    <a:pt x="21600" y="8977"/>
                    <a:pt x="21600" y="8428"/>
                  </a:cubicBezTo>
                  <a:lnTo>
                    <a:pt x="21600" y="6445"/>
                  </a:lnTo>
                  <a:cubicBezTo>
                    <a:pt x="21600" y="5898"/>
                    <a:pt x="21160" y="5454"/>
                    <a:pt x="20618" y="5454"/>
                  </a:cubicBezTo>
                  <a:moveTo>
                    <a:pt x="7855" y="12395"/>
                  </a:moveTo>
                  <a:lnTo>
                    <a:pt x="13745" y="12395"/>
                  </a:lnTo>
                  <a:lnTo>
                    <a:pt x="13745" y="13386"/>
                  </a:lnTo>
                  <a:lnTo>
                    <a:pt x="7855" y="13386"/>
                  </a:lnTo>
                  <a:cubicBezTo>
                    <a:pt x="7855" y="13386"/>
                    <a:pt x="7855" y="12395"/>
                    <a:pt x="7855" y="12395"/>
                  </a:cubicBezTo>
                  <a:close/>
                  <a:moveTo>
                    <a:pt x="7855" y="14378"/>
                  </a:moveTo>
                  <a:lnTo>
                    <a:pt x="13745" y="14378"/>
                  </a:lnTo>
                  <a:cubicBezTo>
                    <a:pt x="14288" y="14378"/>
                    <a:pt x="14727" y="13934"/>
                    <a:pt x="14727" y="13386"/>
                  </a:cubicBezTo>
                  <a:lnTo>
                    <a:pt x="14727" y="12395"/>
                  </a:lnTo>
                  <a:cubicBezTo>
                    <a:pt x="14727" y="11847"/>
                    <a:pt x="14288" y="11403"/>
                    <a:pt x="13745" y="11403"/>
                  </a:cubicBezTo>
                  <a:lnTo>
                    <a:pt x="7855" y="11403"/>
                  </a:lnTo>
                  <a:cubicBezTo>
                    <a:pt x="7312" y="11403"/>
                    <a:pt x="6873" y="11847"/>
                    <a:pt x="6873" y="12395"/>
                  </a:cubicBezTo>
                  <a:lnTo>
                    <a:pt x="6873" y="13386"/>
                  </a:lnTo>
                  <a:cubicBezTo>
                    <a:pt x="6873" y="13934"/>
                    <a:pt x="7312" y="14378"/>
                    <a:pt x="7855" y="14378"/>
                  </a:cubicBezTo>
                </a:path>
              </a:pathLst>
            </a:custGeom>
            <a:solidFill>
              <a:schemeClr val="bg1"/>
            </a:solidFill>
            <a:ln w="12700">
              <a:miter lim="400000"/>
            </a:ln>
          </p:spPr>
          <p:txBody>
            <a:bodyPr lIns="19045" tIns="19045" rIns="19045" bIns="19045" anchor="ctr"/>
            <a:lstStyle/>
            <a:p>
              <a:pPr defTabSz="228532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</a:defRPr>
              </a:pPr>
              <a:endParaRPr sz="1500"/>
            </a:p>
          </p:txBody>
        </p:sp>
        <p:sp>
          <p:nvSpPr>
            <p:cNvPr id="11" name="ïṡļiḑê">
              <a:extLst>
                <a:ext uri="{FF2B5EF4-FFF2-40B4-BE49-F238E27FC236}">
                  <a16:creationId xmlns:a16="http://schemas.microsoft.com/office/drawing/2014/main" id="{9EAE6B9F-89B7-43B8-8EF5-4EAE8EF9C130}"/>
                </a:ext>
              </a:extLst>
            </p:cNvPr>
            <p:cNvSpPr/>
            <p:nvPr/>
          </p:nvSpPr>
          <p:spPr>
            <a:xfrm>
              <a:off x="4578883" y="4378980"/>
              <a:ext cx="313162" cy="25622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636" y="3600"/>
                  </a:moveTo>
                  <a:lnTo>
                    <a:pt x="1964" y="3600"/>
                  </a:lnTo>
                  <a:lnTo>
                    <a:pt x="1964" y="1200"/>
                  </a:lnTo>
                  <a:lnTo>
                    <a:pt x="19636" y="1200"/>
                  </a:lnTo>
                  <a:cubicBezTo>
                    <a:pt x="19636" y="1200"/>
                    <a:pt x="19636" y="3600"/>
                    <a:pt x="19636" y="3600"/>
                  </a:cubicBezTo>
                  <a:close/>
                  <a:moveTo>
                    <a:pt x="17182" y="6000"/>
                  </a:moveTo>
                  <a:lnTo>
                    <a:pt x="17182" y="4800"/>
                  </a:lnTo>
                  <a:lnTo>
                    <a:pt x="19145" y="4800"/>
                  </a:lnTo>
                  <a:lnTo>
                    <a:pt x="19145" y="6000"/>
                  </a:lnTo>
                  <a:cubicBezTo>
                    <a:pt x="19145" y="6662"/>
                    <a:pt x="18705" y="7200"/>
                    <a:pt x="18164" y="7200"/>
                  </a:cubicBezTo>
                  <a:cubicBezTo>
                    <a:pt x="17621" y="7200"/>
                    <a:pt x="17182" y="6662"/>
                    <a:pt x="17182" y="6000"/>
                  </a:cubicBezTo>
                  <a:moveTo>
                    <a:pt x="14236" y="6000"/>
                  </a:moveTo>
                  <a:lnTo>
                    <a:pt x="14236" y="4800"/>
                  </a:lnTo>
                  <a:lnTo>
                    <a:pt x="16200" y="4800"/>
                  </a:lnTo>
                  <a:lnTo>
                    <a:pt x="16200" y="6000"/>
                  </a:lnTo>
                  <a:cubicBezTo>
                    <a:pt x="16200" y="6662"/>
                    <a:pt x="15760" y="7200"/>
                    <a:pt x="15218" y="7200"/>
                  </a:cubicBezTo>
                  <a:cubicBezTo>
                    <a:pt x="14675" y="7200"/>
                    <a:pt x="14236" y="6662"/>
                    <a:pt x="14236" y="6000"/>
                  </a:cubicBezTo>
                  <a:moveTo>
                    <a:pt x="11291" y="6000"/>
                  </a:moveTo>
                  <a:lnTo>
                    <a:pt x="11291" y="4800"/>
                  </a:lnTo>
                  <a:lnTo>
                    <a:pt x="13255" y="4800"/>
                  </a:lnTo>
                  <a:lnTo>
                    <a:pt x="13255" y="6000"/>
                  </a:lnTo>
                  <a:cubicBezTo>
                    <a:pt x="13255" y="6662"/>
                    <a:pt x="12814" y="7200"/>
                    <a:pt x="12273" y="7200"/>
                  </a:cubicBezTo>
                  <a:cubicBezTo>
                    <a:pt x="11730" y="7200"/>
                    <a:pt x="11291" y="6662"/>
                    <a:pt x="11291" y="6000"/>
                  </a:cubicBezTo>
                  <a:moveTo>
                    <a:pt x="8345" y="6000"/>
                  </a:moveTo>
                  <a:lnTo>
                    <a:pt x="8345" y="4800"/>
                  </a:lnTo>
                  <a:lnTo>
                    <a:pt x="10309" y="4800"/>
                  </a:lnTo>
                  <a:lnTo>
                    <a:pt x="10309" y="6000"/>
                  </a:lnTo>
                  <a:cubicBezTo>
                    <a:pt x="10309" y="6662"/>
                    <a:pt x="9869" y="7200"/>
                    <a:pt x="9327" y="7200"/>
                  </a:cubicBezTo>
                  <a:cubicBezTo>
                    <a:pt x="8785" y="7200"/>
                    <a:pt x="8345" y="6662"/>
                    <a:pt x="8345" y="6000"/>
                  </a:cubicBezTo>
                  <a:moveTo>
                    <a:pt x="5400" y="6000"/>
                  </a:moveTo>
                  <a:lnTo>
                    <a:pt x="5400" y="4800"/>
                  </a:lnTo>
                  <a:lnTo>
                    <a:pt x="7364" y="4800"/>
                  </a:lnTo>
                  <a:lnTo>
                    <a:pt x="7364" y="6000"/>
                  </a:lnTo>
                  <a:cubicBezTo>
                    <a:pt x="7364" y="6662"/>
                    <a:pt x="6924" y="7200"/>
                    <a:pt x="6382" y="7200"/>
                  </a:cubicBezTo>
                  <a:cubicBezTo>
                    <a:pt x="5839" y="7200"/>
                    <a:pt x="5400" y="6662"/>
                    <a:pt x="5400" y="6000"/>
                  </a:cubicBezTo>
                  <a:moveTo>
                    <a:pt x="2455" y="6000"/>
                  </a:moveTo>
                  <a:lnTo>
                    <a:pt x="2455" y="4800"/>
                  </a:lnTo>
                  <a:lnTo>
                    <a:pt x="4418" y="4800"/>
                  </a:lnTo>
                  <a:lnTo>
                    <a:pt x="4418" y="6000"/>
                  </a:lnTo>
                  <a:cubicBezTo>
                    <a:pt x="4418" y="6662"/>
                    <a:pt x="3978" y="7200"/>
                    <a:pt x="3436" y="7200"/>
                  </a:cubicBezTo>
                  <a:cubicBezTo>
                    <a:pt x="2894" y="7200"/>
                    <a:pt x="2455" y="6662"/>
                    <a:pt x="2455" y="6000"/>
                  </a:cubicBezTo>
                  <a:moveTo>
                    <a:pt x="19636" y="20400"/>
                  </a:moveTo>
                  <a:lnTo>
                    <a:pt x="12764" y="20400"/>
                  </a:lnTo>
                  <a:lnTo>
                    <a:pt x="12764" y="13800"/>
                  </a:lnTo>
                  <a:cubicBezTo>
                    <a:pt x="12764" y="13469"/>
                    <a:pt x="12544" y="13200"/>
                    <a:pt x="12273" y="13200"/>
                  </a:cubicBezTo>
                  <a:lnTo>
                    <a:pt x="9327" y="13200"/>
                  </a:lnTo>
                  <a:cubicBezTo>
                    <a:pt x="9056" y="13200"/>
                    <a:pt x="8836" y="13469"/>
                    <a:pt x="8836" y="13800"/>
                  </a:cubicBezTo>
                  <a:lnTo>
                    <a:pt x="8836" y="20400"/>
                  </a:lnTo>
                  <a:lnTo>
                    <a:pt x="1964" y="20400"/>
                  </a:lnTo>
                  <a:lnTo>
                    <a:pt x="1964" y="7573"/>
                  </a:lnTo>
                  <a:cubicBezTo>
                    <a:pt x="2324" y="8076"/>
                    <a:pt x="2847" y="8400"/>
                    <a:pt x="3436" y="8400"/>
                  </a:cubicBezTo>
                  <a:cubicBezTo>
                    <a:pt x="4026" y="8400"/>
                    <a:pt x="4549" y="8076"/>
                    <a:pt x="4909" y="7573"/>
                  </a:cubicBezTo>
                  <a:cubicBezTo>
                    <a:pt x="5269" y="8076"/>
                    <a:pt x="5792" y="8400"/>
                    <a:pt x="6382" y="8400"/>
                  </a:cubicBezTo>
                  <a:cubicBezTo>
                    <a:pt x="6971" y="8400"/>
                    <a:pt x="7495" y="8076"/>
                    <a:pt x="7855" y="7573"/>
                  </a:cubicBezTo>
                  <a:cubicBezTo>
                    <a:pt x="8215" y="8076"/>
                    <a:pt x="8738" y="8400"/>
                    <a:pt x="9327" y="8400"/>
                  </a:cubicBezTo>
                  <a:cubicBezTo>
                    <a:pt x="9917" y="8400"/>
                    <a:pt x="10440" y="8076"/>
                    <a:pt x="10800" y="7573"/>
                  </a:cubicBezTo>
                  <a:cubicBezTo>
                    <a:pt x="11160" y="8076"/>
                    <a:pt x="11683" y="8400"/>
                    <a:pt x="12273" y="8400"/>
                  </a:cubicBezTo>
                  <a:cubicBezTo>
                    <a:pt x="12862" y="8400"/>
                    <a:pt x="13385" y="8076"/>
                    <a:pt x="13745" y="7573"/>
                  </a:cubicBezTo>
                  <a:cubicBezTo>
                    <a:pt x="14105" y="8076"/>
                    <a:pt x="14629" y="8400"/>
                    <a:pt x="15218" y="8400"/>
                  </a:cubicBezTo>
                  <a:cubicBezTo>
                    <a:pt x="15808" y="8400"/>
                    <a:pt x="16331" y="8076"/>
                    <a:pt x="16691" y="7573"/>
                  </a:cubicBezTo>
                  <a:cubicBezTo>
                    <a:pt x="17051" y="8076"/>
                    <a:pt x="17574" y="8400"/>
                    <a:pt x="18164" y="8400"/>
                  </a:cubicBezTo>
                  <a:cubicBezTo>
                    <a:pt x="18753" y="8400"/>
                    <a:pt x="19276" y="8076"/>
                    <a:pt x="19636" y="7573"/>
                  </a:cubicBezTo>
                  <a:cubicBezTo>
                    <a:pt x="19636" y="7573"/>
                    <a:pt x="19636" y="20400"/>
                    <a:pt x="19636" y="20400"/>
                  </a:cubicBezTo>
                  <a:close/>
                  <a:moveTo>
                    <a:pt x="11782" y="20400"/>
                  </a:moveTo>
                  <a:lnTo>
                    <a:pt x="9818" y="20400"/>
                  </a:lnTo>
                  <a:lnTo>
                    <a:pt x="9818" y="14400"/>
                  </a:lnTo>
                  <a:lnTo>
                    <a:pt x="11782" y="14400"/>
                  </a:lnTo>
                  <a:cubicBezTo>
                    <a:pt x="11782" y="14400"/>
                    <a:pt x="11782" y="20400"/>
                    <a:pt x="11782" y="20400"/>
                  </a:cubicBezTo>
                  <a:close/>
                  <a:moveTo>
                    <a:pt x="21109" y="20400"/>
                  </a:moveTo>
                  <a:lnTo>
                    <a:pt x="20618" y="20400"/>
                  </a:lnTo>
                  <a:lnTo>
                    <a:pt x="20618" y="4800"/>
                  </a:lnTo>
                  <a:lnTo>
                    <a:pt x="21109" y="4800"/>
                  </a:lnTo>
                  <a:cubicBezTo>
                    <a:pt x="21380" y="4800"/>
                    <a:pt x="21600" y="4532"/>
                    <a:pt x="21600" y="4200"/>
                  </a:cubicBezTo>
                  <a:cubicBezTo>
                    <a:pt x="21600" y="3868"/>
                    <a:pt x="21380" y="3600"/>
                    <a:pt x="21109" y="3600"/>
                  </a:cubicBezTo>
                  <a:lnTo>
                    <a:pt x="20618" y="3600"/>
                  </a:lnTo>
                  <a:lnTo>
                    <a:pt x="20618" y="1200"/>
                  </a:lnTo>
                  <a:cubicBezTo>
                    <a:pt x="20618" y="538"/>
                    <a:pt x="20178" y="0"/>
                    <a:pt x="19636" y="0"/>
                  </a:cubicBezTo>
                  <a:lnTo>
                    <a:pt x="1964" y="0"/>
                  </a:lnTo>
                  <a:cubicBezTo>
                    <a:pt x="1421" y="0"/>
                    <a:pt x="982" y="538"/>
                    <a:pt x="982" y="1200"/>
                  </a:cubicBezTo>
                  <a:lnTo>
                    <a:pt x="982" y="3600"/>
                  </a:lnTo>
                  <a:lnTo>
                    <a:pt x="491" y="3600"/>
                  </a:lnTo>
                  <a:cubicBezTo>
                    <a:pt x="220" y="3600"/>
                    <a:pt x="0" y="3868"/>
                    <a:pt x="0" y="4200"/>
                  </a:cubicBezTo>
                  <a:cubicBezTo>
                    <a:pt x="0" y="4532"/>
                    <a:pt x="220" y="4800"/>
                    <a:pt x="491" y="4800"/>
                  </a:cubicBezTo>
                  <a:lnTo>
                    <a:pt x="982" y="4800"/>
                  </a:lnTo>
                  <a:lnTo>
                    <a:pt x="982" y="20400"/>
                  </a:lnTo>
                  <a:lnTo>
                    <a:pt x="491" y="20400"/>
                  </a:lnTo>
                  <a:cubicBezTo>
                    <a:pt x="220" y="20400"/>
                    <a:pt x="0" y="20669"/>
                    <a:pt x="0" y="21000"/>
                  </a:cubicBezTo>
                  <a:cubicBezTo>
                    <a:pt x="0" y="21332"/>
                    <a:pt x="220" y="21600"/>
                    <a:pt x="491" y="21600"/>
                  </a:cubicBezTo>
                  <a:lnTo>
                    <a:pt x="21109" y="21600"/>
                  </a:lnTo>
                  <a:cubicBezTo>
                    <a:pt x="21380" y="21600"/>
                    <a:pt x="21600" y="21332"/>
                    <a:pt x="21600" y="21000"/>
                  </a:cubicBezTo>
                  <a:cubicBezTo>
                    <a:pt x="21600" y="20669"/>
                    <a:pt x="21380" y="20400"/>
                    <a:pt x="21109" y="20400"/>
                  </a:cubicBezTo>
                  <a:moveTo>
                    <a:pt x="16691" y="16800"/>
                  </a:moveTo>
                  <a:lnTo>
                    <a:pt x="14727" y="16800"/>
                  </a:lnTo>
                  <a:lnTo>
                    <a:pt x="14727" y="14400"/>
                  </a:lnTo>
                  <a:lnTo>
                    <a:pt x="16691" y="14400"/>
                  </a:lnTo>
                  <a:cubicBezTo>
                    <a:pt x="16691" y="14400"/>
                    <a:pt x="16691" y="16800"/>
                    <a:pt x="16691" y="16800"/>
                  </a:cubicBezTo>
                  <a:close/>
                  <a:moveTo>
                    <a:pt x="17182" y="13200"/>
                  </a:moveTo>
                  <a:lnTo>
                    <a:pt x="14236" y="13200"/>
                  </a:lnTo>
                  <a:cubicBezTo>
                    <a:pt x="13965" y="13200"/>
                    <a:pt x="13745" y="13469"/>
                    <a:pt x="13745" y="13800"/>
                  </a:cubicBezTo>
                  <a:lnTo>
                    <a:pt x="13745" y="17400"/>
                  </a:lnTo>
                  <a:cubicBezTo>
                    <a:pt x="13745" y="17732"/>
                    <a:pt x="13965" y="18000"/>
                    <a:pt x="14236" y="18000"/>
                  </a:cubicBezTo>
                  <a:lnTo>
                    <a:pt x="17182" y="18000"/>
                  </a:lnTo>
                  <a:cubicBezTo>
                    <a:pt x="17453" y="18000"/>
                    <a:pt x="17673" y="17732"/>
                    <a:pt x="17673" y="17400"/>
                  </a:cubicBezTo>
                  <a:lnTo>
                    <a:pt x="17673" y="13800"/>
                  </a:lnTo>
                  <a:cubicBezTo>
                    <a:pt x="17673" y="13469"/>
                    <a:pt x="17453" y="13200"/>
                    <a:pt x="17182" y="13200"/>
                  </a:cubicBezTo>
                  <a:moveTo>
                    <a:pt x="6873" y="16800"/>
                  </a:moveTo>
                  <a:lnTo>
                    <a:pt x="4909" y="16800"/>
                  </a:lnTo>
                  <a:lnTo>
                    <a:pt x="4909" y="14400"/>
                  </a:lnTo>
                  <a:lnTo>
                    <a:pt x="6873" y="14400"/>
                  </a:lnTo>
                  <a:cubicBezTo>
                    <a:pt x="6873" y="14400"/>
                    <a:pt x="6873" y="16800"/>
                    <a:pt x="6873" y="16800"/>
                  </a:cubicBezTo>
                  <a:close/>
                  <a:moveTo>
                    <a:pt x="7364" y="13200"/>
                  </a:moveTo>
                  <a:lnTo>
                    <a:pt x="4418" y="13200"/>
                  </a:lnTo>
                  <a:cubicBezTo>
                    <a:pt x="4147" y="13200"/>
                    <a:pt x="3927" y="13469"/>
                    <a:pt x="3927" y="13800"/>
                  </a:cubicBezTo>
                  <a:lnTo>
                    <a:pt x="3927" y="17400"/>
                  </a:lnTo>
                  <a:cubicBezTo>
                    <a:pt x="3927" y="17732"/>
                    <a:pt x="4147" y="18000"/>
                    <a:pt x="4418" y="18000"/>
                  </a:cubicBezTo>
                  <a:lnTo>
                    <a:pt x="7364" y="18000"/>
                  </a:lnTo>
                  <a:cubicBezTo>
                    <a:pt x="7635" y="18000"/>
                    <a:pt x="7855" y="17732"/>
                    <a:pt x="7855" y="17400"/>
                  </a:cubicBezTo>
                  <a:lnTo>
                    <a:pt x="7855" y="13800"/>
                  </a:lnTo>
                  <a:cubicBezTo>
                    <a:pt x="7855" y="13469"/>
                    <a:pt x="7635" y="13200"/>
                    <a:pt x="7364" y="13200"/>
                  </a:cubicBezTo>
                </a:path>
              </a:pathLst>
            </a:custGeom>
            <a:solidFill>
              <a:schemeClr val="bg1"/>
            </a:solidFill>
            <a:ln w="12700">
              <a:miter lim="400000"/>
            </a:ln>
          </p:spPr>
          <p:txBody>
            <a:bodyPr lIns="19045" tIns="19045" rIns="19045" bIns="19045" anchor="ctr"/>
            <a:lstStyle/>
            <a:p>
              <a:pPr defTabSz="228532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</a:defRPr>
              </a:pPr>
              <a:endParaRPr sz="1500"/>
            </a:p>
          </p:txBody>
        </p:sp>
        <p:sp>
          <p:nvSpPr>
            <p:cNvPr id="12" name="iṧļîḑé">
              <a:extLst>
                <a:ext uri="{FF2B5EF4-FFF2-40B4-BE49-F238E27FC236}">
                  <a16:creationId xmlns:a16="http://schemas.microsoft.com/office/drawing/2014/main" id="{342111AF-F234-4D33-9589-FE0F8D63A99B}"/>
                </a:ext>
              </a:extLst>
            </p:cNvPr>
            <p:cNvSpPr/>
            <p:nvPr/>
          </p:nvSpPr>
          <p:spPr>
            <a:xfrm>
              <a:off x="5796449" y="3448714"/>
              <a:ext cx="542305" cy="54230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732" y="6661"/>
                  </a:moveTo>
                  <a:cubicBezTo>
                    <a:pt x="20540" y="6471"/>
                    <a:pt x="20228" y="6473"/>
                    <a:pt x="20038" y="6667"/>
                  </a:cubicBezTo>
                  <a:cubicBezTo>
                    <a:pt x="19903" y="6804"/>
                    <a:pt x="19870" y="7000"/>
                    <a:pt x="19929" y="7171"/>
                  </a:cubicBezTo>
                  <a:lnTo>
                    <a:pt x="19918" y="7175"/>
                  </a:lnTo>
                  <a:cubicBezTo>
                    <a:pt x="20365" y="8298"/>
                    <a:pt x="20618" y="9518"/>
                    <a:pt x="20618" y="10800"/>
                  </a:cubicBezTo>
                  <a:cubicBezTo>
                    <a:pt x="20618" y="16223"/>
                    <a:pt x="16223" y="20618"/>
                    <a:pt x="10800" y="20618"/>
                  </a:cubicBezTo>
                  <a:cubicBezTo>
                    <a:pt x="5378" y="20618"/>
                    <a:pt x="982" y="16223"/>
                    <a:pt x="982" y="10800"/>
                  </a:cubicBezTo>
                  <a:cubicBezTo>
                    <a:pt x="982" y="5377"/>
                    <a:pt x="5378" y="982"/>
                    <a:pt x="10800" y="982"/>
                  </a:cubicBezTo>
                  <a:cubicBezTo>
                    <a:pt x="13575" y="982"/>
                    <a:pt x="16077" y="2136"/>
                    <a:pt x="17862" y="3989"/>
                  </a:cubicBezTo>
                  <a:lnTo>
                    <a:pt x="17868" y="3982"/>
                  </a:lnTo>
                  <a:cubicBezTo>
                    <a:pt x="18062" y="4157"/>
                    <a:pt x="18359" y="4153"/>
                    <a:pt x="18544" y="3965"/>
                  </a:cubicBezTo>
                  <a:cubicBezTo>
                    <a:pt x="18734" y="3771"/>
                    <a:pt x="18732" y="3461"/>
                    <a:pt x="18539" y="3270"/>
                  </a:cubicBezTo>
                  <a:cubicBezTo>
                    <a:pt x="18520" y="3252"/>
                    <a:pt x="18496" y="3244"/>
                    <a:pt x="18476" y="3230"/>
                  </a:cubicBezTo>
                  <a:cubicBezTo>
                    <a:pt x="16521" y="1241"/>
                    <a:pt x="13810" y="0"/>
                    <a:pt x="10800" y="0"/>
                  </a:cubicBezTo>
                  <a:cubicBezTo>
                    <a:pt x="4835" y="0"/>
                    <a:pt x="0" y="4835"/>
                    <a:pt x="0" y="10800"/>
                  </a:cubicBezTo>
                  <a:cubicBezTo>
                    <a:pt x="0" y="16764"/>
                    <a:pt x="4835" y="21600"/>
                    <a:pt x="10800" y="21600"/>
                  </a:cubicBezTo>
                  <a:cubicBezTo>
                    <a:pt x="16765" y="21600"/>
                    <a:pt x="21600" y="16764"/>
                    <a:pt x="21600" y="10800"/>
                  </a:cubicBezTo>
                  <a:cubicBezTo>
                    <a:pt x="21600" y="9412"/>
                    <a:pt x="21329" y="8089"/>
                    <a:pt x="20851" y="6869"/>
                  </a:cubicBezTo>
                  <a:cubicBezTo>
                    <a:pt x="20828" y="6794"/>
                    <a:pt x="20793" y="6721"/>
                    <a:pt x="20732" y="6661"/>
                  </a:cubicBezTo>
                  <a:moveTo>
                    <a:pt x="10792" y="13534"/>
                  </a:moveTo>
                  <a:lnTo>
                    <a:pt x="6238" y="8980"/>
                  </a:lnTo>
                  <a:cubicBezTo>
                    <a:pt x="6149" y="8891"/>
                    <a:pt x="6027" y="8836"/>
                    <a:pt x="5891" y="8836"/>
                  </a:cubicBezTo>
                  <a:cubicBezTo>
                    <a:pt x="5620" y="8836"/>
                    <a:pt x="5400" y="9056"/>
                    <a:pt x="5400" y="9327"/>
                  </a:cubicBezTo>
                  <a:cubicBezTo>
                    <a:pt x="5400" y="9463"/>
                    <a:pt x="5455" y="9585"/>
                    <a:pt x="5544" y="9675"/>
                  </a:cubicBezTo>
                  <a:lnTo>
                    <a:pt x="10453" y="14583"/>
                  </a:lnTo>
                  <a:cubicBezTo>
                    <a:pt x="10542" y="14672"/>
                    <a:pt x="10664" y="14727"/>
                    <a:pt x="10800" y="14727"/>
                  </a:cubicBezTo>
                  <a:cubicBezTo>
                    <a:pt x="10940" y="14727"/>
                    <a:pt x="11064" y="14668"/>
                    <a:pt x="11154" y="14574"/>
                  </a:cubicBezTo>
                  <a:lnTo>
                    <a:pt x="11155" y="14576"/>
                  </a:lnTo>
                  <a:lnTo>
                    <a:pt x="19353" y="5988"/>
                  </a:lnTo>
                  <a:cubicBezTo>
                    <a:pt x="19353" y="5989"/>
                    <a:pt x="19354" y="5990"/>
                    <a:pt x="19354" y="5991"/>
                  </a:cubicBezTo>
                  <a:lnTo>
                    <a:pt x="20055" y="5255"/>
                  </a:lnTo>
                  <a:cubicBezTo>
                    <a:pt x="20055" y="5255"/>
                    <a:pt x="20054" y="5254"/>
                    <a:pt x="20054" y="5253"/>
                  </a:cubicBezTo>
                  <a:lnTo>
                    <a:pt x="21464" y="3775"/>
                  </a:lnTo>
                  <a:lnTo>
                    <a:pt x="21463" y="3774"/>
                  </a:lnTo>
                  <a:cubicBezTo>
                    <a:pt x="21547" y="3686"/>
                    <a:pt x="21600" y="3567"/>
                    <a:pt x="21600" y="3436"/>
                  </a:cubicBezTo>
                  <a:cubicBezTo>
                    <a:pt x="21600" y="3166"/>
                    <a:pt x="21380" y="2945"/>
                    <a:pt x="21109" y="2945"/>
                  </a:cubicBezTo>
                  <a:cubicBezTo>
                    <a:pt x="20969" y="2945"/>
                    <a:pt x="20844" y="3005"/>
                    <a:pt x="20755" y="3099"/>
                  </a:cubicBezTo>
                  <a:lnTo>
                    <a:pt x="20754" y="3097"/>
                  </a:lnTo>
                  <a:lnTo>
                    <a:pt x="19493" y="4419"/>
                  </a:lnTo>
                  <a:cubicBezTo>
                    <a:pt x="19492" y="4418"/>
                    <a:pt x="19491" y="4416"/>
                    <a:pt x="19490" y="4415"/>
                  </a:cubicBezTo>
                  <a:lnTo>
                    <a:pt x="18805" y="5133"/>
                  </a:lnTo>
                  <a:cubicBezTo>
                    <a:pt x="18806" y="5134"/>
                    <a:pt x="18807" y="5136"/>
                    <a:pt x="18807" y="5137"/>
                  </a:cubicBezTo>
                  <a:cubicBezTo>
                    <a:pt x="18807" y="5137"/>
                    <a:pt x="10792" y="13534"/>
                    <a:pt x="10792" y="13534"/>
                  </a:cubicBezTo>
                  <a:close/>
                </a:path>
              </a:pathLst>
            </a:custGeom>
            <a:solidFill>
              <a:schemeClr val="bg1"/>
            </a:solidFill>
            <a:ln w="12700">
              <a:miter lim="400000"/>
            </a:ln>
          </p:spPr>
          <p:txBody>
            <a:bodyPr lIns="19045" tIns="19045" rIns="19045" bIns="19045" anchor="ctr"/>
            <a:lstStyle/>
            <a:p>
              <a:pPr defTabSz="228532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</a:defRPr>
              </a:pPr>
              <a:endParaRPr sz="1500"/>
            </a:p>
          </p:txBody>
        </p:sp>
        <p:sp>
          <p:nvSpPr>
            <p:cNvPr id="14" name="iṥ1íḋe">
              <a:extLst>
                <a:ext uri="{FF2B5EF4-FFF2-40B4-BE49-F238E27FC236}">
                  <a16:creationId xmlns:a16="http://schemas.microsoft.com/office/drawing/2014/main" id="{67FB061D-31CD-4089-B0E7-A477AD1CF8B2}"/>
                </a:ext>
              </a:extLst>
            </p:cNvPr>
            <p:cNvSpPr txBox="1"/>
            <p:nvPr/>
          </p:nvSpPr>
          <p:spPr bwMode="auto">
            <a:xfrm>
              <a:off x="669925" y="1353584"/>
              <a:ext cx="3523335" cy="166532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0000" tIns="46800" rIns="90000" bIns="46800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 eaLnBrk="1" hangingPunct="1">
                <a:lnSpc>
                  <a:spcPct val="150000"/>
                </a:lnSpc>
                <a:spcBef>
                  <a:spcPct val="0"/>
                </a:spcBef>
                <a:buFontTx/>
                <a:buNone/>
              </a:pPr>
              <a:r>
                <a:rPr lang="zh-CN" altLang="en-US" sz="2800" b="1" dirty="0"/>
                <a:t>营养支持</a:t>
              </a:r>
              <a:endParaRPr lang="en-US" altLang="zh-CN" sz="2800" b="1" dirty="0"/>
            </a:p>
            <a:p>
              <a:pPr algn="ctr" eaLnBrk="1" hangingPunct="1">
                <a:lnSpc>
                  <a:spcPct val="150000"/>
                </a:lnSpc>
                <a:spcBef>
                  <a:spcPct val="0"/>
                </a:spcBef>
                <a:buFontTx/>
                <a:buNone/>
              </a:pPr>
              <a:r>
                <a:rPr lang="zh-CN" altLang="en-US" sz="2800" b="1" dirty="0"/>
                <a:t>提高手术耐受力</a:t>
              </a:r>
              <a:endParaRPr lang="en-US" altLang="zh-CN" sz="2800" b="1" dirty="0"/>
            </a:p>
          </p:txBody>
        </p:sp>
        <p:cxnSp>
          <p:nvCxnSpPr>
            <p:cNvPr id="15" name="直接连接符 14">
              <a:extLst>
                <a:ext uri="{FF2B5EF4-FFF2-40B4-BE49-F238E27FC236}">
                  <a16:creationId xmlns:a16="http://schemas.microsoft.com/office/drawing/2014/main" id="{557C7F5B-BD87-4A1E-962B-0B89C8BDA176}"/>
                </a:ext>
              </a:extLst>
            </p:cNvPr>
            <p:cNvCxnSpPr/>
            <p:nvPr/>
          </p:nvCxnSpPr>
          <p:spPr>
            <a:xfrm>
              <a:off x="667134" y="2750325"/>
              <a:ext cx="3358866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  <a:headEnd type="none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iSlïḑé">
              <a:extLst>
                <a:ext uri="{FF2B5EF4-FFF2-40B4-BE49-F238E27FC236}">
                  <a16:creationId xmlns:a16="http://schemas.microsoft.com/office/drawing/2014/main" id="{BD0B5575-423B-42E2-858A-4D9D435258B3}"/>
                </a:ext>
              </a:extLst>
            </p:cNvPr>
            <p:cNvSpPr txBox="1"/>
            <p:nvPr/>
          </p:nvSpPr>
          <p:spPr bwMode="auto">
            <a:xfrm>
              <a:off x="669925" y="3431718"/>
              <a:ext cx="3523335" cy="143799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0000" tIns="46800" rIns="90000" bIns="46800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 eaLnBrk="1" hangingPunct="1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r>
                <a:rPr lang="zh-CN" altLang="en-US" sz="3200" b="1" dirty="0"/>
                <a:t>肠道准备</a:t>
              </a:r>
              <a:endParaRPr lang="en-US" altLang="zh-CN" sz="3200" b="1" dirty="0"/>
            </a:p>
          </p:txBody>
        </p:sp>
        <p:cxnSp>
          <p:nvCxnSpPr>
            <p:cNvPr id="18" name="直接连接符 17">
              <a:extLst>
                <a:ext uri="{FF2B5EF4-FFF2-40B4-BE49-F238E27FC236}">
                  <a16:creationId xmlns:a16="http://schemas.microsoft.com/office/drawing/2014/main" id="{FBE0F6CC-C55A-4A40-9A59-3204FFEAC8C5}"/>
                </a:ext>
              </a:extLst>
            </p:cNvPr>
            <p:cNvCxnSpPr/>
            <p:nvPr/>
          </p:nvCxnSpPr>
          <p:spPr>
            <a:xfrm>
              <a:off x="667134" y="4530014"/>
              <a:ext cx="3358866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  <a:headEnd type="none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" name="i$ḻîḋè">
              <a:extLst>
                <a:ext uri="{FF2B5EF4-FFF2-40B4-BE49-F238E27FC236}">
                  <a16:creationId xmlns:a16="http://schemas.microsoft.com/office/drawing/2014/main" id="{061D4708-16B6-402E-9DE7-5A172DC85423}"/>
                </a:ext>
              </a:extLst>
            </p:cNvPr>
            <p:cNvSpPr txBox="1"/>
            <p:nvPr/>
          </p:nvSpPr>
          <p:spPr bwMode="auto">
            <a:xfrm>
              <a:off x="669925" y="4894714"/>
              <a:ext cx="3523335" cy="11149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0000" tIns="46800" rIns="90000" bIns="46800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 eaLnBrk="1" hangingPunct="1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r>
                <a:rPr lang="zh-CN" altLang="en-US" sz="3200" b="1" dirty="0"/>
                <a:t>坐浴及阴道冲洗</a:t>
              </a:r>
              <a:endParaRPr lang="en-US" altLang="zh-CN" sz="3200" b="1" dirty="0"/>
            </a:p>
          </p:txBody>
        </p:sp>
        <p:sp>
          <p:nvSpPr>
            <p:cNvPr id="22" name="îṩ1íḑe">
              <a:extLst>
                <a:ext uri="{FF2B5EF4-FFF2-40B4-BE49-F238E27FC236}">
                  <a16:creationId xmlns:a16="http://schemas.microsoft.com/office/drawing/2014/main" id="{6A6B1DA3-BF5A-44E2-9D60-0209FC97D597}"/>
                </a:ext>
              </a:extLst>
            </p:cNvPr>
            <p:cNvSpPr txBox="1"/>
            <p:nvPr/>
          </p:nvSpPr>
          <p:spPr bwMode="auto">
            <a:xfrm>
              <a:off x="7922725" y="1641397"/>
              <a:ext cx="3523335" cy="8785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0000" tIns="46800" rIns="90000" bIns="46800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 eaLnBrk="1" hangingPunct="1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r>
                <a:rPr lang="zh-CN" altLang="en-US" sz="3200" b="1" dirty="0"/>
                <a:t>肠造口定位</a:t>
              </a:r>
              <a:endParaRPr lang="en-US" altLang="zh-CN" sz="3200" b="1" dirty="0"/>
            </a:p>
          </p:txBody>
        </p:sp>
        <p:cxnSp>
          <p:nvCxnSpPr>
            <p:cNvPr id="23" name="直接连接符 22">
              <a:extLst>
                <a:ext uri="{FF2B5EF4-FFF2-40B4-BE49-F238E27FC236}">
                  <a16:creationId xmlns:a16="http://schemas.microsoft.com/office/drawing/2014/main" id="{487C31AF-24C1-474E-85CC-2A942D0B616F}"/>
                </a:ext>
              </a:extLst>
            </p:cNvPr>
            <p:cNvCxnSpPr/>
            <p:nvPr/>
          </p:nvCxnSpPr>
          <p:spPr>
            <a:xfrm>
              <a:off x="7987836" y="2750325"/>
              <a:ext cx="3358866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  <a:headEnd type="none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íś1íďê">
              <a:extLst>
                <a:ext uri="{FF2B5EF4-FFF2-40B4-BE49-F238E27FC236}">
                  <a16:creationId xmlns:a16="http://schemas.microsoft.com/office/drawing/2014/main" id="{B15CF916-5893-4C25-999A-C553D83B77AD}"/>
                </a:ext>
              </a:extLst>
            </p:cNvPr>
            <p:cNvSpPr txBox="1"/>
            <p:nvPr/>
          </p:nvSpPr>
          <p:spPr bwMode="auto">
            <a:xfrm>
              <a:off x="7997153" y="2857560"/>
              <a:ext cx="3523335" cy="15762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0000" tIns="46800" rIns="90000" bIns="46800">
              <a:no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 eaLnBrk="1" hangingPunct="1">
                <a:lnSpc>
                  <a:spcPct val="150000"/>
                </a:lnSpc>
                <a:spcBef>
                  <a:spcPct val="0"/>
                </a:spcBef>
                <a:buFontTx/>
                <a:buNone/>
              </a:pPr>
              <a:r>
                <a:rPr lang="zh-CN" altLang="en-US" sz="2800" b="1" dirty="0"/>
                <a:t>手术日晨</a:t>
              </a:r>
              <a:endParaRPr lang="en-US" altLang="zh-CN" sz="2800" b="1" dirty="0"/>
            </a:p>
            <a:p>
              <a:pPr algn="ctr" eaLnBrk="1" hangingPunct="1">
                <a:lnSpc>
                  <a:spcPct val="150000"/>
                </a:lnSpc>
                <a:spcBef>
                  <a:spcPct val="0"/>
                </a:spcBef>
                <a:buFontTx/>
                <a:buNone/>
              </a:pPr>
              <a:r>
                <a:rPr lang="zh-CN" altLang="en-US" sz="2800" b="1" dirty="0"/>
                <a:t>置胃管和尿管</a:t>
              </a:r>
              <a:endParaRPr lang="en-US" altLang="zh-CN" sz="2800" b="1" dirty="0"/>
            </a:p>
          </p:txBody>
        </p:sp>
        <p:cxnSp>
          <p:nvCxnSpPr>
            <p:cNvPr id="26" name="直接连接符 25">
              <a:extLst>
                <a:ext uri="{FF2B5EF4-FFF2-40B4-BE49-F238E27FC236}">
                  <a16:creationId xmlns:a16="http://schemas.microsoft.com/office/drawing/2014/main" id="{BF77C462-4D8E-452A-8EA6-40AF9A404447}"/>
                </a:ext>
              </a:extLst>
            </p:cNvPr>
            <p:cNvCxnSpPr/>
            <p:nvPr/>
          </p:nvCxnSpPr>
          <p:spPr>
            <a:xfrm>
              <a:off x="7987836" y="4530014"/>
              <a:ext cx="3358866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  <a:headEnd type="none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8" name="işlíḓe">
              <a:extLst>
                <a:ext uri="{FF2B5EF4-FFF2-40B4-BE49-F238E27FC236}">
                  <a16:creationId xmlns:a16="http://schemas.microsoft.com/office/drawing/2014/main" id="{7A3856FC-2AD0-493B-93DB-0F6AEB0983C1}"/>
                </a:ext>
              </a:extLst>
            </p:cNvPr>
            <p:cNvSpPr txBox="1"/>
            <p:nvPr/>
          </p:nvSpPr>
          <p:spPr bwMode="auto">
            <a:xfrm>
              <a:off x="7997153" y="4818001"/>
              <a:ext cx="3523335" cy="15075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0000" tIns="46800" rIns="90000" bIns="46800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 eaLnBrk="1" hangingPunct="1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r>
                <a:rPr lang="zh-CN" altLang="en-US" sz="3200" b="1" dirty="0"/>
                <a:t>心理护理</a:t>
              </a:r>
              <a:endParaRPr lang="en-US" altLang="zh-CN" sz="3200" b="1" dirty="0"/>
            </a:p>
          </p:txBody>
        </p:sp>
      </p:grpSp>
      <p:sp>
        <p:nvSpPr>
          <p:cNvPr id="2" name="文本框 1">
            <a:extLst>
              <a:ext uri="{FF2B5EF4-FFF2-40B4-BE49-F238E27FC236}">
                <a16:creationId xmlns:a16="http://schemas.microsoft.com/office/drawing/2014/main" id="{8DE2B64E-7259-4535-AB4D-B7AEB4C28C24}"/>
              </a:ext>
            </a:extLst>
          </p:cNvPr>
          <p:cNvSpPr txBox="1"/>
          <p:nvPr/>
        </p:nvSpPr>
        <p:spPr>
          <a:xfrm>
            <a:off x="4529470" y="1028700"/>
            <a:ext cx="312597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3200" b="1" dirty="0">
                <a:solidFill>
                  <a:srgbClr val="002060"/>
                </a:solidFill>
              </a:rPr>
              <a:t>术前护理</a:t>
            </a:r>
          </a:p>
        </p:txBody>
      </p:sp>
    </p:spTree>
    <p:extLst>
      <p:ext uri="{BB962C8B-B14F-4D97-AF65-F5344CB8AC3E}">
        <p14:creationId xmlns:p14="http://schemas.microsoft.com/office/powerpoint/2010/main" val="2902042417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框 2">
            <a:extLst>
              <a:ext uri="{FF2B5EF4-FFF2-40B4-BE49-F238E27FC236}">
                <a16:creationId xmlns:a16="http://schemas.microsoft.com/office/drawing/2014/main" id="{9B60BF93-EA8A-46AD-9628-FAD9C828F3E8}"/>
              </a:ext>
            </a:extLst>
          </p:cNvPr>
          <p:cNvSpPr txBox="1"/>
          <p:nvPr/>
        </p:nvSpPr>
        <p:spPr>
          <a:xfrm>
            <a:off x="669925" y="422414"/>
            <a:ext cx="5454503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4000" b="1" dirty="0"/>
              <a:t>护理措施</a:t>
            </a:r>
          </a:p>
        </p:txBody>
      </p:sp>
      <p:grpSp>
        <p:nvGrpSpPr>
          <p:cNvPr id="4" name="1185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58533C85-42F4-4864-9C90-2A390BD07A08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74428" y="1826119"/>
            <a:ext cx="12157411" cy="4631939"/>
            <a:chOff x="72841" y="1156270"/>
            <a:chExt cx="12157411" cy="4631939"/>
          </a:xfrm>
        </p:grpSpPr>
        <p:grpSp>
          <p:nvGrpSpPr>
            <p:cNvPr id="5" name="íṧľíďe">
              <a:extLst>
                <a:ext uri="{FF2B5EF4-FFF2-40B4-BE49-F238E27FC236}">
                  <a16:creationId xmlns:a16="http://schemas.microsoft.com/office/drawing/2014/main" id="{786B25FA-20C2-48F4-8AD4-3365B0712882}"/>
                </a:ext>
              </a:extLst>
            </p:cNvPr>
            <p:cNvGrpSpPr/>
            <p:nvPr/>
          </p:nvGrpSpPr>
          <p:grpSpPr>
            <a:xfrm>
              <a:off x="673100" y="2391036"/>
              <a:ext cx="10845801" cy="2216971"/>
              <a:chOff x="673100" y="2082800"/>
              <a:chExt cx="10845801" cy="2216971"/>
            </a:xfrm>
          </p:grpSpPr>
          <p:sp>
            <p:nvSpPr>
              <p:cNvPr id="27" name="îṥ1ïḓè">
                <a:extLst>
                  <a:ext uri="{FF2B5EF4-FFF2-40B4-BE49-F238E27FC236}">
                    <a16:creationId xmlns:a16="http://schemas.microsoft.com/office/drawing/2014/main" id="{0995D0F8-95B3-421B-AA2D-C8AD70746F49}"/>
                  </a:ext>
                </a:extLst>
              </p:cNvPr>
              <p:cNvSpPr/>
              <p:nvPr/>
            </p:nvSpPr>
            <p:spPr>
              <a:xfrm>
                <a:off x="673100" y="2082800"/>
                <a:ext cx="1568057" cy="1109772"/>
              </a:xfrm>
              <a:prstGeom prst="diamond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r>
                  <a:rPr lang="en-US" altLang="zh-CN" dirty="0"/>
                  <a:t>01</a:t>
                </a:r>
                <a:endParaRPr dirty="0"/>
              </a:p>
            </p:txBody>
          </p:sp>
          <p:sp>
            <p:nvSpPr>
              <p:cNvPr id="28" name="ïṣḻídê">
                <a:extLst>
                  <a:ext uri="{FF2B5EF4-FFF2-40B4-BE49-F238E27FC236}">
                    <a16:creationId xmlns:a16="http://schemas.microsoft.com/office/drawing/2014/main" id="{913025E1-DAE4-4FDA-99AF-4AA93887DF81}"/>
                  </a:ext>
                </a:extLst>
              </p:cNvPr>
              <p:cNvSpPr/>
              <p:nvPr/>
            </p:nvSpPr>
            <p:spPr>
              <a:xfrm>
                <a:off x="1447474" y="2637684"/>
                <a:ext cx="1568057" cy="1109772"/>
              </a:xfrm>
              <a:prstGeom prst="diamond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/>
              </a:p>
            </p:txBody>
          </p:sp>
          <p:sp>
            <p:nvSpPr>
              <p:cNvPr id="29" name="íṣľiḋé">
                <a:extLst>
                  <a:ext uri="{FF2B5EF4-FFF2-40B4-BE49-F238E27FC236}">
                    <a16:creationId xmlns:a16="http://schemas.microsoft.com/office/drawing/2014/main" id="{95A4E3E1-404A-4A96-871A-48F029BCC158}"/>
                  </a:ext>
                </a:extLst>
              </p:cNvPr>
              <p:cNvSpPr/>
              <p:nvPr/>
            </p:nvSpPr>
            <p:spPr>
              <a:xfrm>
                <a:off x="2228199" y="3179357"/>
                <a:ext cx="1568057" cy="1109772"/>
              </a:xfrm>
              <a:prstGeom prst="diamond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r>
                  <a:rPr lang="en-US" altLang="zh-CN" dirty="0"/>
                  <a:t>02</a:t>
                </a:r>
                <a:endParaRPr dirty="0"/>
              </a:p>
            </p:txBody>
          </p:sp>
          <p:sp>
            <p:nvSpPr>
              <p:cNvPr id="30" name="íšliḋé">
                <a:extLst>
                  <a:ext uri="{FF2B5EF4-FFF2-40B4-BE49-F238E27FC236}">
                    <a16:creationId xmlns:a16="http://schemas.microsoft.com/office/drawing/2014/main" id="{83E7E564-6FF2-4AAE-A97D-2C78CC966F55}"/>
                  </a:ext>
                </a:extLst>
              </p:cNvPr>
              <p:cNvSpPr/>
              <p:nvPr/>
            </p:nvSpPr>
            <p:spPr>
              <a:xfrm>
                <a:off x="2989074" y="2633097"/>
                <a:ext cx="1568057" cy="1109772"/>
              </a:xfrm>
              <a:prstGeom prst="diamond">
                <a:avLst/>
              </a:prstGeom>
              <a:solidFill>
                <a:schemeClr val="tx2">
                  <a:lumMod val="40000"/>
                  <a:lumOff val="6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/>
              </a:p>
            </p:txBody>
          </p:sp>
          <p:sp>
            <p:nvSpPr>
              <p:cNvPr id="31" name="ïŝľiḓê">
                <a:extLst>
                  <a:ext uri="{FF2B5EF4-FFF2-40B4-BE49-F238E27FC236}">
                    <a16:creationId xmlns:a16="http://schemas.microsoft.com/office/drawing/2014/main" id="{16713032-3BEA-494F-A6BE-F976BAD125E2}"/>
                  </a:ext>
                </a:extLst>
              </p:cNvPr>
              <p:cNvSpPr/>
              <p:nvPr/>
            </p:nvSpPr>
            <p:spPr>
              <a:xfrm>
                <a:off x="3756557" y="2089405"/>
                <a:ext cx="1568057" cy="1109772"/>
              </a:xfrm>
              <a:prstGeom prst="diamond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r>
                  <a:rPr lang="en-US" altLang="zh-CN" dirty="0"/>
                  <a:t>03</a:t>
                </a:r>
                <a:endParaRPr dirty="0"/>
              </a:p>
            </p:txBody>
          </p:sp>
          <p:sp>
            <p:nvSpPr>
              <p:cNvPr id="32" name="íṩḻiďè">
                <a:extLst>
                  <a:ext uri="{FF2B5EF4-FFF2-40B4-BE49-F238E27FC236}">
                    <a16:creationId xmlns:a16="http://schemas.microsoft.com/office/drawing/2014/main" id="{19CD140D-9E89-46C9-BE32-BE797BF85EF8}"/>
                  </a:ext>
                </a:extLst>
              </p:cNvPr>
              <p:cNvSpPr/>
              <p:nvPr/>
            </p:nvSpPr>
            <p:spPr>
              <a:xfrm>
                <a:off x="4517433" y="2624472"/>
                <a:ext cx="1568057" cy="1109772"/>
              </a:xfrm>
              <a:prstGeom prst="diamond">
                <a:avLst/>
              </a:pr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/>
              </a:p>
            </p:txBody>
          </p:sp>
          <p:sp>
            <p:nvSpPr>
              <p:cNvPr id="33" name="ïṣľîďé">
                <a:extLst>
                  <a:ext uri="{FF2B5EF4-FFF2-40B4-BE49-F238E27FC236}">
                    <a16:creationId xmlns:a16="http://schemas.microsoft.com/office/drawing/2014/main" id="{7BBE95E7-3F2F-48DF-92EC-01CCC23AC7D4}"/>
                  </a:ext>
                </a:extLst>
              </p:cNvPr>
              <p:cNvSpPr/>
              <p:nvPr/>
            </p:nvSpPr>
            <p:spPr>
              <a:xfrm>
                <a:off x="5300521" y="3171180"/>
                <a:ext cx="1568057" cy="1109772"/>
              </a:xfrm>
              <a:prstGeom prst="diamond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r>
                  <a:rPr lang="en-US" altLang="zh-CN" dirty="0"/>
                  <a:t>04</a:t>
                </a:r>
                <a:endParaRPr dirty="0"/>
              </a:p>
            </p:txBody>
          </p:sp>
          <p:sp>
            <p:nvSpPr>
              <p:cNvPr id="34" name="iŝḻíde">
                <a:extLst>
                  <a:ext uri="{FF2B5EF4-FFF2-40B4-BE49-F238E27FC236}">
                    <a16:creationId xmlns:a16="http://schemas.microsoft.com/office/drawing/2014/main" id="{4C0DA84D-C20D-47F6-A053-3A9D26AF754D}"/>
                  </a:ext>
                </a:extLst>
              </p:cNvPr>
              <p:cNvSpPr/>
              <p:nvPr/>
            </p:nvSpPr>
            <p:spPr>
              <a:xfrm>
                <a:off x="6068021" y="2628167"/>
                <a:ext cx="1568057" cy="1109772"/>
              </a:xfrm>
              <a:prstGeom prst="diamond">
                <a:avLst/>
              </a:prstGeom>
              <a:solidFill>
                <a:schemeClr val="tx2">
                  <a:lumMod val="40000"/>
                  <a:lumOff val="6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/>
              </a:p>
            </p:txBody>
          </p:sp>
          <p:sp>
            <p:nvSpPr>
              <p:cNvPr id="35" name="îṣ1íḓé">
                <a:extLst>
                  <a:ext uri="{FF2B5EF4-FFF2-40B4-BE49-F238E27FC236}">
                    <a16:creationId xmlns:a16="http://schemas.microsoft.com/office/drawing/2014/main" id="{61F6B24B-FA71-4949-9360-AE932B5D221A}"/>
                  </a:ext>
                </a:extLst>
              </p:cNvPr>
              <p:cNvSpPr/>
              <p:nvPr/>
            </p:nvSpPr>
            <p:spPr>
              <a:xfrm>
                <a:off x="6820597" y="2096874"/>
                <a:ext cx="1568057" cy="1109772"/>
              </a:xfrm>
              <a:prstGeom prst="diamond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r>
                  <a:rPr lang="en-US" altLang="zh-CN" dirty="0"/>
                  <a:t>05</a:t>
                </a:r>
                <a:endParaRPr dirty="0"/>
              </a:p>
            </p:txBody>
          </p:sp>
          <p:sp>
            <p:nvSpPr>
              <p:cNvPr id="36" name="ïṡlîďe">
                <a:extLst>
                  <a:ext uri="{FF2B5EF4-FFF2-40B4-BE49-F238E27FC236}">
                    <a16:creationId xmlns:a16="http://schemas.microsoft.com/office/drawing/2014/main" id="{0731DD83-6925-4F50-BFD9-C1CAD87E08ED}"/>
                  </a:ext>
                </a:extLst>
              </p:cNvPr>
              <p:cNvSpPr/>
              <p:nvPr/>
            </p:nvSpPr>
            <p:spPr>
              <a:xfrm>
                <a:off x="7583867" y="2639701"/>
                <a:ext cx="1568057" cy="1109772"/>
              </a:xfrm>
              <a:prstGeom prst="diamond">
                <a:avLst/>
              </a:pr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/>
              </a:p>
            </p:txBody>
          </p:sp>
          <p:sp>
            <p:nvSpPr>
              <p:cNvPr id="37" name="ïŝḻiďé">
                <a:extLst>
                  <a:ext uri="{FF2B5EF4-FFF2-40B4-BE49-F238E27FC236}">
                    <a16:creationId xmlns:a16="http://schemas.microsoft.com/office/drawing/2014/main" id="{6BDDC7DD-48C3-4254-8FB7-4DD2E7E37A31}"/>
                  </a:ext>
                </a:extLst>
              </p:cNvPr>
              <p:cNvSpPr/>
              <p:nvPr/>
            </p:nvSpPr>
            <p:spPr>
              <a:xfrm>
                <a:off x="8380472" y="3189999"/>
                <a:ext cx="1568057" cy="1109772"/>
              </a:xfrm>
              <a:prstGeom prst="diamond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r>
                  <a:rPr lang="en-US" altLang="zh-CN" dirty="0"/>
                  <a:t>06</a:t>
                </a:r>
                <a:endParaRPr dirty="0"/>
              </a:p>
            </p:txBody>
          </p:sp>
          <p:sp>
            <p:nvSpPr>
              <p:cNvPr id="38" name="ï$ḷïḍé">
                <a:extLst>
                  <a:ext uri="{FF2B5EF4-FFF2-40B4-BE49-F238E27FC236}">
                    <a16:creationId xmlns:a16="http://schemas.microsoft.com/office/drawing/2014/main" id="{3E9681DA-4AE6-4121-A0C3-CA86371A5D4F}"/>
                  </a:ext>
                </a:extLst>
              </p:cNvPr>
              <p:cNvSpPr/>
              <p:nvPr/>
            </p:nvSpPr>
            <p:spPr>
              <a:xfrm>
                <a:off x="9175452" y="2633094"/>
                <a:ext cx="1568057" cy="1109772"/>
              </a:xfrm>
              <a:prstGeom prst="diamond">
                <a:avLst/>
              </a:prstGeom>
              <a:solidFill>
                <a:schemeClr val="tx2">
                  <a:lumMod val="40000"/>
                  <a:lumOff val="6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/>
              </a:p>
            </p:txBody>
          </p:sp>
          <p:sp>
            <p:nvSpPr>
              <p:cNvPr id="39" name="iṣḻîdé">
                <a:extLst>
                  <a:ext uri="{FF2B5EF4-FFF2-40B4-BE49-F238E27FC236}">
                    <a16:creationId xmlns:a16="http://schemas.microsoft.com/office/drawing/2014/main" id="{99A8D089-D695-4719-9B15-62BFF889F3C2}"/>
                  </a:ext>
                </a:extLst>
              </p:cNvPr>
              <p:cNvSpPr/>
              <p:nvPr/>
            </p:nvSpPr>
            <p:spPr>
              <a:xfrm>
                <a:off x="9950844" y="2084987"/>
                <a:ext cx="1568057" cy="1109773"/>
              </a:xfrm>
              <a:prstGeom prst="diamond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r>
                  <a:rPr lang="en-US" altLang="zh-CN" dirty="0"/>
                  <a:t>07</a:t>
                </a:r>
                <a:endParaRPr dirty="0"/>
              </a:p>
            </p:txBody>
          </p:sp>
        </p:grpSp>
        <p:sp>
          <p:nvSpPr>
            <p:cNvPr id="26" name="îSḷíḋè">
              <a:extLst>
                <a:ext uri="{FF2B5EF4-FFF2-40B4-BE49-F238E27FC236}">
                  <a16:creationId xmlns:a16="http://schemas.microsoft.com/office/drawing/2014/main" id="{01025B2A-69E2-4208-91D3-099CE76091A6}"/>
                </a:ext>
              </a:extLst>
            </p:cNvPr>
            <p:cNvSpPr txBox="1"/>
            <p:nvPr/>
          </p:nvSpPr>
          <p:spPr bwMode="auto">
            <a:xfrm>
              <a:off x="72841" y="1156270"/>
              <a:ext cx="3317357" cy="1172262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 anchorCtr="0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zh-CN" altLang="en-US" sz="3200" b="1" dirty="0"/>
                <a:t>体 位</a:t>
              </a:r>
              <a:endParaRPr lang="en-US" altLang="zh-CN" sz="3200" b="1" dirty="0"/>
            </a:p>
          </p:txBody>
        </p:sp>
        <p:sp>
          <p:nvSpPr>
            <p:cNvPr id="24" name="îSḷiḍê">
              <a:extLst>
                <a:ext uri="{FF2B5EF4-FFF2-40B4-BE49-F238E27FC236}">
                  <a16:creationId xmlns:a16="http://schemas.microsoft.com/office/drawing/2014/main" id="{C2014FE5-A726-4CA1-AAEE-1626DFEC59A0}"/>
                </a:ext>
              </a:extLst>
            </p:cNvPr>
            <p:cNvSpPr txBox="1"/>
            <p:nvPr/>
          </p:nvSpPr>
          <p:spPr bwMode="auto">
            <a:xfrm>
              <a:off x="2914301" y="1156270"/>
              <a:ext cx="3317357" cy="1172262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 anchorCtr="0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zh-CN" altLang="en-US" sz="3200" b="1" dirty="0"/>
                <a:t>饮 食</a:t>
              </a:r>
              <a:endParaRPr lang="en-US" altLang="zh-CN" sz="3200" b="1" dirty="0"/>
            </a:p>
          </p:txBody>
        </p:sp>
        <p:sp>
          <p:nvSpPr>
            <p:cNvPr id="22" name="îśľîḓè">
              <a:extLst>
                <a:ext uri="{FF2B5EF4-FFF2-40B4-BE49-F238E27FC236}">
                  <a16:creationId xmlns:a16="http://schemas.microsoft.com/office/drawing/2014/main" id="{CA271DBB-323D-4C9D-93F8-B72646E38604}"/>
                </a:ext>
              </a:extLst>
            </p:cNvPr>
            <p:cNvSpPr txBox="1"/>
            <p:nvPr/>
          </p:nvSpPr>
          <p:spPr bwMode="auto">
            <a:xfrm>
              <a:off x="6001493" y="1156270"/>
              <a:ext cx="3317357" cy="1172262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 anchorCtr="0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zh-CN" altLang="en-US" sz="3200" b="1" dirty="0"/>
                <a:t>严密观察病情</a:t>
              </a:r>
              <a:endParaRPr lang="en-US" altLang="zh-CN" sz="3200" b="1" dirty="0"/>
            </a:p>
          </p:txBody>
        </p:sp>
        <p:sp>
          <p:nvSpPr>
            <p:cNvPr id="20" name="ïṥ1íḓe">
              <a:extLst>
                <a:ext uri="{FF2B5EF4-FFF2-40B4-BE49-F238E27FC236}">
                  <a16:creationId xmlns:a16="http://schemas.microsoft.com/office/drawing/2014/main" id="{DA32D670-6D0B-441D-8C10-22079BF3ABDF}"/>
                </a:ext>
              </a:extLst>
            </p:cNvPr>
            <p:cNvSpPr txBox="1"/>
            <p:nvPr/>
          </p:nvSpPr>
          <p:spPr bwMode="auto">
            <a:xfrm>
              <a:off x="8912895" y="1156270"/>
              <a:ext cx="3317357" cy="1172262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 anchorCtr="0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zh-CN" altLang="en-US" sz="3200" b="1" dirty="0"/>
                <a:t>引流管护理</a:t>
              </a:r>
              <a:endParaRPr lang="en-US" altLang="zh-CN" sz="3200" b="1" dirty="0"/>
            </a:p>
          </p:txBody>
        </p:sp>
        <p:sp>
          <p:nvSpPr>
            <p:cNvPr id="18" name="ïṣlïdé">
              <a:extLst>
                <a:ext uri="{FF2B5EF4-FFF2-40B4-BE49-F238E27FC236}">
                  <a16:creationId xmlns:a16="http://schemas.microsoft.com/office/drawing/2014/main" id="{4AA31D65-EC3A-4774-8F66-CA58DF3F2027}"/>
                </a:ext>
              </a:extLst>
            </p:cNvPr>
            <p:cNvSpPr txBox="1"/>
            <p:nvPr/>
          </p:nvSpPr>
          <p:spPr bwMode="auto">
            <a:xfrm>
              <a:off x="1409095" y="4615947"/>
              <a:ext cx="3317357" cy="1172262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 anchorCtr="0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zh-CN" altLang="en-US" sz="3200" b="1" dirty="0"/>
                <a:t>活 动</a:t>
              </a:r>
              <a:endParaRPr lang="en-US" altLang="zh-CN" sz="3200" b="1" dirty="0"/>
            </a:p>
          </p:txBody>
        </p:sp>
        <p:sp>
          <p:nvSpPr>
            <p:cNvPr id="16" name="iṩļíďè">
              <a:extLst>
                <a:ext uri="{FF2B5EF4-FFF2-40B4-BE49-F238E27FC236}">
                  <a16:creationId xmlns:a16="http://schemas.microsoft.com/office/drawing/2014/main" id="{D4E7D718-EE53-4BEF-942C-34672A47E2A5}"/>
                </a:ext>
              </a:extLst>
            </p:cNvPr>
            <p:cNvSpPr txBox="1"/>
            <p:nvPr/>
          </p:nvSpPr>
          <p:spPr bwMode="auto">
            <a:xfrm>
              <a:off x="4492868" y="4615947"/>
              <a:ext cx="3317357" cy="1172262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 anchorCtr="0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zh-CN" altLang="en-US" sz="3200" b="1" dirty="0">
                  <a:solidFill>
                    <a:srgbClr val="C00000"/>
                  </a:solidFill>
                </a:rPr>
                <a:t>结肠造口的护理</a:t>
              </a:r>
              <a:endParaRPr lang="en-US" altLang="zh-CN" sz="3200" b="1" dirty="0">
                <a:solidFill>
                  <a:srgbClr val="C00000"/>
                </a:solidFill>
              </a:endParaRPr>
            </a:p>
          </p:txBody>
        </p:sp>
        <p:sp>
          <p:nvSpPr>
            <p:cNvPr id="14" name="ïSḻiḍè">
              <a:extLst>
                <a:ext uri="{FF2B5EF4-FFF2-40B4-BE49-F238E27FC236}">
                  <a16:creationId xmlns:a16="http://schemas.microsoft.com/office/drawing/2014/main" id="{3B8F7ADA-97D0-49A1-81E9-B7C0E8841D3C}"/>
                </a:ext>
              </a:extLst>
            </p:cNvPr>
            <p:cNvSpPr txBox="1"/>
            <p:nvPr/>
          </p:nvSpPr>
          <p:spPr bwMode="auto">
            <a:xfrm>
              <a:off x="7799928" y="4605315"/>
              <a:ext cx="3317357" cy="1172262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 anchorCtr="0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zh-CN" altLang="en-US" sz="3200" b="1" dirty="0"/>
                <a:t>术后并发症</a:t>
              </a:r>
              <a:endParaRPr lang="en-US" altLang="zh-CN" sz="3200" b="1" dirty="0"/>
            </a:p>
            <a:p>
              <a:pPr algn="ctr"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zh-CN" altLang="en-US" sz="3200" b="1" dirty="0"/>
                <a:t>的观察和护理</a:t>
              </a:r>
              <a:endParaRPr lang="en-US" altLang="zh-CN" sz="3200" b="1" dirty="0"/>
            </a:p>
          </p:txBody>
        </p:sp>
      </p:grpSp>
      <p:sp>
        <p:nvSpPr>
          <p:cNvPr id="40" name="文本框 39">
            <a:extLst>
              <a:ext uri="{FF2B5EF4-FFF2-40B4-BE49-F238E27FC236}">
                <a16:creationId xmlns:a16="http://schemas.microsoft.com/office/drawing/2014/main" id="{109420B4-FDD8-4CB7-A0C4-5D9DEBE4C127}"/>
              </a:ext>
            </a:extLst>
          </p:cNvPr>
          <p:cNvSpPr txBox="1"/>
          <p:nvPr/>
        </p:nvSpPr>
        <p:spPr>
          <a:xfrm>
            <a:off x="4529470" y="1028700"/>
            <a:ext cx="312597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3200" b="1" dirty="0">
                <a:solidFill>
                  <a:srgbClr val="002060"/>
                </a:solidFill>
              </a:rPr>
              <a:t>术后护理</a:t>
            </a:r>
          </a:p>
        </p:txBody>
      </p:sp>
    </p:spTree>
    <p:extLst>
      <p:ext uri="{BB962C8B-B14F-4D97-AF65-F5344CB8AC3E}">
        <p14:creationId xmlns:p14="http://schemas.microsoft.com/office/powerpoint/2010/main" val="731086077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框 2">
            <a:extLst>
              <a:ext uri="{FF2B5EF4-FFF2-40B4-BE49-F238E27FC236}">
                <a16:creationId xmlns:a16="http://schemas.microsoft.com/office/drawing/2014/main" id="{9B60BF93-EA8A-46AD-9628-FAD9C828F3E8}"/>
              </a:ext>
            </a:extLst>
          </p:cNvPr>
          <p:cNvSpPr txBox="1"/>
          <p:nvPr/>
        </p:nvSpPr>
        <p:spPr>
          <a:xfrm>
            <a:off x="669925" y="422414"/>
            <a:ext cx="5454503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4000" b="1" dirty="0"/>
              <a:t>护理措施</a:t>
            </a:r>
          </a:p>
        </p:txBody>
      </p:sp>
      <p:grpSp>
        <p:nvGrpSpPr>
          <p:cNvPr id="4" name="218603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FA55008D-DAC3-4215-B782-C8580A4549A5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205662" y="1286541"/>
            <a:ext cx="11713436" cy="5571460"/>
            <a:chOff x="662862" y="1186797"/>
            <a:chExt cx="10866276" cy="4960003"/>
          </a:xfrm>
        </p:grpSpPr>
        <p:sp>
          <p:nvSpPr>
            <p:cNvPr id="5" name="iŝḻîḍê">
              <a:extLst>
                <a:ext uri="{FF2B5EF4-FFF2-40B4-BE49-F238E27FC236}">
                  <a16:creationId xmlns:a16="http://schemas.microsoft.com/office/drawing/2014/main" id="{7DEF5C12-BC0F-45BF-AB44-7C539FE30C39}"/>
                </a:ext>
              </a:extLst>
            </p:cNvPr>
            <p:cNvSpPr/>
            <p:nvPr/>
          </p:nvSpPr>
          <p:spPr>
            <a:xfrm>
              <a:off x="662862" y="5875143"/>
              <a:ext cx="10866276" cy="271657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 fontScale="92500" lnSpcReduction="20000"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/>
              <a:endParaRPr lang="en-US"/>
            </a:p>
          </p:txBody>
        </p:sp>
        <p:grpSp>
          <p:nvGrpSpPr>
            <p:cNvPr id="6" name="isļïḑé">
              <a:extLst>
                <a:ext uri="{FF2B5EF4-FFF2-40B4-BE49-F238E27FC236}">
                  <a16:creationId xmlns:a16="http://schemas.microsoft.com/office/drawing/2014/main" id="{AB260F51-1573-4CCB-A9D7-AA485312BB76}"/>
                </a:ext>
              </a:extLst>
            </p:cNvPr>
            <p:cNvGrpSpPr/>
            <p:nvPr/>
          </p:nvGrpSpPr>
          <p:grpSpPr>
            <a:xfrm>
              <a:off x="965932" y="1186797"/>
              <a:ext cx="3794708" cy="4688346"/>
              <a:chOff x="1724886" y="2630715"/>
              <a:chExt cx="2626015" cy="3244428"/>
            </a:xfrm>
          </p:grpSpPr>
          <p:sp>
            <p:nvSpPr>
              <p:cNvPr id="27" name="íšḻîďê">
                <a:extLst>
                  <a:ext uri="{FF2B5EF4-FFF2-40B4-BE49-F238E27FC236}">
                    <a16:creationId xmlns:a16="http://schemas.microsoft.com/office/drawing/2014/main" id="{661BB9F8-85F1-4C63-A689-A2DBF67FB529}"/>
                  </a:ext>
                </a:extLst>
              </p:cNvPr>
              <p:cNvSpPr/>
              <p:nvPr/>
            </p:nvSpPr>
            <p:spPr>
              <a:xfrm>
                <a:off x="2836117" y="5196001"/>
                <a:ext cx="362209" cy="679142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>
                <a:norm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/>
                <a:endParaRPr lang="en-US"/>
              </a:p>
            </p:txBody>
          </p:sp>
          <p:grpSp>
            <p:nvGrpSpPr>
              <p:cNvPr id="28" name="išľïďê">
                <a:extLst>
                  <a:ext uri="{FF2B5EF4-FFF2-40B4-BE49-F238E27FC236}">
                    <a16:creationId xmlns:a16="http://schemas.microsoft.com/office/drawing/2014/main" id="{A5A9B41C-C87D-494B-9C88-779438A75360}"/>
                  </a:ext>
                </a:extLst>
              </p:cNvPr>
              <p:cNvGrpSpPr/>
              <p:nvPr/>
            </p:nvGrpSpPr>
            <p:grpSpPr>
              <a:xfrm>
                <a:off x="1724886" y="2630715"/>
                <a:ext cx="2626015" cy="2583758"/>
                <a:chOff x="1724886" y="2748073"/>
                <a:chExt cx="2626015" cy="2583758"/>
              </a:xfrm>
            </p:grpSpPr>
            <p:sp>
              <p:nvSpPr>
                <p:cNvPr id="29" name="ïšlíďê">
                  <a:extLst>
                    <a:ext uri="{FF2B5EF4-FFF2-40B4-BE49-F238E27FC236}">
                      <a16:creationId xmlns:a16="http://schemas.microsoft.com/office/drawing/2014/main" id="{BE6D0136-0B6F-455F-9E3A-54A6AAE6988F}"/>
                    </a:ext>
                  </a:extLst>
                </p:cNvPr>
                <p:cNvSpPr/>
                <p:nvPr/>
              </p:nvSpPr>
              <p:spPr bwMode="auto">
                <a:xfrm>
                  <a:off x="2926671" y="2748073"/>
                  <a:ext cx="1424230" cy="1407105"/>
                </a:xfrm>
                <a:custGeom>
                  <a:avLst/>
                  <a:gdLst/>
                  <a:ahLst/>
                  <a:cxnLst>
                    <a:cxn ang="0">
                      <a:pos x="230" y="155"/>
                    </a:cxn>
                    <a:cxn ang="0">
                      <a:pos x="196" y="151"/>
                    </a:cxn>
                    <a:cxn ang="0">
                      <a:pos x="32" y="315"/>
                    </a:cxn>
                    <a:cxn ang="0">
                      <a:pos x="7" y="315"/>
                    </a:cxn>
                    <a:cxn ang="0">
                      <a:pos x="7" y="291"/>
                    </a:cxn>
                    <a:cxn ang="0">
                      <a:pos x="171" y="126"/>
                    </a:cxn>
                    <a:cxn ang="0">
                      <a:pos x="168" y="93"/>
                    </a:cxn>
                    <a:cxn ang="0">
                      <a:pos x="260" y="0"/>
                    </a:cxn>
                    <a:cxn ang="0">
                      <a:pos x="273" y="50"/>
                    </a:cxn>
                    <a:cxn ang="0">
                      <a:pos x="322" y="62"/>
                    </a:cxn>
                    <a:cxn ang="0">
                      <a:pos x="230" y="155"/>
                    </a:cxn>
                  </a:cxnLst>
                  <a:rect l="0" t="0" r="r" b="b"/>
                  <a:pathLst>
                    <a:path w="322" h="322">
                      <a:moveTo>
                        <a:pt x="230" y="155"/>
                      </a:moveTo>
                      <a:cubicBezTo>
                        <a:pt x="196" y="151"/>
                        <a:pt x="196" y="151"/>
                        <a:pt x="196" y="151"/>
                      </a:cubicBezTo>
                      <a:cubicBezTo>
                        <a:pt x="32" y="315"/>
                        <a:pt x="32" y="315"/>
                        <a:pt x="32" y="315"/>
                      </a:cubicBezTo>
                      <a:cubicBezTo>
                        <a:pt x="25" y="322"/>
                        <a:pt x="14" y="322"/>
                        <a:pt x="7" y="315"/>
                      </a:cubicBezTo>
                      <a:cubicBezTo>
                        <a:pt x="0" y="309"/>
                        <a:pt x="0" y="298"/>
                        <a:pt x="7" y="291"/>
                      </a:cubicBezTo>
                      <a:cubicBezTo>
                        <a:pt x="171" y="126"/>
                        <a:pt x="171" y="126"/>
                        <a:pt x="171" y="126"/>
                      </a:cubicBezTo>
                      <a:cubicBezTo>
                        <a:pt x="168" y="93"/>
                        <a:pt x="168" y="93"/>
                        <a:pt x="168" y="93"/>
                      </a:cubicBezTo>
                      <a:cubicBezTo>
                        <a:pt x="260" y="0"/>
                        <a:pt x="260" y="0"/>
                        <a:pt x="260" y="0"/>
                      </a:cubicBezTo>
                      <a:cubicBezTo>
                        <a:pt x="273" y="50"/>
                        <a:pt x="273" y="50"/>
                        <a:pt x="273" y="50"/>
                      </a:cubicBezTo>
                      <a:cubicBezTo>
                        <a:pt x="322" y="62"/>
                        <a:pt x="322" y="62"/>
                        <a:pt x="322" y="62"/>
                      </a:cubicBezTo>
                      <a:lnTo>
                        <a:pt x="230" y="155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rmAutofit/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endParaRPr lang="en-US"/>
                </a:p>
              </p:txBody>
            </p:sp>
            <p:sp>
              <p:nvSpPr>
                <p:cNvPr id="30" name="iŝ1îḑè">
                  <a:extLst>
                    <a:ext uri="{FF2B5EF4-FFF2-40B4-BE49-F238E27FC236}">
                      <a16:creationId xmlns:a16="http://schemas.microsoft.com/office/drawing/2014/main" id="{4EE869B3-05CA-4889-B783-9B233E45115E}"/>
                    </a:ext>
                  </a:extLst>
                </p:cNvPr>
                <p:cNvSpPr/>
                <p:nvPr/>
              </p:nvSpPr>
              <p:spPr bwMode="auto">
                <a:xfrm>
                  <a:off x="2162637" y="3241902"/>
                  <a:ext cx="1677017" cy="1657066"/>
                </a:xfrm>
                <a:custGeom>
                  <a:avLst/>
                  <a:gdLst/>
                  <a:ahLst/>
                  <a:cxnLst>
                    <a:cxn ang="0">
                      <a:pos x="350" y="90"/>
                    </a:cxn>
                    <a:cxn ang="0">
                      <a:pos x="325" y="115"/>
                    </a:cxn>
                    <a:cxn ang="0">
                      <a:pos x="344" y="189"/>
                    </a:cxn>
                    <a:cxn ang="0">
                      <a:pos x="189" y="344"/>
                    </a:cxn>
                    <a:cxn ang="0">
                      <a:pos x="35" y="189"/>
                    </a:cxn>
                    <a:cxn ang="0">
                      <a:pos x="189" y="35"/>
                    </a:cxn>
                    <a:cxn ang="0">
                      <a:pos x="263" y="54"/>
                    </a:cxn>
                    <a:cxn ang="0">
                      <a:pos x="289" y="28"/>
                    </a:cxn>
                    <a:cxn ang="0">
                      <a:pos x="189" y="0"/>
                    </a:cxn>
                    <a:cxn ang="0">
                      <a:pos x="0" y="189"/>
                    </a:cxn>
                    <a:cxn ang="0">
                      <a:pos x="189" y="379"/>
                    </a:cxn>
                    <a:cxn ang="0">
                      <a:pos x="379" y="189"/>
                    </a:cxn>
                    <a:cxn ang="0">
                      <a:pos x="350" y="90"/>
                    </a:cxn>
                  </a:cxnLst>
                  <a:rect l="0" t="0" r="r" b="b"/>
                  <a:pathLst>
                    <a:path w="379" h="379">
                      <a:moveTo>
                        <a:pt x="350" y="90"/>
                      </a:moveTo>
                      <a:cubicBezTo>
                        <a:pt x="325" y="115"/>
                        <a:pt x="325" y="115"/>
                        <a:pt x="325" y="115"/>
                      </a:cubicBezTo>
                      <a:cubicBezTo>
                        <a:pt x="337" y="137"/>
                        <a:pt x="344" y="163"/>
                        <a:pt x="344" y="189"/>
                      </a:cubicBezTo>
                      <a:cubicBezTo>
                        <a:pt x="344" y="275"/>
                        <a:pt x="274" y="344"/>
                        <a:pt x="189" y="344"/>
                      </a:cubicBezTo>
                      <a:cubicBezTo>
                        <a:pt x="104" y="344"/>
                        <a:pt x="35" y="275"/>
                        <a:pt x="35" y="189"/>
                      </a:cubicBezTo>
                      <a:cubicBezTo>
                        <a:pt x="35" y="104"/>
                        <a:pt x="104" y="35"/>
                        <a:pt x="189" y="35"/>
                      </a:cubicBezTo>
                      <a:cubicBezTo>
                        <a:pt x="216" y="35"/>
                        <a:pt x="241" y="42"/>
                        <a:pt x="263" y="54"/>
                      </a:cubicBezTo>
                      <a:cubicBezTo>
                        <a:pt x="289" y="28"/>
                        <a:pt x="289" y="28"/>
                        <a:pt x="289" y="28"/>
                      </a:cubicBezTo>
                      <a:cubicBezTo>
                        <a:pt x="260" y="10"/>
                        <a:pt x="226" y="0"/>
                        <a:pt x="189" y="0"/>
                      </a:cubicBezTo>
                      <a:cubicBezTo>
                        <a:pt x="85" y="0"/>
                        <a:pt x="0" y="85"/>
                        <a:pt x="0" y="189"/>
                      </a:cubicBezTo>
                      <a:cubicBezTo>
                        <a:pt x="0" y="294"/>
                        <a:pt x="85" y="379"/>
                        <a:pt x="189" y="379"/>
                      </a:cubicBezTo>
                      <a:cubicBezTo>
                        <a:pt x="294" y="379"/>
                        <a:pt x="379" y="294"/>
                        <a:pt x="379" y="189"/>
                      </a:cubicBezTo>
                      <a:cubicBezTo>
                        <a:pt x="379" y="153"/>
                        <a:pt x="368" y="119"/>
                        <a:pt x="350" y="90"/>
                      </a:cubicBezTo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rmAutofit/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endParaRPr lang="en-US"/>
                </a:p>
              </p:txBody>
            </p:sp>
            <p:sp>
              <p:nvSpPr>
                <p:cNvPr id="31" name="ïśļíḑé">
                  <a:extLst>
                    <a:ext uri="{FF2B5EF4-FFF2-40B4-BE49-F238E27FC236}">
                      <a16:creationId xmlns:a16="http://schemas.microsoft.com/office/drawing/2014/main" id="{DDDC08B1-500A-4D25-8CE0-FAF40F15A31E}"/>
                    </a:ext>
                  </a:extLst>
                </p:cNvPr>
                <p:cNvSpPr/>
                <p:nvPr/>
              </p:nvSpPr>
              <p:spPr bwMode="auto">
                <a:xfrm>
                  <a:off x="2579425" y="3656474"/>
                  <a:ext cx="839741" cy="826704"/>
                </a:xfrm>
                <a:custGeom>
                  <a:avLst/>
                  <a:gdLst/>
                  <a:ahLst/>
                  <a:cxnLst>
                    <a:cxn ang="0">
                      <a:pos x="185" y="66"/>
                    </a:cxn>
                    <a:cxn ang="0">
                      <a:pos x="155" y="97"/>
                    </a:cxn>
                    <a:cxn ang="0">
                      <a:pos x="95" y="154"/>
                    </a:cxn>
                    <a:cxn ang="0">
                      <a:pos x="35" y="94"/>
                    </a:cxn>
                    <a:cxn ang="0">
                      <a:pos x="93" y="35"/>
                    </a:cxn>
                    <a:cxn ang="0">
                      <a:pos x="124" y="4"/>
                    </a:cxn>
                    <a:cxn ang="0">
                      <a:pos x="95" y="0"/>
                    </a:cxn>
                    <a:cxn ang="0">
                      <a:pos x="0" y="94"/>
                    </a:cxn>
                    <a:cxn ang="0">
                      <a:pos x="95" y="189"/>
                    </a:cxn>
                    <a:cxn ang="0">
                      <a:pos x="190" y="94"/>
                    </a:cxn>
                    <a:cxn ang="0">
                      <a:pos x="185" y="66"/>
                    </a:cxn>
                  </a:cxnLst>
                  <a:rect l="0" t="0" r="r" b="b"/>
                  <a:pathLst>
                    <a:path w="190" h="189">
                      <a:moveTo>
                        <a:pt x="185" y="66"/>
                      </a:moveTo>
                      <a:cubicBezTo>
                        <a:pt x="155" y="97"/>
                        <a:pt x="155" y="97"/>
                        <a:pt x="155" y="97"/>
                      </a:cubicBezTo>
                      <a:cubicBezTo>
                        <a:pt x="154" y="129"/>
                        <a:pt x="127" y="154"/>
                        <a:pt x="95" y="154"/>
                      </a:cubicBezTo>
                      <a:cubicBezTo>
                        <a:pt x="62" y="154"/>
                        <a:pt x="35" y="127"/>
                        <a:pt x="35" y="94"/>
                      </a:cubicBezTo>
                      <a:cubicBezTo>
                        <a:pt x="35" y="62"/>
                        <a:pt x="61" y="36"/>
                        <a:pt x="93" y="35"/>
                      </a:cubicBezTo>
                      <a:cubicBezTo>
                        <a:pt x="124" y="4"/>
                        <a:pt x="124" y="4"/>
                        <a:pt x="124" y="4"/>
                      </a:cubicBezTo>
                      <a:cubicBezTo>
                        <a:pt x="115" y="1"/>
                        <a:pt x="105" y="0"/>
                        <a:pt x="95" y="0"/>
                      </a:cubicBezTo>
                      <a:cubicBezTo>
                        <a:pt x="43" y="0"/>
                        <a:pt x="0" y="42"/>
                        <a:pt x="0" y="94"/>
                      </a:cubicBezTo>
                      <a:cubicBezTo>
                        <a:pt x="0" y="147"/>
                        <a:pt x="43" y="189"/>
                        <a:pt x="95" y="189"/>
                      </a:cubicBezTo>
                      <a:cubicBezTo>
                        <a:pt x="147" y="189"/>
                        <a:pt x="190" y="147"/>
                        <a:pt x="190" y="94"/>
                      </a:cubicBezTo>
                      <a:cubicBezTo>
                        <a:pt x="190" y="84"/>
                        <a:pt x="188" y="75"/>
                        <a:pt x="185" y="66"/>
                      </a:cubicBezTo>
                    </a:path>
                  </a:pathLst>
                </a:custGeom>
                <a:solidFill>
                  <a:schemeClr val="bg1">
                    <a:lumMod val="75000"/>
                  </a:schemeClr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rmAutofit/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endParaRPr lang="en-US"/>
                </a:p>
              </p:txBody>
            </p:sp>
            <p:sp>
              <p:nvSpPr>
                <p:cNvPr id="32" name="îṣľíḋè">
                  <a:extLst>
                    <a:ext uri="{FF2B5EF4-FFF2-40B4-BE49-F238E27FC236}">
                      <a16:creationId xmlns:a16="http://schemas.microsoft.com/office/drawing/2014/main" id="{6E774BA0-298B-45AE-8CB7-23CFB73C5171}"/>
                    </a:ext>
                  </a:extLst>
                </p:cNvPr>
                <p:cNvSpPr/>
                <p:nvPr/>
              </p:nvSpPr>
              <p:spPr bwMode="auto">
                <a:xfrm>
                  <a:off x="1724886" y="2809042"/>
                  <a:ext cx="2552518" cy="2522789"/>
                </a:xfrm>
                <a:custGeom>
                  <a:avLst/>
                  <a:gdLst/>
                  <a:ahLst/>
                  <a:cxnLst>
                    <a:cxn ang="0">
                      <a:pos x="535" y="140"/>
                    </a:cxn>
                    <a:cxn ang="0">
                      <a:pos x="510" y="165"/>
                    </a:cxn>
                    <a:cxn ang="0">
                      <a:pos x="542" y="288"/>
                    </a:cxn>
                    <a:cxn ang="0">
                      <a:pos x="288" y="542"/>
                    </a:cxn>
                    <a:cxn ang="0">
                      <a:pos x="35" y="288"/>
                    </a:cxn>
                    <a:cxn ang="0">
                      <a:pos x="288" y="35"/>
                    </a:cxn>
                    <a:cxn ang="0">
                      <a:pos x="411" y="67"/>
                    </a:cxn>
                    <a:cxn ang="0">
                      <a:pos x="436" y="41"/>
                    </a:cxn>
                    <a:cxn ang="0">
                      <a:pos x="288" y="0"/>
                    </a:cxn>
                    <a:cxn ang="0">
                      <a:pos x="0" y="288"/>
                    </a:cxn>
                    <a:cxn ang="0">
                      <a:pos x="288" y="577"/>
                    </a:cxn>
                    <a:cxn ang="0">
                      <a:pos x="577" y="288"/>
                    </a:cxn>
                    <a:cxn ang="0">
                      <a:pos x="535" y="140"/>
                    </a:cxn>
                  </a:cxnLst>
                  <a:rect l="0" t="0" r="r" b="b"/>
                  <a:pathLst>
                    <a:path w="577" h="577">
                      <a:moveTo>
                        <a:pt x="535" y="140"/>
                      </a:moveTo>
                      <a:cubicBezTo>
                        <a:pt x="510" y="165"/>
                        <a:pt x="510" y="165"/>
                        <a:pt x="510" y="165"/>
                      </a:cubicBezTo>
                      <a:cubicBezTo>
                        <a:pt x="530" y="202"/>
                        <a:pt x="542" y="244"/>
                        <a:pt x="542" y="288"/>
                      </a:cubicBezTo>
                      <a:cubicBezTo>
                        <a:pt x="542" y="428"/>
                        <a:pt x="428" y="542"/>
                        <a:pt x="288" y="542"/>
                      </a:cubicBezTo>
                      <a:cubicBezTo>
                        <a:pt x="148" y="542"/>
                        <a:pt x="35" y="428"/>
                        <a:pt x="35" y="288"/>
                      </a:cubicBezTo>
                      <a:cubicBezTo>
                        <a:pt x="35" y="149"/>
                        <a:pt x="148" y="35"/>
                        <a:pt x="288" y="35"/>
                      </a:cubicBezTo>
                      <a:cubicBezTo>
                        <a:pt x="333" y="35"/>
                        <a:pt x="375" y="46"/>
                        <a:pt x="411" y="67"/>
                      </a:cubicBezTo>
                      <a:cubicBezTo>
                        <a:pt x="436" y="41"/>
                        <a:pt x="436" y="41"/>
                        <a:pt x="436" y="41"/>
                      </a:cubicBezTo>
                      <a:cubicBezTo>
                        <a:pt x="393" y="15"/>
                        <a:pt x="342" y="0"/>
                        <a:pt x="288" y="0"/>
                      </a:cubicBezTo>
                      <a:cubicBezTo>
                        <a:pt x="129" y="0"/>
                        <a:pt x="0" y="129"/>
                        <a:pt x="0" y="288"/>
                      </a:cubicBezTo>
                      <a:cubicBezTo>
                        <a:pt x="0" y="447"/>
                        <a:pt x="129" y="577"/>
                        <a:pt x="288" y="577"/>
                      </a:cubicBezTo>
                      <a:cubicBezTo>
                        <a:pt x="447" y="577"/>
                        <a:pt x="577" y="447"/>
                        <a:pt x="577" y="288"/>
                      </a:cubicBezTo>
                      <a:cubicBezTo>
                        <a:pt x="577" y="234"/>
                        <a:pt x="562" y="183"/>
                        <a:pt x="535" y="140"/>
                      </a:cubicBezTo>
                    </a:path>
                  </a:pathLst>
                </a:custGeom>
                <a:solidFill>
                  <a:schemeClr val="bg1">
                    <a:lumMod val="95000"/>
                  </a:schemeClr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rmAutofit/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endParaRPr lang="en-US"/>
                </a:p>
              </p:txBody>
            </p:sp>
          </p:grpSp>
        </p:grpSp>
        <p:sp>
          <p:nvSpPr>
            <p:cNvPr id="7" name="isļiďè">
              <a:extLst>
                <a:ext uri="{FF2B5EF4-FFF2-40B4-BE49-F238E27FC236}">
                  <a16:creationId xmlns:a16="http://schemas.microsoft.com/office/drawing/2014/main" id="{C4DFAD03-EFB4-4251-AEB9-9BB9A99C4AE2}"/>
                </a:ext>
              </a:extLst>
            </p:cNvPr>
            <p:cNvSpPr/>
            <p:nvPr/>
          </p:nvSpPr>
          <p:spPr>
            <a:xfrm>
              <a:off x="6016537" y="2052656"/>
              <a:ext cx="275300" cy="231400"/>
            </a:xfrm>
            <a:custGeom>
              <a:avLst/>
              <a:gdLst>
                <a:gd name="connsiteX0" fmla="*/ 536415 w 607227"/>
                <a:gd name="connsiteY0" fmla="*/ 12631 h 510399"/>
                <a:gd name="connsiteX1" fmla="*/ 557192 w 607227"/>
                <a:gd name="connsiteY1" fmla="*/ 21221 h 510399"/>
                <a:gd name="connsiteX2" fmla="*/ 598584 w 607227"/>
                <a:gd name="connsiteY2" fmla="*/ 62633 h 510399"/>
                <a:gd name="connsiteX3" fmla="*/ 598584 w 607227"/>
                <a:gd name="connsiteY3" fmla="*/ 104044 h 510399"/>
                <a:gd name="connsiteX4" fmla="*/ 511175 w 607227"/>
                <a:gd name="connsiteY4" fmla="*/ 191324 h 510399"/>
                <a:gd name="connsiteX5" fmla="*/ 444948 w 607227"/>
                <a:gd name="connsiteY5" fmla="*/ 257453 h 510399"/>
                <a:gd name="connsiteX6" fmla="*/ 339441 w 607227"/>
                <a:gd name="connsiteY6" fmla="*/ 362805 h 510399"/>
                <a:gd name="connsiteX7" fmla="*/ 297968 w 607227"/>
                <a:gd name="connsiteY7" fmla="*/ 404217 h 510399"/>
                <a:gd name="connsiteX8" fmla="*/ 277191 w 607227"/>
                <a:gd name="connsiteY8" fmla="*/ 412807 h 510399"/>
                <a:gd name="connsiteX9" fmla="*/ 256495 w 607227"/>
                <a:gd name="connsiteY9" fmla="*/ 404217 h 510399"/>
                <a:gd name="connsiteX10" fmla="*/ 215023 w 607227"/>
                <a:gd name="connsiteY10" fmla="*/ 362805 h 510399"/>
                <a:gd name="connsiteX11" fmla="*/ 138814 w 607227"/>
                <a:gd name="connsiteY11" fmla="*/ 286790 h 510399"/>
                <a:gd name="connsiteX12" fmla="*/ 138814 w 607227"/>
                <a:gd name="connsiteY12" fmla="*/ 245378 h 510399"/>
                <a:gd name="connsiteX13" fmla="*/ 180286 w 607227"/>
                <a:gd name="connsiteY13" fmla="*/ 203967 h 510399"/>
                <a:gd name="connsiteX14" fmla="*/ 201063 w 607227"/>
                <a:gd name="connsiteY14" fmla="*/ 195376 h 510399"/>
                <a:gd name="connsiteX15" fmla="*/ 221759 w 607227"/>
                <a:gd name="connsiteY15" fmla="*/ 203967 h 510399"/>
                <a:gd name="connsiteX16" fmla="*/ 277191 w 607227"/>
                <a:gd name="connsiteY16" fmla="*/ 259317 h 510399"/>
                <a:gd name="connsiteX17" fmla="*/ 444948 w 607227"/>
                <a:gd name="connsiteY17" fmla="*/ 91807 h 510399"/>
                <a:gd name="connsiteX18" fmla="*/ 503951 w 607227"/>
                <a:gd name="connsiteY18" fmla="*/ 32891 h 510399"/>
                <a:gd name="connsiteX19" fmla="*/ 515719 w 607227"/>
                <a:gd name="connsiteY19" fmla="*/ 21221 h 510399"/>
                <a:gd name="connsiteX20" fmla="*/ 536415 w 607227"/>
                <a:gd name="connsiteY20" fmla="*/ 12631 h 510399"/>
                <a:gd name="connsiteX21" fmla="*/ 61847 w 607227"/>
                <a:gd name="connsiteY21" fmla="*/ 0 h 510399"/>
                <a:gd name="connsiteX22" fmla="*/ 449328 w 607227"/>
                <a:gd name="connsiteY22" fmla="*/ 0 h 510399"/>
                <a:gd name="connsiteX23" fmla="*/ 491858 w 607227"/>
                <a:gd name="connsiteY23" fmla="*/ 17019 h 510399"/>
                <a:gd name="connsiteX24" fmla="*/ 442591 w 607227"/>
                <a:gd name="connsiteY24" fmla="*/ 66130 h 510399"/>
                <a:gd name="connsiteX25" fmla="*/ 66230 w 607227"/>
                <a:gd name="connsiteY25" fmla="*/ 66130 h 510399"/>
                <a:gd name="connsiteX26" fmla="*/ 66230 w 607227"/>
                <a:gd name="connsiteY26" fmla="*/ 444269 h 510399"/>
                <a:gd name="connsiteX27" fmla="*/ 444945 w 607227"/>
                <a:gd name="connsiteY27" fmla="*/ 444269 h 510399"/>
                <a:gd name="connsiteX28" fmla="*/ 444945 w 607227"/>
                <a:gd name="connsiteY28" fmla="*/ 285590 h 510399"/>
                <a:gd name="connsiteX29" fmla="*/ 511175 w 607227"/>
                <a:gd name="connsiteY29" fmla="*/ 219460 h 510399"/>
                <a:gd name="connsiteX30" fmla="*/ 511175 w 607227"/>
                <a:gd name="connsiteY30" fmla="*/ 448645 h 510399"/>
                <a:gd name="connsiteX31" fmla="*/ 449328 w 607227"/>
                <a:gd name="connsiteY31" fmla="*/ 510399 h 510399"/>
                <a:gd name="connsiteX32" fmla="*/ 61847 w 607227"/>
                <a:gd name="connsiteY32" fmla="*/ 510399 h 510399"/>
                <a:gd name="connsiteX33" fmla="*/ 0 w 607227"/>
                <a:gd name="connsiteY33" fmla="*/ 448645 h 510399"/>
                <a:gd name="connsiteX34" fmla="*/ 0 w 607227"/>
                <a:gd name="connsiteY34" fmla="*/ 61673 h 510399"/>
                <a:gd name="connsiteX35" fmla="*/ 61847 w 607227"/>
                <a:gd name="connsiteY35" fmla="*/ 0 h 510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607227" h="510399">
                  <a:moveTo>
                    <a:pt x="536415" y="12631"/>
                  </a:moveTo>
                  <a:cubicBezTo>
                    <a:pt x="543882" y="12631"/>
                    <a:pt x="551430" y="15467"/>
                    <a:pt x="557192" y="21221"/>
                  </a:cubicBezTo>
                  <a:lnTo>
                    <a:pt x="598584" y="62633"/>
                  </a:lnTo>
                  <a:cubicBezTo>
                    <a:pt x="610108" y="74059"/>
                    <a:pt x="610108" y="92618"/>
                    <a:pt x="598584" y="104044"/>
                  </a:cubicBezTo>
                  <a:lnTo>
                    <a:pt x="511175" y="191324"/>
                  </a:lnTo>
                  <a:lnTo>
                    <a:pt x="444948" y="257453"/>
                  </a:lnTo>
                  <a:lnTo>
                    <a:pt x="339441" y="362805"/>
                  </a:lnTo>
                  <a:lnTo>
                    <a:pt x="297968" y="404217"/>
                  </a:lnTo>
                  <a:cubicBezTo>
                    <a:pt x="292206" y="409971"/>
                    <a:pt x="284739" y="412807"/>
                    <a:pt x="277191" y="412807"/>
                  </a:cubicBezTo>
                  <a:cubicBezTo>
                    <a:pt x="269724" y="412807"/>
                    <a:pt x="262177" y="409971"/>
                    <a:pt x="256495" y="404217"/>
                  </a:cubicBezTo>
                  <a:lnTo>
                    <a:pt x="215023" y="362805"/>
                  </a:lnTo>
                  <a:lnTo>
                    <a:pt x="138814" y="286790"/>
                  </a:lnTo>
                  <a:cubicBezTo>
                    <a:pt x="127370" y="275363"/>
                    <a:pt x="127370" y="256805"/>
                    <a:pt x="138814" y="245378"/>
                  </a:cubicBezTo>
                  <a:lnTo>
                    <a:pt x="180286" y="203967"/>
                  </a:lnTo>
                  <a:cubicBezTo>
                    <a:pt x="186049" y="198213"/>
                    <a:pt x="193515" y="195376"/>
                    <a:pt x="201063" y="195376"/>
                  </a:cubicBezTo>
                  <a:cubicBezTo>
                    <a:pt x="208530" y="195376"/>
                    <a:pt x="215997" y="198213"/>
                    <a:pt x="221759" y="203967"/>
                  </a:cubicBezTo>
                  <a:lnTo>
                    <a:pt x="277191" y="259317"/>
                  </a:lnTo>
                  <a:lnTo>
                    <a:pt x="444948" y="91807"/>
                  </a:lnTo>
                  <a:lnTo>
                    <a:pt x="503951" y="32891"/>
                  </a:lnTo>
                  <a:lnTo>
                    <a:pt x="515719" y="21221"/>
                  </a:lnTo>
                  <a:cubicBezTo>
                    <a:pt x="521401" y="15467"/>
                    <a:pt x="528949" y="12631"/>
                    <a:pt x="536415" y="12631"/>
                  </a:cubicBezTo>
                  <a:close/>
                  <a:moveTo>
                    <a:pt x="61847" y="0"/>
                  </a:moveTo>
                  <a:lnTo>
                    <a:pt x="449328" y="0"/>
                  </a:lnTo>
                  <a:cubicBezTo>
                    <a:pt x="465804" y="0"/>
                    <a:pt x="480738" y="6483"/>
                    <a:pt x="491858" y="17019"/>
                  </a:cubicBezTo>
                  <a:lnTo>
                    <a:pt x="442591" y="66130"/>
                  </a:lnTo>
                  <a:lnTo>
                    <a:pt x="66230" y="66130"/>
                  </a:lnTo>
                  <a:lnTo>
                    <a:pt x="66230" y="444269"/>
                  </a:lnTo>
                  <a:lnTo>
                    <a:pt x="444945" y="444269"/>
                  </a:lnTo>
                  <a:lnTo>
                    <a:pt x="444945" y="285590"/>
                  </a:lnTo>
                  <a:lnTo>
                    <a:pt x="511175" y="219460"/>
                  </a:lnTo>
                  <a:lnTo>
                    <a:pt x="511175" y="448645"/>
                  </a:lnTo>
                  <a:cubicBezTo>
                    <a:pt x="511175" y="482683"/>
                    <a:pt x="483417" y="510399"/>
                    <a:pt x="449328" y="510399"/>
                  </a:cubicBezTo>
                  <a:lnTo>
                    <a:pt x="61847" y="510399"/>
                  </a:lnTo>
                  <a:cubicBezTo>
                    <a:pt x="27758" y="510399"/>
                    <a:pt x="0" y="482683"/>
                    <a:pt x="0" y="448645"/>
                  </a:cubicBezTo>
                  <a:lnTo>
                    <a:pt x="0" y="61673"/>
                  </a:lnTo>
                  <a:cubicBezTo>
                    <a:pt x="0" y="27635"/>
                    <a:pt x="27758" y="0"/>
                    <a:pt x="61847" y="0"/>
                  </a:cubicBez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 fontScale="625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/>
              <a:endParaRPr lang="zh-CN" altLang="en-US" sz="2000" b="1" i="1" dirty="0"/>
            </a:p>
          </p:txBody>
        </p:sp>
        <p:sp>
          <p:nvSpPr>
            <p:cNvPr id="8" name="iṧḷíḑè">
              <a:extLst>
                <a:ext uri="{FF2B5EF4-FFF2-40B4-BE49-F238E27FC236}">
                  <a16:creationId xmlns:a16="http://schemas.microsoft.com/office/drawing/2014/main" id="{E82D3C69-39C6-416F-80C2-B706141E272E}"/>
                </a:ext>
              </a:extLst>
            </p:cNvPr>
            <p:cNvSpPr/>
            <p:nvPr/>
          </p:nvSpPr>
          <p:spPr bwMode="auto">
            <a:xfrm>
              <a:off x="6387011" y="1776439"/>
              <a:ext cx="4855484" cy="81301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marL="171450" indent="-171450">
                <a:lnSpc>
                  <a:spcPct val="120000"/>
                </a:lnSpc>
                <a:buFont typeface="Arial" panose="020B0604020202020204" pitchFamily="34" charset="0"/>
                <a:buChar char="•"/>
              </a:pPr>
              <a:r>
                <a:rPr lang="zh-CN" altLang="en-US" sz="2500" dirty="0"/>
                <a:t>造口开放前的护理</a:t>
              </a:r>
              <a:endParaRPr lang="en-US" altLang="zh-CN" sz="2500" dirty="0"/>
            </a:p>
          </p:txBody>
        </p:sp>
        <p:sp>
          <p:nvSpPr>
            <p:cNvPr id="9" name="iṩľíḍê">
              <a:extLst>
                <a:ext uri="{FF2B5EF4-FFF2-40B4-BE49-F238E27FC236}">
                  <a16:creationId xmlns:a16="http://schemas.microsoft.com/office/drawing/2014/main" id="{10B6D3EF-AC3E-41FF-82E9-9FBB0CB4306B}"/>
                </a:ext>
              </a:extLst>
            </p:cNvPr>
            <p:cNvSpPr/>
            <p:nvPr/>
          </p:nvSpPr>
          <p:spPr>
            <a:xfrm>
              <a:off x="6016537" y="2542721"/>
              <a:ext cx="275300" cy="231400"/>
            </a:xfrm>
            <a:custGeom>
              <a:avLst/>
              <a:gdLst>
                <a:gd name="connsiteX0" fmla="*/ 536415 w 607227"/>
                <a:gd name="connsiteY0" fmla="*/ 12631 h 510399"/>
                <a:gd name="connsiteX1" fmla="*/ 557192 w 607227"/>
                <a:gd name="connsiteY1" fmla="*/ 21221 h 510399"/>
                <a:gd name="connsiteX2" fmla="*/ 598584 w 607227"/>
                <a:gd name="connsiteY2" fmla="*/ 62633 h 510399"/>
                <a:gd name="connsiteX3" fmla="*/ 598584 w 607227"/>
                <a:gd name="connsiteY3" fmla="*/ 104044 h 510399"/>
                <a:gd name="connsiteX4" fmla="*/ 511175 w 607227"/>
                <a:gd name="connsiteY4" fmla="*/ 191324 h 510399"/>
                <a:gd name="connsiteX5" fmla="*/ 444948 w 607227"/>
                <a:gd name="connsiteY5" fmla="*/ 257453 h 510399"/>
                <a:gd name="connsiteX6" fmla="*/ 339441 w 607227"/>
                <a:gd name="connsiteY6" fmla="*/ 362805 h 510399"/>
                <a:gd name="connsiteX7" fmla="*/ 297968 w 607227"/>
                <a:gd name="connsiteY7" fmla="*/ 404217 h 510399"/>
                <a:gd name="connsiteX8" fmla="*/ 277191 w 607227"/>
                <a:gd name="connsiteY8" fmla="*/ 412807 h 510399"/>
                <a:gd name="connsiteX9" fmla="*/ 256495 w 607227"/>
                <a:gd name="connsiteY9" fmla="*/ 404217 h 510399"/>
                <a:gd name="connsiteX10" fmla="*/ 215023 w 607227"/>
                <a:gd name="connsiteY10" fmla="*/ 362805 h 510399"/>
                <a:gd name="connsiteX11" fmla="*/ 138814 w 607227"/>
                <a:gd name="connsiteY11" fmla="*/ 286790 h 510399"/>
                <a:gd name="connsiteX12" fmla="*/ 138814 w 607227"/>
                <a:gd name="connsiteY12" fmla="*/ 245378 h 510399"/>
                <a:gd name="connsiteX13" fmla="*/ 180286 w 607227"/>
                <a:gd name="connsiteY13" fmla="*/ 203967 h 510399"/>
                <a:gd name="connsiteX14" fmla="*/ 201063 w 607227"/>
                <a:gd name="connsiteY14" fmla="*/ 195376 h 510399"/>
                <a:gd name="connsiteX15" fmla="*/ 221759 w 607227"/>
                <a:gd name="connsiteY15" fmla="*/ 203967 h 510399"/>
                <a:gd name="connsiteX16" fmla="*/ 277191 w 607227"/>
                <a:gd name="connsiteY16" fmla="*/ 259317 h 510399"/>
                <a:gd name="connsiteX17" fmla="*/ 444948 w 607227"/>
                <a:gd name="connsiteY17" fmla="*/ 91807 h 510399"/>
                <a:gd name="connsiteX18" fmla="*/ 503951 w 607227"/>
                <a:gd name="connsiteY18" fmla="*/ 32891 h 510399"/>
                <a:gd name="connsiteX19" fmla="*/ 515719 w 607227"/>
                <a:gd name="connsiteY19" fmla="*/ 21221 h 510399"/>
                <a:gd name="connsiteX20" fmla="*/ 536415 w 607227"/>
                <a:gd name="connsiteY20" fmla="*/ 12631 h 510399"/>
                <a:gd name="connsiteX21" fmla="*/ 61847 w 607227"/>
                <a:gd name="connsiteY21" fmla="*/ 0 h 510399"/>
                <a:gd name="connsiteX22" fmla="*/ 449328 w 607227"/>
                <a:gd name="connsiteY22" fmla="*/ 0 h 510399"/>
                <a:gd name="connsiteX23" fmla="*/ 491858 w 607227"/>
                <a:gd name="connsiteY23" fmla="*/ 17019 h 510399"/>
                <a:gd name="connsiteX24" fmla="*/ 442591 w 607227"/>
                <a:gd name="connsiteY24" fmla="*/ 66130 h 510399"/>
                <a:gd name="connsiteX25" fmla="*/ 66230 w 607227"/>
                <a:gd name="connsiteY25" fmla="*/ 66130 h 510399"/>
                <a:gd name="connsiteX26" fmla="*/ 66230 w 607227"/>
                <a:gd name="connsiteY26" fmla="*/ 444269 h 510399"/>
                <a:gd name="connsiteX27" fmla="*/ 444945 w 607227"/>
                <a:gd name="connsiteY27" fmla="*/ 444269 h 510399"/>
                <a:gd name="connsiteX28" fmla="*/ 444945 w 607227"/>
                <a:gd name="connsiteY28" fmla="*/ 285590 h 510399"/>
                <a:gd name="connsiteX29" fmla="*/ 511175 w 607227"/>
                <a:gd name="connsiteY29" fmla="*/ 219460 h 510399"/>
                <a:gd name="connsiteX30" fmla="*/ 511175 w 607227"/>
                <a:gd name="connsiteY30" fmla="*/ 448645 h 510399"/>
                <a:gd name="connsiteX31" fmla="*/ 449328 w 607227"/>
                <a:gd name="connsiteY31" fmla="*/ 510399 h 510399"/>
                <a:gd name="connsiteX32" fmla="*/ 61847 w 607227"/>
                <a:gd name="connsiteY32" fmla="*/ 510399 h 510399"/>
                <a:gd name="connsiteX33" fmla="*/ 0 w 607227"/>
                <a:gd name="connsiteY33" fmla="*/ 448645 h 510399"/>
                <a:gd name="connsiteX34" fmla="*/ 0 w 607227"/>
                <a:gd name="connsiteY34" fmla="*/ 61673 h 510399"/>
                <a:gd name="connsiteX35" fmla="*/ 61847 w 607227"/>
                <a:gd name="connsiteY35" fmla="*/ 0 h 510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607227" h="510399">
                  <a:moveTo>
                    <a:pt x="536415" y="12631"/>
                  </a:moveTo>
                  <a:cubicBezTo>
                    <a:pt x="543882" y="12631"/>
                    <a:pt x="551430" y="15467"/>
                    <a:pt x="557192" y="21221"/>
                  </a:cubicBezTo>
                  <a:lnTo>
                    <a:pt x="598584" y="62633"/>
                  </a:lnTo>
                  <a:cubicBezTo>
                    <a:pt x="610108" y="74059"/>
                    <a:pt x="610108" y="92618"/>
                    <a:pt x="598584" y="104044"/>
                  </a:cubicBezTo>
                  <a:lnTo>
                    <a:pt x="511175" y="191324"/>
                  </a:lnTo>
                  <a:lnTo>
                    <a:pt x="444948" y="257453"/>
                  </a:lnTo>
                  <a:lnTo>
                    <a:pt x="339441" y="362805"/>
                  </a:lnTo>
                  <a:lnTo>
                    <a:pt x="297968" y="404217"/>
                  </a:lnTo>
                  <a:cubicBezTo>
                    <a:pt x="292206" y="409971"/>
                    <a:pt x="284739" y="412807"/>
                    <a:pt x="277191" y="412807"/>
                  </a:cubicBezTo>
                  <a:cubicBezTo>
                    <a:pt x="269724" y="412807"/>
                    <a:pt x="262177" y="409971"/>
                    <a:pt x="256495" y="404217"/>
                  </a:cubicBezTo>
                  <a:lnTo>
                    <a:pt x="215023" y="362805"/>
                  </a:lnTo>
                  <a:lnTo>
                    <a:pt x="138814" y="286790"/>
                  </a:lnTo>
                  <a:cubicBezTo>
                    <a:pt x="127370" y="275363"/>
                    <a:pt x="127370" y="256805"/>
                    <a:pt x="138814" y="245378"/>
                  </a:cubicBezTo>
                  <a:lnTo>
                    <a:pt x="180286" y="203967"/>
                  </a:lnTo>
                  <a:cubicBezTo>
                    <a:pt x="186049" y="198213"/>
                    <a:pt x="193515" y="195376"/>
                    <a:pt x="201063" y="195376"/>
                  </a:cubicBezTo>
                  <a:cubicBezTo>
                    <a:pt x="208530" y="195376"/>
                    <a:pt x="215997" y="198213"/>
                    <a:pt x="221759" y="203967"/>
                  </a:cubicBezTo>
                  <a:lnTo>
                    <a:pt x="277191" y="259317"/>
                  </a:lnTo>
                  <a:lnTo>
                    <a:pt x="444948" y="91807"/>
                  </a:lnTo>
                  <a:lnTo>
                    <a:pt x="503951" y="32891"/>
                  </a:lnTo>
                  <a:lnTo>
                    <a:pt x="515719" y="21221"/>
                  </a:lnTo>
                  <a:cubicBezTo>
                    <a:pt x="521401" y="15467"/>
                    <a:pt x="528949" y="12631"/>
                    <a:pt x="536415" y="12631"/>
                  </a:cubicBezTo>
                  <a:close/>
                  <a:moveTo>
                    <a:pt x="61847" y="0"/>
                  </a:moveTo>
                  <a:lnTo>
                    <a:pt x="449328" y="0"/>
                  </a:lnTo>
                  <a:cubicBezTo>
                    <a:pt x="465804" y="0"/>
                    <a:pt x="480738" y="6483"/>
                    <a:pt x="491858" y="17019"/>
                  </a:cubicBezTo>
                  <a:lnTo>
                    <a:pt x="442591" y="66130"/>
                  </a:lnTo>
                  <a:lnTo>
                    <a:pt x="66230" y="66130"/>
                  </a:lnTo>
                  <a:lnTo>
                    <a:pt x="66230" y="444269"/>
                  </a:lnTo>
                  <a:lnTo>
                    <a:pt x="444945" y="444269"/>
                  </a:lnTo>
                  <a:lnTo>
                    <a:pt x="444945" y="285590"/>
                  </a:lnTo>
                  <a:lnTo>
                    <a:pt x="511175" y="219460"/>
                  </a:lnTo>
                  <a:lnTo>
                    <a:pt x="511175" y="448645"/>
                  </a:lnTo>
                  <a:cubicBezTo>
                    <a:pt x="511175" y="482683"/>
                    <a:pt x="483417" y="510399"/>
                    <a:pt x="449328" y="510399"/>
                  </a:cubicBezTo>
                  <a:lnTo>
                    <a:pt x="61847" y="510399"/>
                  </a:lnTo>
                  <a:cubicBezTo>
                    <a:pt x="27758" y="510399"/>
                    <a:pt x="0" y="482683"/>
                    <a:pt x="0" y="448645"/>
                  </a:cubicBezTo>
                  <a:lnTo>
                    <a:pt x="0" y="61673"/>
                  </a:lnTo>
                  <a:cubicBezTo>
                    <a:pt x="0" y="27635"/>
                    <a:pt x="27758" y="0"/>
                    <a:pt x="61847" y="0"/>
                  </a:cubicBez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 fontScale="625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/>
              <a:endParaRPr lang="zh-CN" altLang="en-US" sz="2000" b="1" i="1" dirty="0"/>
            </a:p>
          </p:txBody>
        </p:sp>
        <p:sp>
          <p:nvSpPr>
            <p:cNvPr id="10" name="îṡ1îḑe">
              <a:extLst>
                <a:ext uri="{FF2B5EF4-FFF2-40B4-BE49-F238E27FC236}">
                  <a16:creationId xmlns:a16="http://schemas.microsoft.com/office/drawing/2014/main" id="{3CC221E8-B640-4AAC-8D94-606436C8449D}"/>
                </a:ext>
              </a:extLst>
            </p:cNvPr>
            <p:cNvSpPr/>
            <p:nvPr/>
          </p:nvSpPr>
          <p:spPr bwMode="auto">
            <a:xfrm>
              <a:off x="6395581" y="2241836"/>
              <a:ext cx="4528348" cy="81301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marL="171450" indent="-171450">
                <a:lnSpc>
                  <a:spcPct val="120000"/>
                </a:lnSpc>
                <a:buFont typeface="Arial" panose="020B0604020202020204" pitchFamily="34" charset="0"/>
                <a:buChar char="•"/>
              </a:pPr>
              <a:r>
                <a:rPr lang="zh-CN" altLang="en-US" sz="2500" dirty="0"/>
                <a:t>保护腹壁切口</a:t>
              </a:r>
              <a:endParaRPr lang="en-US" altLang="zh-CN" sz="2500" dirty="0"/>
            </a:p>
          </p:txBody>
        </p:sp>
        <p:sp>
          <p:nvSpPr>
            <p:cNvPr id="11" name="isľídè">
              <a:extLst>
                <a:ext uri="{FF2B5EF4-FFF2-40B4-BE49-F238E27FC236}">
                  <a16:creationId xmlns:a16="http://schemas.microsoft.com/office/drawing/2014/main" id="{ACDDDBB3-82CA-4890-A4A6-858BA3879BC3}"/>
                </a:ext>
              </a:extLst>
            </p:cNvPr>
            <p:cNvSpPr/>
            <p:nvPr/>
          </p:nvSpPr>
          <p:spPr>
            <a:xfrm>
              <a:off x="6016537" y="3032786"/>
              <a:ext cx="275300" cy="231400"/>
            </a:xfrm>
            <a:custGeom>
              <a:avLst/>
              <a:gdLst>
                <a:gd name="connsiteX0" fmla="*/ 536415 w 607227"/>
                <a:gd name="connsiteY0" fmla="*/ 12631 h 510399"/>
                <a:gd name="connsiteX1" fmla="*/ 557192 w 607227"/>
                <a:gd name="connsiteY1" fmla="*/ 21221 h 510399"/>
                <a:gd name="connsiteX2" fmla="*/ 598584 w 607227"/>
                <a:gd name="connsiteY2" fmla="*/ 62633 h 510399"/>
                <a:gd name="connsiteX3" fmla="*/ 598584 w 607227"/>
                <a:gd name="connsiteY3" fmla="*/ 104044 h 510399"/>
                <a:gd name="connsiteX4" fmla="*/ 511175 w 607227"/>
                <a:gd name="connsiteY4" fmla="*/ 191324 h 510399"/>
                <a:gd name="connsiteX5" fmla="*/ 444948 w 607227"/>
                <a:gd name="connsiteY5" fmla="*/ 257453 h 510399"/>
                <a:gd name="connsiteX6" fmla="*/ 339441 w 607227"/>
                <a:gd name="connsiteY6" fmla="*/ 362805 h 510399"/>
                <a:gd name="connsiteX7" fmla="*/ 297968 w 607227"/>
                <a:gd name="connsiteY7" fmla="*/ 404217 h 510399"/>
                <a:gd name="connsiteX8" fmla="*/ 277191 w 607227"/>
                <a:gd name="connsiteY8" fmla="*/ 412807 h 510399"/>
                <a:gd name="connsiteX9" fmla="*/ 256495 w 607227"/>
                <a:gd name="connsiteY9" fmla="*/ 404217 h 510399"/>
                <a:gd name="connsiteX10" fmla="*/ 215023 w 607227"/>
                <a:gd name="connsiteY10" fmla="*/ 362805 h 510399"/>
                <a:gd name="connsiteX11" fmla="*/ 138814 w 607227"/>
                <a:gd name="connsiteY11" fmla="*/ 286790 h 510399"/>
                <a:gd name="connsiteX12" fmla="*/ 138814 w 607227"/>
                <a:gd name="connsiteY12" fmla="*/ 245378 h 510399"/>
                <a:gd name="connsiteX13" fmla="*/ 180286 w 607227"/>
                <a:gd name="connsiteY13" fmla="*/ 203967 h 510399"/>
                <a:gd name="connsiteX14" fmla="*/ 201063 w 607227"/>
                <a:gd name="connsiteY14" fmla="*/ 195376 h 510399"/>
                <a:gd name="connsiteX15" fmla="*/ 221759 w 607227"/>
                <a:gd name="connsiteY15" fmla="*/ 203967 h 510399"/>
                <a:gd name="connsiteX16" fmla="*/ 277191 w 607227"/>
                <a:gd name="connsiteY16" fmla="*/ 259317 h 510399"/>
                <a:gd name="connsiteX17" fmla="*/ 444948 w 607227"/>
                <a:gd name="connsiteY17" fmla="*/ 91807 h 510399"/>
                <a:gd name="connsiteX18" fmla="*/ 503951 w 607227"/>
                <a:gd name="connsiteY18" fmla="*/ 32891 h 510399"/>
                <a:gd name="connsiteX19" fmla="*/ 515719 w 607227"/>
                <a:gd name="connsiteY19" fmla="*/ 21221 h 510399"/>
                <a:gd name="connsiteX20" fmla="*/ 536415 w 607227"/>
                <a:gd name="connsiteY20" fmla="*/ 12631 h 510399"/>
                <a:gd name="connsiteX21" fmla="*/ 61847 w 607227"/>
                <a:gd name="connsiteY21" fmla="*/ 0 h 510399"/>
                <a:gd name="connsiteX22" fmla="*/ 449328 w 607227"/>
                <a:gd name="connsiteY22" fmla="*/ 0 h 510399"/>
                <a:gd name="connsiteX23" fmla="*/ 491858 w 607227"/>
                <a:gd name="connsiteY23" fmla="*/ 17019 h 510399"/>
                <a:gd name="connsiteX24" fmla="*/ 442591 w 607227"/>
                <a:gd name="connsiteY24" fmla="*/ 66130 h 510399"/>
                <a:gd name="connsiteX25" fmla="*/ 66230 w 607227"/>
                <a:gd name="connsiteY25" fmla="*/ 66130 h 510399"/>
                <a:gd name="connsiteX26" fmla="*/ 66230 w 607227"/>
                <a:gd name="connsiteY26" fmla="*/ 444269 h 510399"/>
                <a:gd name="connsiteX27" fmla="*/ 444945 w 607227"/>
                <a:gd name="connsiteY27" fmla="*/ 444269 h 510399"/>
                <a:gd name="connsiteX28" fmla="*/ 444945 w 607227"/>
                <a:gd name="connsiteY28" fmla="*/ 285590 h 510399"/>
                <a:gd name="connsiteX29" fmla="*/ 511175 w 607227"/>
                <a:gd name="connsiteY29" fmla="*/ 219460 h 510399"/>
                <a:gd name="connsiteX30" fmla="*/ 511175 w 607227"/>
                <a:gd name="connsiteY30" fmla="*/ 448645 h 510399"/>
                <a:gd name="connsiteX31" fmla="*/ 449328 w 607227"/>
                <a:gd name="connsiteY31" fmla="*/ 510399 h 510399"/>
                <a:gd name="connsiteX32" fmla="*/ 61847 w 607227"/>
                <a:gd name="connsiteY32" fmla="*/ 510399 h 510399"/>
                <a:gd name="connsiteX33" fmla="*/ 0 w 607227"/>
                <a:gd name="connsiteY33" fmla="*/ 448645 h 510399"/>
                <a:gd name="connsiteX34" fmla="*/ 0 w 607227"/>
                <a:gd name="connsiteY34" fmla="*/ 61673 h 510399"/>
                <a:gd name="connsiteX35" fmla="*/ 61847 w 607227"/>
                <a:gd name="connsiteY35" fmla="*/ 0 h 510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607227" h="510399">
                  <a:moveTo>
                    <a:pt x="536415" y="12631"/>
                  </a:moveTo>
                  <a:cubicBezTo>
                    <a:pt x="543882" y="12631"/>
                    <a:pt x="551430" y="15467"/>
                    <a:pt x="557192" y="21221"/>
                  </a:cubicBezTo>
                  <a:lnTo>
                    <a:pt x="598584" y="62633"/>
                  </a:lnTo>
                  <a:cubicBezTo>
                    <a:pt x="610108" y="74059"/>
                    <a:pt x="610108" y="92618"/>
                    <a:pt x="598584" y="104044"/>
                  </a:cubicBezTo>
                  <a:lnTo>
                    <a:pt x="511175" y="191324"/>
                  </a:lnTo>
                  <a:lnTo>
                    <a:pt x="444948" y="257453"/>
                  </a:lnTo>
                  <a:lnTo>
                    <a:pt x="339441" y="362805"/>
                  </a:lnTo>
                  <a:lnTo>
                    <a:pt x="297968" y="404217"/>
                  </a:lnTo>
                  <a:cubicBezTo>
                    <a:pt x="292206" y="409971"/>
                    <a:pt x="284739" y="412807"/>
                    <a:pt x="277191" y="412807"/>
                  </a:cubicBezTo>
                  <a:cubicBezTo>
                    <a:pt x="269724" y="412807"/>
                    <a:pt x="262177" y="409971"/>
                    <a:pt x="256495" y="404217"/>
                  </a:cubicBezTo>
                  <a:lnTo>
                    <a:pt x="215023" y="362805"/>
                  </a:lnTo>
                  <a:lnTo>
                    <a:pt x="138814" y="286790"/>
                  </a:lnTo>
                  <a:cubicBezTo>
                    <a:pt x="127370" y="275363"/>
                    <a:pt x="127370" y="256805"/>
                    <a:pt x="138814" y="245378"/>
                  </a:cubicBezTo>
                  <a:lnTo>
                    <a:pt x="180286" y="203967"/>
                  </a:lnTo>
                  <a:cubicBezTo>
                    <a:pt x="186049" y="198213"/>
                    <a:pt x="193515" y="195376"/>
                    <a:pt x="201063" y="195376"/>
                  </a:cubicBezTo>
                  <a:cubicBezTo>
                    <a:pt x="208530" y="195376"/>
                    <a:pt x="215997" y="198213"/>
                    <a:pt x="221759" y="203967"/>
                  </a:cubicBezTo>
                  <a:lnTo>
                    <a:pt x="277191" y="259317"/>
                  </a:lnTo>
                  <a:lnTo>
                    <a:pt x="444948" y="91807"/>
                  </a:lnTo>
                  <a:lnTo>
                    <a:pt x="503951" y="32891"/>
                  </a:lnTo>
                  <a:lnTo>
                    <a:pt x="515719" y="21221"/>
                  </a:lnTo>
                  <a:cubicBezTo>
                    <a:pt x="521401" y="15467"/>
                    <a:pt x="528949" y="12631"/>
                    <a:pt x="536415" y="12631"/>
                  </a:cubicBezTo>
                  <a:close/>
                  <a:moveTo>
                    <a:pt x="61847" y="0"/>
                  </a:moveTo>
                  <a:lnTo>
                    <a:pt x="449328" y="0"/>
                  </a:lnTo>
                  <a:cubicBezTo>
                    <a:pt x="465804" y="0"/>
                    <a:pt x="480738" y="6483"/>
                    <a:pt x="491858" y="17019"/>
                  </a:cubicBezTo>
                  <a:lnTo>
                    <a:pt x="442591" y="66130"/>
                  </a:lnTo>
                  <a:lnTo>
                    <a:pt x="66230" y="66130"/>
                  </a:lnTo>
                  <a:lnTo>
                    <a:pt x="66230" y="444269"/>
                  </a:lnTo>
                  <a:lnTo>
                    <a:pt x="444945" y="444269"/>
                  </a:lnTo>
                  <a:lnTo>
                    <a:pt x="444945" y="285590"/>
                  </a:lnTo>
                  <a:lnTo>
                    <a:pt x="511175" y="219460"/>
                  </a:lnTo>
                  <a:lnTo>
                    <a:pt x="511175" y="448645"/>
                  </a:lnTo>
                  <a:cubicBezTo>
                    <a:pt x="511175" y="482683"/>
                    <a:pt x="483417" y="510399"/>
                    <a:pt x="449328" y="510399"/>
                  </a:cubicBezTo>
                  <a:lnTo>
                    <a:pt x="61847" y="510399"/>
                  </a:lnTo>
                  <a:cubicBezTo>
                    <a:pt x="27758" y="510399"/>
                    <a:pt x="0" y="482683"/>
                    <a:pt x="0" y="448645"/>
                  </a:cubicBezTo>
                  <a:lnTo>
                    <a:pt x="0" y="61673"/>
                  </a:lnTo>
                  <a:cubicBezTo>
                    <a:pt x="0" y="27635"/>
                    <a:pt x="27758" y="0"/>
                    <a:pt x="61847" y="0"/>
                  </a:cubicBez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 fontScale="625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/>
              <a:endParaRPr lang="zh-CN" altLang="en-US" sz="2000" b="1" i="1" dirty="0"/>
            </a:p>
          </p:txBody>
        </p:sp>
        <p:sp>
          <p:nvSpPr>
            <p:cNvPr id="12" name="îṡļïḍé">
              <a:extLst>
                <a:ext uri="{FF2B5EF4-FFF2-40B4-BE49-F238E27FC236}">
                  <a16:creationId xmlns:a16="http://schemas.microsoft.com/office/drawing/2014/main" id="{778225A9-30EA-4230-8C25-60A6F9705F2C}"/>
                </a:ext>
              </a:extLst>
            </p:cNvPr>
            <p:cNvSpPr/>
            <p:nvPr/>
          </p:nvSpPr>
          <p:spPr bwMode="auto">
            <a:xfrm>
              <a:off x="6395581" y="2731901"/>
              <a:ext cx="4528348" cy="81301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marL="171450" indent="-171450">
                <a:lnSpc>
                  <a:spcPct val="120000"/>
                </a:lnSpc>
                <a:buFont typeface="Arial" panose="020B0604020202020204" pitchFamily="34" charset="0"/>
                <a:buChar char="•"/>
              </a:pPr>
              <a:r>
                <a:rPr lang="zh-CN" altLang="en-US" sz="2500" dirty="0"/>
                <a:t>正确使用造口袋</a:t>
              </a:r>
              <a:endParaRPr lang="en-US" altLang="zh-CN" sz="2500" dirty="0"/>
            </a:p>
          </p:txBody>
        </p:sp>
        <p:sp>
          <p:nvSpPr>
            <p:cNvPr id="13" name="í$ḷïḑê">
              <a:extLst>
                <a:ext uri="{FF2B5EF4-FFF2-40B4-BE49-F238E27FC236}">
                  <a16:creationId xmlns:a16="http://schemas.microsoft.com/office/drawing/2014/main" id="{A577CB67-DCDE-4644-BEF0-8F48B024C27B}"/>
                </a:ext>
              </a:extLst>
            </p:cNvPr>
            <p:cNvSpPr/>
            <p:nvPr/>
          </p:nvSpPr>
          <p:spPr>
            <a:xfrm>
              <a:off x="6016537" y="3522851"/>
              <a:ext cx="275300" cy="231400"/>
            </a:xfrm>
            <a:custGeom>
              <a:avLst/>
              <a:gdLst>
                <a:gd name="connsiteX0" fmla="*/ 536415 w 607227"/>
                <a:gd name="connsiteY0" fmla="*/ 12631 h 510399"/>
                <a:gd name="connsiteX1" fmla="*/ 557192 w 607227"/>
                <a:gd name="connsiteY1" fmla="*/ 21221 h 510399"/>
                <a:gd name="connsiteX2" fmla="*/ 598584 w 607227"/>
                <a:gd name="connsiteY2" fmla="*/ 62633 h 510399"/>
                <a:gd name="connsiteX3" fmla="*/ 598584 w 607227"/>
                <a:gd name="connsiteY3" fmla="*/ 104044 h 510399"/>
                <a:gd name="connsiteX4" fmla="*/ 511175 w 607227"/>
                <a:gd name="connsiteY4" fmla="*/ 191324 h 510399"/>
                <a:gd name="connsiteX5" fmla="*/ 444948 w 607227"/>
                <a:gd name="connsiteY5" fmla="*/ 257453 h 510399"/>
                <a:gd name="connsiteX6" fmla="*/ 339441 w 607227"/>
                <a:gd name="connsiteY6" fmla="*/ 362805 h 510399"/>
                <a:gd name="connsiteX7" fmla="*/ 297968 w 607227"/>
                <a:gd name="connsiteY7" fmla="*/ 404217 h 510399"/>
                <a:gd name="connsiteX8" fmla="*/ 277191 w 607227"/>
                <a:gd name="connsiteY8" fmla="*/ 412807 h 510399"/>
                <a:gd name="connsiteX9" fmla="*/ 256495 w 607227"/>
                <a:gd name="connsiteY9" fmla="*/ 404217 h 510399"/>
                <a:gd name="connsiteX10" fmla="*/ 215023 w 607227"/>
                <a:gd name="connsiteY10" fmla="*/ 362805 h 510399"/>
                <a:gd name="connsiteX11" fmla="*/ 138814 w 607227"/>
                <a:gd name="connsiteY11" fmla="*/ 286790 h 510399"/>
                <a:gd name="connsiteX12" fmla="*/ 138814 w 607227"/>
                <a:gd name="connsiteY12" fmla="*/ 245378 h 510399"/>
                <a:gd name="connsiteX13" fmla="*/ 180286 w 607227"/>
                <a:gd name="connsiteY13" fmla="*/ 203967 h 510399"/>
                <a:gd name="connsiteX14" fmla="*/ 201063 w 607227"/>
                <a:gd name="connsiteY14" fmla="*/ 195376 h 510399"/>
                <a:gd name="connsiteX15" fmla="*/ 221759 w 607227"/>
                <a:gd name="connsiteY15" fmla="*/ 203967 h 510399"/>
                <a:gd name="connsiteX16" fmla="*/ 277191 w 607227"/>
                <a:gd name="connsiteY16" fmla="*/ 259317 h 510399"/>
                <a:gd name="connsiteX17" fmla="*/ 444948 w 607227"/>
                <a:gd name="connsiteY17" fmla="*/ 91807 h 510399"/>
                <a:gd name="connsiteX18" fmla="*/ 503951 w 607227"/>
                <a:gd name="connsiteY18" fmla="*/ 32891 h 510399"/>
                <a:gd name="connsiteX19" fmla="*/ 515719 w 607227"/>
                <a:gd name="connsiteY19" fmla="*/ 21221 h 510399"/>
                <a:gd name="connsiteX20" fmla="*/ 536415 w 607227"/>
                <a:gd name="connsiteY20" fmla="*/ 12631 h 510399"/>
                <a:gd name="connsiteX21" fmla="*/ 61847 w 607227"/>
                <a:gd name="connsiteY21" fmla="*/ 0 h 510399"/>
                <a:gd name="connsiteX22" fmla="*/ 449328 w 607227"/>
                <a:gd name="connsiteY22" fmla="*/ 0 h 510399"/>
                <a:gd name="connsiteX23" fmla="*/ 491858 w 607227"/>
                <a:gd name="connsiteY23" fmla="*/ 17019 h 510399"/>
                <a:gd name="connsiteX24" fmla="*/ 442591 w 607227"/>
                <a:gd name="connsiteY24" fmla="*/ 66130 h 510399"/>
                <a:gd name="connsiteX25" fmla="*/ 66230 w 607227"/>
                <a:gd name="connsiteY25" fmla="*/ 66130 h 510399"/>
                <a:gd name="connsiteX26" fmla="*/ 66230 w 607227"/>
                <a:gd name="connsiteY26" fmla="*/ 444269 h 510399"/>
                <a:gd name="connsiteX27" fmla="*/ 444945 w 607227"/>
                <a:gd name="connsiteY27" fmla="*/ 444269 h 510399"/>
                <a:gd name="connsiteX28" fmla="*/ 444945 w 607227"/>
                <a:gd name="connsiteY28" fmla="*/ 285590 h 510399"/>
                <a:gd name="connsiteX29" fmla="*/ 511175 w 607227"/>
                <a:gd name="connsiteY29" fmla="*/ 219460 h 510399"/>
                <a:gd name="connsiteX30" fmla="*/ 511175 w 607227"/>
                <a:gd name="connsiteY30" fmla="*/ 448645 h 510399"/>
                <a:gd name="connsiteX31" fmla="*/ 449328 w 607227"/>
                <a:gd name="connsiteY31" fmla="*/ 510399 h 510399"/>
                <a:gd name="connsiteX32" fmla="*/ 61847 w 607227"/>
                <a:gd name="connsiteY32" fmla="*/ 510399 h 510399"/>
                <a:gd name="connsiteX33" fmla="*/ 0 w 607227"/>
                <a:gd name="connsiteY33" fmla="*/ 448645 h 510399"/>
                <a:gd name="connsiteX34" fmla="*/ 0 w 607227"/>
                <a:gd name="connsiteY34" fmla="*/ 61673 h 510399"/>
                <a:gd name="connsiteX35" fmla="*/ 61847 w 607227"/>
                <a:gd name="connsiteY35" fmla="*/ 0 h 510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607227" h="510399">
                  <a:moveTo>
                    <a:pt x="536415" y="12631"/>
                  </a:moveTo>
                  <a:cubicBezTo>
                    <a:pt x="543882" y="12631"/>
                    <a:pt x="551430" y="15467"/>
                    <a:pt x="557192" y="21221"/>
                  </a:cubicBezTo>
                  <a:lnTo>
                    <a:pt x="598584" y="62633"/>
                  </a:lnTo>
                  <a:cubicBezTo>
                    <a:pt x="610108" y="74059"/>
                    <a:pt x="610108" y="92618"/>
                    <a:pt x="598584" y="104044"/>
                  </a:cubicBezTo>
                  <a:lnTo>
                    <a:pt x="511175" y="191324"/>
                  </a:lnTo>
                  <a:lnTo>
                    <a:pt x="444948" y="257453"/>
                  </a:lnTo>
                  <a:lnTo>
                    <a:pt x="339441" y="362805"/>
                  </a:lnTo>
                  <a:lnTo>
                    <a:pt x="297968" y="404217"/>
                  </a:lnTo>
                  <a:cubicBezTo>
                    <a:pt x="292206" y="409971"/>
                    <a:pt x="284739" y="412807"/>
                    <a:pt x="277191" y="412807"/>
                  </a:cubicBezTo>
                  <a:cubicBezTo>
                    <a:pt x="269724" y="412807"/>
                    <a:pt x="262177" y="409971"/>
                    <a:pt x="256495" y="404217"/>
                  </a:cubicBezTo>
                  <a:lnTo>
                    <a:pt x="215023" y="362805"/>
                  </a:lnTo>
                  <a:lnTo>
                    <a:pt x="138814" y="286790"/>
                  </a:lnTo>
                  <a:cubicBezTo>
                    <a:pt x="127370" y="275363"/>
                    <a:pt x="127370" y="256805"/>
                    <a:pt x="138814" y="245378"/>
                  </a:cubicBezTo>
                  <a:lnTo>
                    <a:pt x="180286" y="203967"/>
                  </a:lnTo>
                  <a:cubicBezTo>
                    <a:pt x="186049" y="198213"/>
                    <a:pt x="193515" y="195376"/>
                    <a:pt x="201063" y="195376"/>
                  </a:cubicBezTo>
                  <a:cubicBezTo>
                    <a:pt x="208530" y="195376"/>
                    <a:pt x="215997" y="198213"/>
                    <a:pt x="221759" y="203967"/>
                  </a:cubicBezTo>
                  <a:lnTo>
                    <a:pt x="277191" y="259317"/>
                  </a:lnTo>
                  <a:lnTo>
                    <a:pt x="444948" y="91807"/>
                  </a:lnTo>
                  <a:lnTo>
                    <a:pt x="503951" y="32891"/>
                  </a:lnTo>
                  <a:lnTo>
                    <a:pt x="515719" y="21221"/>
                  </a:lnTo>
                  <a:cubicBezTo>
                    <a:pt x="521401" y="15467"/>
                    <a:pt x="528949" y="12631"/>
                    <a:pt x="536415" y="12631"/>
                  </a:cubicBezTo>
                  <a:close/>
                  <a:moveTo>
                    <a:pt x="61847" y="0"/>
                  </a:moveTo>
                  <a:lnTo>
                    <a:pt x="449328" y="0"/>
                  </a:lnTo>
                  <a:cubicBezTo>
                    <a:pt x="465804" y="0"/>
                    <a:pt x="480738" y="6483"/>
                    <a:pt x="491858" y="17019"/>
                  </a:cubicBezTo>
                  <a:lnTo>
                    <a:pt x="442591" y="66130"/>
                  </a:lnTo>
                  <a:lnTo>
                    <a:pt x="66230" y="66130"/>
                  </a:lnTo>
                  <a:lnTo>
                    <a:pt x="66230" y="444269"/>
                  </a:lnTo>
                  <a:lnTo>
                    <a:pt x="444945" y="444269"/>
                  </a:lnTo>
                  <a:lnTo>
                    <a:pt x="444945" y="285590"/>
                  </a:lnTo>
                  <a:lnTo>
                    <a:pt x="511175" y="219460"/>
                  </a:lnTo>
                  <a:lnTo>
                    <a:pt x="511175" y="448645"/>
                  </a:lnTo>
                  <a:cubicBezTo>
                    <a:pt x="511175" y="482683"/>
                    <a:pt x="483417" y="510399"/>
                    <a:pt x="449328" y="510399"/>
                  </a:cubicBezTo>
                  <a:lnTo>
                    <a:pt x="61847" y="510399"/>
                  </a:lnTo>
                  <a:cubicBezTo>
                    <a:pt x="27758" y="510399"/>
                    <a:pt x="0" y="482683"/>
                    <a:pt x="0" y="448645"/>
                  </a:cubicBezTo>
                  <a:lnTo>
                    <a:pt x="0" y="61673"/>
                  </a:lnTo>
                  <a:cubicBezTo>
                    <a:pt x="0" y="27635"/>
                    <a:pt x="27758" y="0"/>
                    <a:pt x="61847" y="0"/>
                  </a:cubicBezTo>
                  <a:close/>
                </a:path>
              </a:pathLst>
            </a:custGeom>
            <a:solidFill>
              <a:schemeClr val="accent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 fontScale="625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/>
              <a:endParaRPr lang="zh-CN" altLang="en-US" sz="2000" b="1" i="1" dirty="0"/>
            </a:p>
          </p:txBody>
        </p:sp>
        <p:sp>
          <p:nvSpPr>
            <p:cNvPr id="14" name="îṩḷíḋe">
              <a:extLst>
                <a:ext uri="{FF2B5EF4-FFF2-40B4-BE49-F238E27FC236}">
                  <a16:creationId xmlns:a16="http://schemas.microsoft.com/office/drawing/2014/main" id="{314FDF56-458F-42F7-8EF4-0814040FA7D2}"/>
                </a:ext>
              </a:extLst>
            </p:cNvPr>
            <p:cNvSpPr/>
            <p:nvPr/>
          </p:nvSpPr>
          <p:spPr bwMode="auto">
            <a:xfrm>
              <a:off x="6395581" y="3221966"/>
              <a:ext cx="4528348" cy="81301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marL="171450" indent="-171450">
                <a:lnSpc>
                  <a:spcPct val="120000"/>
                </a:lnSpc>
                <a:buFont typeface="Arial" panose="020B0604020202020204" pitchFamily="34" charset="0"/>
                <a:buChar char="•"/>
              </a:pPr>
              <a:r>
                <a:rPr lang="zh-CN" altLang="en-US" sz="2500" dirty="0"/>
                <a:t>指导病人进行造口灌洗</a:t>
              </a:r>
              <a:endParaRPr lang="en-US" altLang="zh-CN" sz="2500" dirty="0"/>
            </a:p>
          </p:txBody>
        </p:sp>
        <p:sp>
          <p:nvSpPr>
            <p:cNvPr id="15" name="iślíḓê">
              <a:extLst>
                <a:ext uri="{FF2B5EF4-FFF2-40B4-BE49-F238E27FC236}">
                  <a16:creationId xmlns:a16="http://schemas.microsoft.com/office/drawing/2014/main" id="{1F2C5C41-4B1B-48D1-BFB2-B12D701743A7}"/>
                </a:ext>
              </a:extLst>
            </p:cNvPr>
            <p:cNvSpPr/>
            <p:nvPr/>
          </p:nvSpPr>
          <p:spPr>
            <a:xfrm>
              <a:off x="6016537" y="4012916"/>
              <a:ext cx="275300" cy="231400"/>
            </a:xfrm>
            <a:custGeom>
              <a:avLst/>
              <a:gdLst>
                <a:gd name="connsiteX0" fmla="*/ 536415 w 607227"/>
                <a:gd name="connsiteY0" fmla="*/ 12631 h 510399"/>
                <a:gd name="connsiteX1" fmla="*/ 557192 w 607227"/>
                <a:gd name="connsiteY1" fmla="*/ 21221 h 510399"/>
                <a:gd name="connsiteX2" fmla="*/ 598584 w 607227"/>
                <a:gd name="connsiteY2" fmla="*/ 62633 h 510399"/>
                <a:gd name="connsiteX3" fmla="*/ 598584 w 607227"/>
                <a:gd name="connsiteY3" fmla="*/ 104044 h 510399"/>
                <a:gd name="connsiteX4" fmla="*/ 511175 w 607227"/>
                <a:gd name="connsiteY4" fmla="*/ 191324 h 510399"/>
                <a:gd name="connsiteX5" fmla="*/ 444948 w 607227"/>
                <a:gd name="connsiteY5" fmla="*/ 257453 h 510399"/>
                <a:gd name="connsiteX6" fmla="*/ 339441 w 607227"/>
                <a:gd name="connsiteY6" fmla="*/ 362805 h 510399"/>
                <a:gd name="connsiteX7" fmla="*/ 297968 w 607227"/>
                <a:gd name="connsiteY7" fmla="*/ 404217 h 510399"/>
                <a:gd name="connsiteX8" fmla="*/ 277191 w 607227"/>
                <a:gd name="connsiteY8" fmla="*/ 412807 h 510399"/>
                <a:gd name="connsiteX9" fmla="*/ 256495 w 607227"/>
                <a:gd name="connsiteY9" fmla="*/ 404217 h 510399"/>
                <a:gd name="connsiteX10" fmla="*/ 215023 w 607227"/>
                <a:gd name="connsiteY10" fmla="*/ 362805 h 510399"/>
                <a:gd name="connsiteX11" fmla="*/ 138814 w 607227"/>
                <a:gd name="connsiteY11" fmla="*/ 286790 h 510399"/>
                <a:gd name="connsiteX12" fmla="*/ 138814 w 607227"/>
                <a:gd name="connsiteY12" fmla="*/ 245378 h 510399"/>
                <a:gd name="connsiteX13" fmla="*/ 180286 w 607227"/>
                <a:gd name="connsiteY13" fmla="*/ 203967 h 510399"/>
                <a:gd name="connsiteX14" fmla="*/ 201063 w 607227"/>
                <a:gd name="connsiteY14" fmla="*/ 195376 h 510399"/>
                <a:gd name="connsiteX15" fmla="*/ 221759 w 607227"/>
                <a:gd name="connsiteY15" fmla="*/ 203967 h 510399"/>
                <a:gd name="connsiteX16" fmla="*/ 277191 w 607227"/>
                <a:gd name="connsiteY16" fmla="*/ 259317 h 510399"/>
                <a:gd name="connsiteX17" fmla="*/ 444948 w 607227"/>
                <a:gd name="connsiteY17" fmla="*/ 91807 h 510399"/>
                <a:gd name="connsiteX18" fmla="*/ 503951 w 607227"/>
                <a:gd name="connsiteY18" fmla="*/ 32891 h 510399"/>
                <a:gd name="connsiteX19" fmla="*/ 515719 w 607227"/>
                <a:gd name="connsiteY19" fmla="*/ 21221 h 510399"/>
                <a:gd name="connsiteX20" fmla="*/ 536415 w 607227"/>
                <a:gd name="connsiteY20" fmla="*/ 12631 h 510399"/>
                <a:gd name="connsiteX21" fmla="*/ 61847 w 607227"/>
                <a:gd name="connsiteY21" fmla="*/ 0 h 510399"/>
                <a:gd name="connsiteX22" fmla="*/ 449328 w 607227"/>
                <a:gd name="connsiteY22" fmla="*/ 0 h 510399"/>
                <a:gd name="connsiteX23" fmla="*/ 491858 w 607227"/>
                <a:gd name="connsiteY23" fmla="*/ 17019 h 510399"/>
                <a:gd name="connsiteX24" fmla="*/ 442591 w 607227"/>
                <a:gd name="connsiteY24" fmla="*/ 66130 h 510399"/>
                <a:gd name="connsiteX25" fmla="*/ 66230 w 607227"/>
                <a:gd name="connsiteY25" fmla="*/ 66130 h 510399"/>
                <a:gd name="connsiteX26" fmla="*/ 66230 w 607227"/>
                <a:gd name="connsiteY26" fmla="*/ 444269 h 510399"/>
                <a:gd name="connsiteX27" fmla="*/ 444945 w 607227"/>
                <a:gd name="connsiteY27" fmla="*/ 444269 h 510399"/>
                <a:gd name="connsiteX28" fmla="*/ 444945 w 607227"/>
                <a:gd name="connsiteY28" fmla="*/ 285590 h 510399"/>
                <a:gd name="connsiteX29" fmla="*/ 511175 w 607227"/>
                <a:gd name="connsiteY29" fmla="*/ 219460 h 510399"/>
                <a:gd name="connsiteX30" fmla="*/ 511175 w 607227"/>
                <a:gd name="connsiteY30" fmla="*/ 448645 h 510399"/>
                <a:gd name="connsiteX31" fmla="*/ 449328 w 607227"/>
                <a:gd name="connsiteY31" fmla="*/ 510399 h 510399"/>
                <a:gd name="connsiteX32" fmla="*/ 61847 w 607227"/>
                <a:gd name="connsiteY32" fmla="*/ 510399 h 510399"/>
                <a:gd name="connsiteX33" fmla="*/ 0 w 607227"/>
                <a:gd name="connsiteY33" fmla="*/ 448645 h 510399"/>
                <a:gd name="connsiteX34" fmla="*/ 0 w 607227"/>
                <a:gd name="connsiteY34" fmla="*/ 61673 h 510399"/>
                <a:gd name="connsiteX35" fmla="*/ 61847 w 607227"/>
                <a:gd name="connsiteY35" fmla="*/ 0 h 510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607227" h="510399">
                  <a:moveTo>
                    <a:pt x="536415" y="12631"/>
                  </a:moveTo>
                  <a:cubicBezTo>
                    <a:pt x="543882" y="12631"/>
                    <a:pt x="551430" y="15467"/>
                    <a:pt x="557192" y="21221"/>
                  </a:cubicBezTo>
                  <a:lnTo>
                    <a:pt x="598584" y="62633"/>
                  </a:lnTo>
                  <a:cubicBezTo>
                    <a:pt x="610108" y="74059"/>
                    <a:pt x="610108" y="92618"/>
                    <a:pt x="598584" y="104044"/>
                  </a:cubicBezTo>
                  <a:lnTo>
                    <a:pt x="511175" y="191324"/>
                  </a:lnTo>
                  <a:lnTo>
                    <a:pt x="444948" y="257453"/>
                  </a:lnTo>
                  <a:lnTo>
                    <a:pt x="339441" y="362805"/>
                  </a:lnTo>
                  <a:lnTo>
                    <a:pt x="297968" y="404217"/>
                  </a:lnTo>
                  <a:cubicBezTo>
                    <a:pt x="292206" y="409971"/>
                    <a:pt x="284739" y="412807"/>
                    <a:pt x="277191" y="412807"/>
                  </a:cubicBezTo>
                  <a:cubicBezTo>
                    <a:pt x="269724" y="412807"/>
                    <a:pt x="262177" y="409971"/>
                    <a:pt x="256495" y="404217"/>
                  </a:cubicBezTo>
                  <a:lnTo>
                    <a:pt x="215023" y="362805"/>
                  </a:lnTo>
                  <a:lnTo>
                    <a:pt x="138814" y="286790"/>
                  </a:lnTo>
                  <a:cubicBezTo>
                    <a:pt x="127370" y="275363"/>
                    <a:pt x="127370" y="256805"/>
                    <a:pt x="138814" y="245378"/>
                  </a:cubicBezTo>
                  <a:lnTo>
                    <a:pt x="180286" y="203967"/>
                  </a:lnTo>
                  <a:cubicBezTo>
                    <a:pt x="186049" y="198213"/>
                    <a:pt x="193515" y="195376"/>
                    <a:pt x="201063" y="195376"/>
                  </a:cubicBezTo>
                  <a:cubicBezTo>
                    <a:pt x="208530" y="195376"/>
                    <a:pt x="215997" y="198213"/>
                    <a:pt x="221759" y="203967"/>
                  </a:cubicBezTo>
                  <a:lnTo>
                    <a:pt x="277191" y="259317"/>
                  </a:lnTo>
                  <a:lnTo>
                    <a:pt x="444948" y="91807"/>
                  </a:lnTo>
                  <a:lnTo>
                    <a:pt x="503951" y="32891"/>
                  </a:lnTo>
                  <a:lnTo>
                    <a:pt x="515719" y="21221"/>
                  </a:lnTo>
                  <a:cubicBezTo>
                    <a:pt x="521401" y="15467"/>
                    <a:pt x="528949" y="12631"/>
                    <a:pt x="536415" y="12631"/>
                  </a:cubicBezTo>
                  <a:close/>
                  <a:moveTo>
                    <a:pt x="61847" y="0"/>
                  </a:moveTo>
                  <a:lnTo>
                    <a:pt x="449328" y="0"/>
                  </a:lnTo>
                  <a:cubicBezTo>
                    <a:pt x="465804" y="0"/>
                    <a:pt x="480738" y="6483"/>
                    <a:pt x="491858" y="17019"/>
                  </a:cubicBezTo>
                  <a:lnTo>
                    <a:pt x="442591" y="66130"/>
                  </a:lnTo>
                  <a:lnTo>
                    <a:pt x="66230" y="66130"/>
                  </a:lnTo>
                  <a:lnTo>
                    <a:pt x="66230" y="444269"/>
                  </a:lnTo>
                  <a:lnTo>
                    <a:pt x="444945" y="444269"/>
                  </a:lnTo>
                  <a:lnTo>
                    <a:pt x="444945" y="285590"/>
                  </a:lnTo>
                  <a:lnTo>
                    <a:pt x="511175" y="219460"/>
                  </a:lnTo>
                  <a:lnTo>
                    <a:pt x="511175" y="448645"/>
                  </a:lnTo>
                  <a:cubicBezTo>
                    <a:pt x="511175" y="482683"/>
                    <a:pt x="483417" y="510399"/>
                    <a:pt x="449328" y="510399"/>
                  </a:cubicBezTo>
                  <a:lnTo>
                    <a:pt x="61847" y="510399"/>
                  </a:lnTo>
                  <a:cubicBezTo>
                    <a:pt x="27758" y="510399"/>
                    <a:pt x="0" y="482683"/>
                    <a:pt x="0" y="448645"/>
                  </a:cubicBezTo>
                  <a:lnTo>
                    <a:pt x="0" y="61673"/>
                  </a:lnTo>
                  <a:cubicBezTo>
                    <a:pt x="0" y="27635"/>
                    <a:pt x="27758" y="0"/>
                    <a:pt x="61847" y="0"/>
                  </a:cubicBez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 fontScale="625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/>
              <a:endParaRPr lang="zh-CN" altLang="en-US" sz="2000" b="1" i="1" dirty="0"/>
            </a:p>
          </p:txBody>
        </p:sp>
        <p:sp>
          <p:nvSpPr>
            <p:cNvPr id="16" name="íṣľíďê">
              <a:extLst>
                <a:ext uri="{FF2B5EF4-FFF2-40B4-BE49-F238E27FC236}">
                  <a16:creationId xmlns:a16="http://schemas.microsoft.com/office/drawing/2014/main" id="{BC6087DB-D249-4C84-A081-9387D3D6D0D4}"/>
                </a:ext>
              </a:extLst>
            </p:cNvPr>
            <p:cNvSpPr/>
            <p:nvPr/>
          </p:nvSpPr>
          <p:spPr bwMode="auto">
            <a:xfrm>
              <a:off x="6395581" y="3712031"/>
              <a:ext cx="4528348" cy="81301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marL="171450" indent="-171450">
                <a:lnSpc>
                  <a:spcPct val="120000"/>
                </a:lnSpc>
                <a:buFont typeface="Arial" panose="020B0604020202020204" pitchFamily="34" charset="0"/>
                <a:buChar char="•"/>
              </a:pPr>
              <a:r>
                <a:rPr lang="zh-CN" altLang="en-US" sz="2500" dirty="0"/>
                <a:t>饮食指导</a:t>
              </a:r>
              <a:endParaRPr lang="en-US" altLang="zh-CN" sz="2500" dirty="0"/>
            </a:p>
          </p:txBody>
        </p:sp>
        <p:sp>
          <p:nvSpPr>
            <p:cNvPr id="17" name="ïṧḷíďe">
              <a:extLst>
                <a:ext uri="{FF2B5EF4-FFF2-40B4-BE49-F238E27FC236}">
                  <a16:creationId xmlns:a16="http://schemas.microsoft.com/office/drawing/2014/main" id="{7A0A9942-4087-4F7E-BF17-7C9A49DD0C28}"/>
                </a:ext>
              </a:extLst>
            </p:cNvPr>
            <p:cNvSpPr/>
            <p:nvPr/>
          </p:nvSpPr>
          <p:spPr>
            <a:xfrm>
              <a:off x="6016537" y="4502981"/>
              <a:ext cx="275300" cy="231400"/>
            </a:xfrm>
            <a:custGeom>
              <a:avLst/>
              <a:gdLst>
                <a:gd name="connsiteX0" fmla="*/ 536415 w 607227"/>
                <a:gd name="connsiteY0" fmla="*/ 12631 h 510399"/>
                <a:gd name="connsiteX1" fmla="*/ 557192 w 607227"/>
                <a:gd name="connsiteY1" fmla="*/ 21221 h 510399"/>
                <a:gd name="connsiteX2" fmla="*/ 598584 w 607227"/>
                <a:gd name="connsiteY2" fmla="*/ 62633 h 510399"/>
                <a:gd name="connsiteX3" fmla="*/ 598584 w 607227"/>
                <a:gd name="connsiteY3" fmla="*/ 104044 h 510399"/>
                <a:gd name="connsiteX4" fmla="*/ 511175 w 607227"/>
                <a:gd name="connsiteY4" fmla="*/ 191324 h 510399"/>
                <a:gd name="connsiteX5" fmla="*/ 444948 w 607227"/>
                <a:gd name="connsiteY5" fmla="*/ 257453 h 510399"/>
                <a:gd name="connsiteX6" fmla="*/ 339441 w 607227"/>
                <a:gd name="connsiteY6" fmla="*/ 362805 h 510399"/>
                <a:gd name="connsiteX7" fmla="*/ 297968 w 607227"/>
                <a:gd name="connsiteY7" fmla="*/ 404217 h 510399"/>
                <a:gd name="connsiteX8" fmla="*/ 277191 w 607227"/>
                <a:gd name="connsiteY8" fmla="*/ 412807 h 510399"/>
                <a:gd name="connsiteX9" fmla="*/ 256495 w 607227"/>
                <a:gd name="connsiteY9" fmla="*/ 404217 h 510399"/>
                <a:gd name="connsiteX10" fmla="*/ 215023 w 607227"/>
                <a:gd name="connsiteY10" fmla="*/ 362805 h 510399"/>
                <a:gd name="connsiteX11" fmla="*/ 138814 w 607227"/>
                <a:gd name="connsiteY11" fmla="*/ 286790 h 510399"/>
                <a:gd name="connsiteX12" fmla="*/ 138814 w 607227"/>
                <a:gd name="connsiteY12" fmla="*/ 245378 h 510399"/>
                <a:gd name="connsiteX13" fmla="*/ 180286 w 607227"/>
                <a:gd name="connsiteY13" fmla="*/ 203967 h 510399"/>
                <a:gd name="connsiteX14" fmla="*/ 201063 w 607227"/>
                <a:gd name="connsiteY14" fmla="*/ 195376 h 510399"/>
                <a:gd name="connsiteX15" fmla="*/ 221759 w 607227"/>
                <a:gd name="connsiteY15" fmla="*/ 203967 h 510399"/>
                <a:gd name="connsiteX16" fmla="*/ 277191 w 607227"/>
                <a:gd name="connsiteY16" fmla="*/ 259317 h 510399"/>
                <a:gd name="connsiteX17" fmla="*/ 444948 w 607227"/>
                <a:gd name="connsiteY17" fmla="*/ 91807 h 510399"/>
                <a:gd name="connsiteX18" fmla="*/ 503951 w 607227"/>
                <a:gd name="connsiteY18" fmla="*/ 32891 h 510399"/>
                <a:gd name="connsiteX19" fmla="*/ 515719 w 607227"/>
                <a:gd name="connsiteY19" fmla="*/ 21221 h 510399"/>
                <a:gd name="connsiteX20" fmla="*/ 536415 w 607227"/>
                <a:gd name="connsiteY20" fmla="*/ 12631 h 510399"/>
                <a:gd name="connsiteX21" fmla="*/ 61847 w 607227"/>
                <a:gd name="connsiteY21" fmla="*/ 0 h 510399"/>
                <a:gd name="connsiteX22" fmla="*/ 449328 w 607227"/>
                <a:gd name="connsiteY22" fmla="*/ 0 h 510399"/>
                <a:gd name="connsiteX23" fmla="*/ 491858 w 607227"/>
                <a:gd name="connsiteY23" fmla="*/ 17019 h 510399"/>
                <a:gd name="connsiteX24" fmla="*/ 442591 w 607227"/>
                <a:gd name="connsiteY24" fmla="*/ 66130 h 510399"/>
                <a:gd name="connsiteX25" fmla="*/ 66230 w 607227"/>
                <a:gd name="connsiteY25" fmla="*/ 66130 h 510399"/>
                <a:gd name="connsiteX26" fmla="*/ 66230 w 607227"/>
                <a:gd name="connsiteY26" fmla="*/ 444269 h 510399"/>
                <a:gd name="connsiteX27" fmla="*/ 444945 w 607227"/>
                <a:gd name="connsiteY27" fmla="*/ 444269 h 510399"/>
                <a:gd name="connsiteX28" fmla="*/ 444945 w 607227"/>
                <a:gd name="connsiteY28" fmla="*/ 285590 h 510399"/>
                <a:gd name="connsiteX29" fmla="*/ 511175 w 607227"/>
                <a:gd name="connsiteY29" fmla="*/ 219460 h 510399"/>
                <a:gd name="connsiteX30" fmla="*/ 511175 w 607227"/>
                <a:gd name="connsiteY30" fmla="*/ 448645 h 510399"/>
                <a:gd name="connsiteX31" fmla="*/ 449328 w 607227"/>
                <a:gd name="connsiteY31" fmla="*/ 510399 h 510399"/>
                <a:gd name="connsiteX32" fmla="*/ 61847 w 607227"/>
                <a:gd name="connsiteY32" fmla="*/ 510399 h 510399"/>
                <a:gd name="connsiteX33" fmla="*/ 0 w 607227"/>
                <a:gd name="connsiteY33" fmla="*/ 448645 h 510399"/>
                <a:gd name="connsiteX34" fmla="*/ 0 w 607227"/>
                <a:gd name="connsiteY34" fmla="*/ 61673 h 510399"/>
                <a:gd name="connsiteX35" fmla="*/ 61847 w 607227"/>
                <a:gd name="connsiteY35" fmla="*/ 0 h 510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607227" h="510399">
                  <a:moveTo>
                    <a:pt x="536415" y="12631"/>
                  </a:moveTo>
                  <a:cubicBezTo>
                    <a:pt x="543882" y="12631"/>
                    <a:pt x="551430" y="15467"/>
                    <a:pt x="557192" y="21221"/>
                  </a:cubicBezTo>
                  <a:lnTo>
                    <a:pt x="598584" y="62633"/>
                  </a:lnTo>
                  <a:cubicBezTo>
                    <a:pt x="610108" y="74059"/>
                    <a:pt x="610108" y="92618"/>
                    <a:pt x="598584" y="104044"/>
                  </a:cubicBezTo>
                  <a:lnTo>
                    <a:pt x="511175" y="191324"/>
                  </a:lnTo>
                  <a:lnTo>
                    <a:pt x="444948" y="257453"/>
                  </a:lnTo>
                  <a:lnTo>
                    <a:pt x="339441" y="362805"/>
                  </a:lnTo>
                  <a:lnTo>
                    <a:pt x="297968" y="404217"/>
                  </a:lnTo>
                  <a:cubicBezTo>
                    <a:pt x="292206" y="409971"/>
                    <a:pt x="284739" y="412807"/>
                    <a:pt x="277191" y="412807"/>
                  </a:cubicBezTo>
                  <a:cubicBezTo>
                    <a:pt x="269724" y="412807"/>
                    <a:pt x="262177" y="409971"/>
                    <a:pt x="256495" y="404217"/>
                  </a:cubicBezTo>
                  <a:lnTo>
                    <a:pt x="215023" y="362805"/>
                  </a:lnTo>
                  <a:lnTo>
                    <a:pt x="138814" y="286790"/>
                  </a:lnTo>
                  <a:cubicBezTo>
                    <a:pt x="127370" y="275363"/>
                    <a:pt x="127370" y="256805"/>
                    <a:pt x="138814" y="245378"/>
                  </a:cubicBezTo>
                  <a:lnTo>
                    <a:pt x="180286" y="203967"/>
                  </a:lnTo>
                  <a:cubicBezTo>
                    <a:pt x="186049" y="198213"/>
                    <a:pt x="193515" y="195376"/>
                    <a:pt x="201063" y="195376"/>
                  </a:cubicBezTo>
                  <a:cubicBezTo>
                    <a:pt x="208530" y="195376"/>
                    <a:pt x="215997" y="198213"/>
                    <a:pt x="221759" y="203967"/>
                  </a:cubicBezTo>
                  <a:lnTo>
                    <a:pt x="277191" y="259317"/>
                  </a:lnTo>
                  <a:lnTo>
                    <a:pt x="444948" y="91807"/>
                  </a:lnTo>
                  <a:lnTo>
                    <a:pt x="503951" y="32891"/>
                  </a:lnTo>
                  <a:lnTo>
                    <a:pt x="515719" y="21221"/>
                  </a:lnTo>
                  <a:cubicBezTo>
                    <a:pt x="521401" y="15467"/>
                    <a:pt x="528949" y="12631"/>
                    <a:pt x="536415" y="12631"/>
                  </a:cubicBezTo>
                  <a:close/>
                  <a:moveTo>
                    <a:pt x="61847" y="0"/>
                  </a:moveTo>
                  <a:lnTo>
                    <a:pt x="449328" y="0"/>
                  </a:lnTo>
                  <a:cubicBezTo>
                    <a:pt x="465804" y="0"/>
                    <a:pt x="480738" y="6483"/>
                    <a:pt x="491858" y="17019"/>
                  </a:cubicBezTo>
                  <a:lnTo>
                    <a:pt x="442591" y="66130"/>
                  </a:lnTo>
                  <a:lnTo>
                    <a:pt x="66230" y="66130"/>
                  </a:lnTo>
                  <a:lnTo>
                    <a:pt x="66230" y="444269"/>
                  </a:lnTo>
                  <a:lnTo>
                    <a:pt x="444945" y="444269"/>
                  </a:lnTo>
                  <a:lnTo>
                    <a:pt x="444945" y="285590"/>
                  </a:lnTo>
                  <a:lnTo>
                    <a:pt x="511175" y="219460"/>
                  </a:lnTo>
                  <a:lnTo>
                    <a:pt x="511175" y="448645"/>
                  </a:lnTo>
                  <a:cubicBezTo>
                    <a:pt x="511175" y="482683"/>
                    <a:pt x="483417" y="510399"/>
                    <a:pt x="449328" y="510399"/>
                  </a:cubicBezTo>
                  <a:lnTo>
                    <a:pt x="61847" y="510399"/>
                  </a:lnTo>
                  <a:cubicBezTo>
                    <a:pt x="27758" y="510399"/>
                    <a:pt x="0" y="482683"/>
                    <a:pt x="0" y="448645"/>
                  </a:cubicBezTo>
                  <a:lnTo>
                    <a:pt x="0" y="61673"/>
                  </a:lnTo>
                  <a:cubicBezTo>
                    <a:pt x="0" y="27635"/>
                    <a:pt x="27758" y="0"/>
                    <a:pt x="61847" y="0"/>
                  </a:cubicBez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 fontScale="625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/>
              <a:endParaRPr lang="zh-CN" altLang="en-US" sz="2000" b="1" i="1" dirty="0"/>
            </a:p>
          </p:txBody>
        </p:sp>
        <p:sp>
          <p:nvSpPr>
            <p:cNvPr id="18" name="îś1ïde">
              <a:extLst>
                <a:ext uri="{FF2B5EF4-FFF2-40B4-BE49-F238E27FC236}">
                  <a16:creationId xmlns:a16="http://schemas.microsoft.com/office/drawing/2014/main" id="{AD2C13B8-AAE2-464E-A629-3CB1B59F115C}"/>
                </a:ext>
              </a:extLst>
            </p:cNvPr>
            <p:cNvSpPr/>
            <p:nvPr/>
          </p:nvSpPr>
          <p:spPr bwMode="auto">
            <a:xfrm>
              <a:off x="6395581" y="4202096"/>
              <a:ext cx="4528348" cy="81301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marL="171450" indent="-171450">
                <a:lnSpc>
                  <a:spcPct val="120000"/>
                </a:lnSpc>
                <a:buFont typeface="Arial" panose="020B0604020202020204" pitchFamily="34" charset="0"/>
                <a:buChar char="•"/>
              </a:pPr>
              <a:r>
                <a:rPr lang="zh-CN" altLang="en-US" sz="2500" dirty="0"/>
                <a:t>造口并发症的观察与预防</a:t>
              </a:r>
              <a:endParaRPr lang="en-US" altLang="zh-CN" sz="2500" dirty="0"/>
            </a:p>
          </p:txBody>
        </p:sp>
        <p:sp>
          <p:nvSpPr>
            <p:cNvPr id="19" name="išḷíďe">
              <a:extLst>
                <a:ext uri="{FF2B5EF4-FFF2-40B4-BE49-F238E27FC236}">
                  <a16:creationId xmlns:a16="http://schemas.microsoft.com/office/drawing/2014/main" id="{FDA5EBFB-4A76-41CA-ABF0-7ADD42E38F7D}"/>
                </a:ext>
              </a:extLst>
            </p:cNvPr>
            <p:cNvSpPr/>
            <p:nvPr/>
          </p:nvSpPr>
          <p:spPr>
            <a:xfrm>
              <a:off x="6016537" y="4993042"/>
              <a:ext cx="275300" cy="231400"/>
            </a:xfrm>
            <a:custGeom>
              <a:avLst/>
              <a:gdLst>
                <a:gd name="connsiteX0" fmla="*/ 536415 w 607227"/>
                <a:gd name="connsiteY0" fmla="*/ 12631 h 510399"/>
                <a:gd name="connsiteX1" fmla="*/ 557192 w 607227"/>
                <a:gd name="connsiteY1" fmla="*/ 21221 h 510399"/>
                <a:gd name="connsiteX2" fmla="*/ 598584 w 607227"/>
                <a:gd name="connsiteY2" fmla="*/ 62633 h 510399"/>
                <a:gd name="connsiteX3" fmla="*/ 598584 w 607227"/>
                <a:gd name="connsiteY3" fmla="*/ 104044 h 510399"/>
                <a:gd name="connsiteX4" fmla="*/ 511175 w 607227"/>
                <a:gd name="connsiteY4" fmla="*/ 191324 h 510399"/>
                <a:gd name="connsiteX5" fmla="*/ 444948 w 607227"/>
                <a:gd name="connsiteY5" fmla="*/ 257453 h 510399"/>
                <a:gd name="connsiteX6" fmla="*/ 339441 w 607227"/>
                <a:gd name="connsiteY6" fmla="*/ 362805 h 510399"/>
                <a:gd name="connsiteX7" fmla="*/ 297968 w 607227"/>
                <a:gd name="connsiteY7" fmla="*/ 404217 h 510399"/>
                <a:gd name="connsiteX8" fmla="*/ 277191 w 607227"/>
                <a:gd name="connsiteY8" fmla="*/ 412807 h 510399"/>
                <a:gd name="connsiteX9" fmla="*/ 256495 w 607227"/>
                <a:gd name="connsiteY9" fmla="*/ 404217 h 510399"/>
                <a:gd name="connsiteX10" fmla="*/ 215023 w 607227"/>
                <a:gd name="connsiteY10" fmla="*/ 362805 h 510399"/>
                <a:gd name="connsiteX11" fmla="*/ 138814 w 607227"/>
                <a:gd name="connsiteY11" fmla="*/ 286790 h 510399"/>
                <a:gd name="connsiteX12" fmla="*/ 138814 w 607227"/>
                <a:gd name="connsiteY12" fmla="*/ 245378 h 510399"/>
                <a:gd name="connsiteX13" fmla="*/ 180286 w 607227"/>
                <a:gd name="connsiteY13" fmla="*/ 203967 h 510399"/>
                <a:gd name="connsiteX14" fmla="*/ 201063 w 607227"/>
                <a:gd name="connsiteY14" fmla="*/ 195376 h 510399"/>
                <a:gd name="connsiteX15" fmla="*/ 221759 w 607227"/>
                <a:gd name="connsiteY15" fmla="*/ 203967 h 510399"/>
                <a:gd name="connsiteX16" fmla="*/ 277191 w 607227"/>
                <a:gd name="connsiteY16" fmla="*/ 259317 h 510399"/>
                <a:gd name="connsiteX17" fmla="*/ 444948 w 607227"/>
                <a:gd name="connsiteY17" fmla="*/ 91807 h 510399"/>
                <a:gd name="connsiteX18" fmla="*/ 503951 w 607227"/>
                <a:gd name="connsiteY18" fmla="*/ 32891 h 510399"/>
                <a:gd name="connsiteX19" fmla="*/ 515719 w 607227"/>
                <a:gd name="connsiteY19" fmla="*/ 21221 h 510399"/>
                <a:gd name="connsiteX20" fmla="*/ 536415 w 607227"/>
                <a:gd name="connsiteY20" fmla="*/ 12631 h 510399"/>
                <a:gd name="connsiteX21" fmla="*/ 61847 w 607227"/>
                <a:gd name="connsiteY21" fmla="*/ 0 h 510399"/>
                <a:gd name="connsiteX22" fmla="*/ 449328 w 607227"/>
                <a:gd name="connsiteY22" fmla="*/ 0 h 510399"/>
                <a:gd name="connsiteX23" fmla="*/ 491858 w 607227"/>
                <a:gd name="connsiteY23" fmla="*/ 17019 h 510399"/>
                <a:gd name="connsiteX24" fmla="*/ 442591 w 607227"/>
                <a:gd name="connsiteY24" fmla="*/ 66130 h 510399"/>
                <a:gd name="connsiteX25" fmla="*/ 66230 w 607227"/>
                <a:gd name="connsiteY25" fmla="*/ 66130 h 510399"/>
                <a:gd name="connsiteX26" fmla="*/ 66230 w 607227"/>
                <a:gd name="connsiteY26" fmla="*/ 444269 h 510399"/>
                <a:gd name="connsiteX27" fmla="*/ 444945 w 607227"/>
                <a:gd name="connsiteY27" fmla="*/ 444269 h 510399"/>
                <a:gd name="connsiteX28" fmla="*/ 444945 w 607227"/>
                <a:gd name="connsiteY28" fmla="*/ 285590 h 510399"/>
                <a:gd name="connsiteX29" fmla="*/ 511175 w 607227"/>
                <a:gd name="connsiteY29" fmla="*/ 219460 h 510399"/>
                <a:gd name="connsiteX30" fmla="*/ 511175 w 607227"/>
                <a:gd name="connsiteY30" fmla="*/ 448645 h 510399"/>
                <a:gd name="connsiteX31" fmla="*/ 449328 w 607227"/>
                <a:gd name="connsiteY31" fmla="*/ 510399 h 510399"/>
                <a:gd name="connsiteX32" fmla="*/ 61847 w 607227"/>
                <a:gd name="connsiteY32" fmla="*/ 510399 h 510399"/>
                <a:gd name="connsiteX33" fmla="*/ 0 w 607227"/>
                <a:gd name="connsiteY33" fmla="*/ 448645 h 510399"/>
                <a:gd name="connsiteX34" fmla="*/ 0 w 607227"/>
                <a:gd name="connsiteY34" fmla="*/ 61673 h 510399"/>
                <a:gd name="connsiteX35" fmla="*/ 61847 w 607227"/>
                <a:gd name="connsiteY35" fmla="*/ 0 h 510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607227" h="510399">
                  <a:moveTo>
                    <a:pt x="536415" y="12631"/>
                  </a:moveTo>
                  <a:cubicBezTo>
                    <a:pt x="543882" y="12631"/>
                    <a:pt x="551430" y="15467"/>
                    <a:pt x="557192" y="21221"/>
                  </a:cubicBezTo>
                  <a:lnTo>
                    <a:pt x="598584" y="62633"/>
                  </a:lnTo>
                  <a:cubicBezTo>
                    <a:pt x="610108" y="74059"/>
                    <a:pt x="610108" y="92618"/>
                    <a:pt x="598584" y="104044"/>
                  </a:cubicBezTo>
                  <a:lnTo>
                    <a:pt x="511175" y="191324"/>
                  </a:lnTo>
                  <a:lnTo>
                    <a:pt x="444948" y="257453"/>
                  </a:lnTo>
                  <a:lnTo>
                    <a:pt x="339441" y="362805"/>
                  </a:lnTo>
                  <a:lnTo>
                    <a:pt x="297968" y="404217"/>
                  </a:lnTo>
                  <a:cubicBezTo>
                    <a:pt x="292206" y="409971"/>
                    <a:pt x="284739" y="412807"/>
                    <a:pt x="277191" y="412807"/>
                  </a:cubicBezTo>
                  <a:cubicBezTo>
                    <a:pt x="269724" y="412807"/>
                    <a:pt x="262177" y="409971"/>
                    <a:pt x="256495" y="404217"/>
                  </a:cubicBezTo>
                  <a:lnTo>
                    <a:pt x="215023" y="362805"/>
                  </a:lnTo>
                  <a:lnTo>
                    <a:pt x="138814" y="286790"/>
                  </a:lnTo>
                  <a:cubicBezTo>
                    <a:pt x="127370" y="275363"/>
                    <a:pt x="127370" y="256805"/>
                    <a:pt x="138814" y="245378"/>
                  </a:cubicBezTo>
                  <a:lnTo>
                    <a:pt x="180286" y="203967"/>
                  </a:lnTo>
                  <a:cubicBezTo>
                    <a:pt x="186049" y="198213"/>
                    <a:pt x="193515" y="195376"/>
                    <a:pt x="201063" y="195376"/>
                  </a:cubicBezTo>
                  <a:cubicBezTo>
                    <a:pt x="208530" y="195376"/>
                    <a:pt x="215997" y="198213"/>
                    <a:pt x="221759" y="203967"/>
                  </a:cubicBezTo>
                  <a:lnTo>
                    <a:pt x="277191" y="259317"/>
                  </a:lnTo>
                  <a:lnTo>
                    <a:pt x="444948" y="91807"/>
                  </a:lnTo>
                  <a:lnTo>
                    <a:pt x="503951" y="32891"/>
                  </a:lnTo>
                  <a:lnTo>
                    <a:pt x="515719" y="21221"/>
                  </a:lnTo>
                  <a:cubicBezTo>
                    <a:pt x="521401" y="15467"/>
                    <a:pt x="528949" y="12631"/>
                    <a:pt x="536415" y="12631"/>
                  </a:cubicBezTo>
                  <a:close/>
                  <a:moveTo>
                    <a:pt x="61847" y="0"/>
                  </a:moveTo>
                  <a:lnTo>
                    <a:pt x="449328" y="0"/>
                  </a:lnTo>
                  <a:cubicBezTo>
                    <a:pt x="465804" y="0"/>
                    <a:pt x="480738" y="6483"/>
                    <a:pt x="491858" y="17019"/>
                  </a:cubicBezTo>
                  <a:lnTo>
                    <a:pt x="442591" y="66130"/>
                  </a:lnTo>
                  <a:lnTo>
                    <a:pt x="66230" y="66130"/>
                  </a:lnTo>
                  <a:lnTo>
                    <a:pt x="66230" y="444269"/>
                  </a:lnTo>
                  <a:lnTo>
                    <a:pt x="444945" y="444269"/>
                  </a:lnTo>
                  <a:lnTo>
                    <a:pt x="444945" y="285590"/>
                  </a:lnTo>
                  <a:lnTo>
                    <a:pt x="511175" y="219460"/>
                  </a:lnTo>
                  <a:lnTo>
                    <a:pt x="511175" y="448645"/>
                  </a:lnTo>
                  <a:cubicBezTo>
                    <a:pt x="511175" y="482683"/>
                    <a:pt x="483417" y="510399"/>
                    <a:pt x="449328" y="510399"/>
                  </a:cubicBezTo>
                  <a:lnTo>
                    <a:pt x="61847" y="510399"/>
                  </a:lnTo>
                  <a:cubicBezTo>
                    <a:pt x="27758" y="510399"/>
                    <a:pt x="0" y="482683"/>
                    <a:pt x="0" y="448645"/>
                  </a:cubicBezTo>
                  <a:lnTo>
                    <a:pt x="0" y="61673"/>
                  </a:lnTo>
                  <a:cubicBezTo>
                    <a:pt x="0" y="27635"/>
                    <a:pt x="27758" y="0"/>
                    <a:pt x="61847" y="0"/>
                  </a:cubicBez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 fontScale="625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/>
              <a:endParaRPr lang="zh-CN" altLang="en-US" sz="2000" b="1" i="1" dirty="0"/>
            </a:p>
          </p:txBody>
        </p:sp>
        <p:sp>
          <p:nvSpPr>
            <p:cNvPr id="20" name="íšḻíḋê">
              <a:extLst>
                <a:ext uri="{FF2B5EF4-FFF2-40B4-BE49-F238E27FC236}">
                  <a16:creationId xmlns:a16="http://schemas.microsoft.com/office/drawing/2014/main" id="{301F72C6-04A6-47A3-A17D-9D4D72146A45}"/>
                </a:ext>
              </a:extLst>
            </p:cNvPr>
            <p:cNvSpPr/>
            <p:nvPr/>
          </p:nvSpPr>
          <p:spPr bwMode="auto">
            <a:xfrm>
              <a:off x="6395581" y="4692157"/>
              <a:ext cx="4528348" cy="81301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 anchorCtr="0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marL="171450" indent="-171450">
                <a:lnSpc>
                  <a:spcPct val="120000"/>
                </a:lnSpc>
                <a:buFont typeface="Arial" panose="020B0604020202020204" pitchFamily="34" charset="0"/>
                <a:buChar char="•"/>
              </a:pPr>
              <a:r>
                <a:rPr lang="zh-CN" altLang="en-US" sz="2500" dirty="0"/>
                <a:t>帮助病人认可并参与造口的护理</a:t>
              </a:r>
              <a:endParaRPr lang="en-US" altLang="zh-CN" sz="2500" dirty="0"/>
            </a:p>
          </p:txBody>
        </p:sp>
        <p:cxnSp>
          <p:nvCxnSpPr>
            <p:cNvPr id="21" name="直接连接符 20">
              <a:extLst>
                <a:ext uri="{FF2B5EF4-FFF2-40B4-BE49-F238E27FC236}">
                  <a16:creationId xmlns:a16="http://schemas.microsoft.com/office/drawing/2014/main" id="{ED8B763F-25EA-470A-8DA5-D6A9CB6515D6}"/>
                </a:ext>
              </a:extLst>
            </p:cNvPr>
            <p:cNvCxnSpPr/>
            <p:nvPr/>
          </p:nvCxnSpPr>
          <p:spPr>
            <a:xfrm>
              <a:off x="6672404" y="2377177"/>
              <a:ext cx="4846496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直接连接符 21">
              <a:extLst>
                <a:ext uri="{FF2B5EF4-FFF2-40B4-BE49-F238E27FC236}">
                  <a16:creationId xmlns:a16="http://schemas.microsoft.com/office/drawing/2014/main" id="{ED727CB7-845C-46E8-BC16-7A1E7F5190F5}"/>
                </a:ext>
              </a:extLst>
            </p:cNvPr>
            <p:cNvCxnSpPr/>
            <p:nvPr/>
          </p:nvCxnSpPr>
          <p:spPr>
            <a:xfrm>
              <a:off x="6672404" y="2867242"/>
              <a:ext cx="4846496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直接连接符 22">
              <a:extLst>
                <a:ext uri="{FF2B5EF4-FFF2-40B4-BE49-F238E27FC236}">
                  <a16:creationId xmlns:a16="http://schemas.microsoft.com/office/drawing/2014/main" id="{14C84A3E-7FD0-40FC-AFFB-4F4E562DA8BA}"/>
                </a:ext>
              </a:extLst>
            </p:cNvPr>
            <p:cNvCxnSpPr/>
            <p:nvPr/>
          </p:nvCxnSpPr>
          <p:spPr>
            <a:xfrm>
              <a:off x="6672404" y="3357307"/>
              <a:ext cx="4846496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直接连接符 23">
              <a:extLst>
                <a:ext uri="{FF2B5EF4-FFF2-40B4-BE49-F238E27FC236}">
                  <a16:creationId xmlns:a16="http://schemas.microsoft.com/office/drawing/2014/main" id="{8E794C0A-2D5B-45AC-AA5C-8DBC96346153}"/>
                </a:ext>
              </a:extLst>
            </p:cNvPr>
            <p:cNvCxnSpPr/>
            <p:nvPr/>
          </p:nvCxnSpPr>
          <p:spPr>
            <a:xfrm>
              <a:off x="6672404" y="3847372"/>
              <a:ext cx="4846496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直接连接符 24">
              <a:extLst>
                <a:ext uri="{FF2B5EF4-FFF2-40B4-BE49-F238E27FC236}">
                  <a16:creationId xmlns:a16="http://schemas.microsoft.com/office/drawing/2014/main" id="{E9E0F864-43B2-4A94-9F09-085B0337A3D9}"/>
                </a:ext>
              </a:extLst>
            </p:cNvPr>
            <p:cNvCxnSpPr/>
            <p:nvPr/>
          </p:nvCxnSpPr>
          <p:spPr>
            <a:xfrm>
              <a:off x="6672404" y="4337437"/>
              <a:ext cx="4846496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直接连接符 25">
              <a:extLst>
                <a:ext uri="{FF2B5EF4-FFF2-40B4-BE49-F238E27FC236}">
                  <a16:creationId xmlns:a16="http://schemas.microsoft.com/office/drawing/2014/main" id="{2327AF5A-883E-4551-AEF9-9C34E03546A6}"/>
                </a:ext>
              </a:extLst>
            </p:cNvPr>
            <p:cNvCxnSpPr/>
            <p:nvPr/>
          </p:nvCxnSpPr>
          <p:spPr>
            <a:xfrm>
              <a:off x="6672404" y="4827502"/>
              <a:ext cx="4846496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3" name="iṩļíďè">
            <a:extLst>
              <a:ext uri="{FF2B5EF4-FFF2-40B4-BE49-F238E27FC236}">
                <a16:creationId xmlns:a16="http://schemas.microsoft.com/office/drawing/2014/main" id="{0076BA66-DB59-46E0-8FD5-C36D8E2D6E65}"/>
              </a:ext>
            </a:extLst>
          </p:cNvPr>
          <p:cNvSpPr txBox="1"/>
          <p:nvPr/>
        </p:nvSpPr>
        <p:spPr bwMode="auto">
          <a:xfrm>
            <a:off x="5717199" y="1028700"/>
            <a:ext cx="3317357" cy="1172262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ctr" anchorCtr="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</a:pPr>
            <a:r>
              <a:rPr lang="zh-CN" altLang="en-US" sz="3200" b="1" dirty="0">
                <a:solidFill>
                  <a:srgbClr val="C00000"/>
                </a:solidFill>
              </a:rPr>
              <a:t>结肠造口的护理</a:t>
            </a:r>
            <a:endParaRPr lang="en-US" altLang="zh-CN" sz="3200" b="1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53176329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框 2">
            <a:extLst>
              <a:ext uri="{FF2B5EF4-FFF2-40B4-BE49-F238E27FC236}">
                <a16:creationId xmlns:a16="http://schemas.microsoft.com/office/drawing/2014/main" id="{9B60BF93-EA8A-46AD-9628-FAD9C828F3E8}"/>
              </a:ext>
            </a:extLst>
          </p:cNvPr>
          <p:cNvSpPr txBox="1"/>
          <p:nvPr/>
        </p:nvSpPr>
        <p:spPr>
          <a:xfrm>
            <a:off x="669925" y="422414"/>
            <a:ext cx="5454503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4000" b="1" dirty="0"/>
              <a:t>健康教育</a:t>
            </a:r>
          </a:p>
        </p:txBody>
      </p:sp>
      <p:grpSp>
        <p:nvGrpSpPr>
          <p:cNvPr id="239" name="121285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1C5D1161-2C49-4AB5-B422-0639A67DEE51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1208695" y="1773381"/>
            <a:ext cx="9793005" cy="3733624"/>
            <a:chOff x="1199456" y="2179778"/>
            <a:chExt cx="9793005" cy="3733624"/>
          </a:xfrm>
        </p:grpSpPr>
        <p:grpSp>
          <p:nvGrpSpPr>
            <p:cNvPr id="240" name="ï$ļiḋe">
              <a:extLst>
                <a:ext uri="{FF2B5EF4-FFF2-40B4-BE49-F238E27FC236}">
                  <a16:creationId xmlns:a16="http://schemas.microsoft.com/office/drawing/2014/main" id="{D780CC2E-91AF-4A78-9310-B986A558BD3F}"/>
                </a:ext>
              </a:extLst>
            </p:cNvPr>
            <p:cNvGrpSpPr/>
            <p:nvPr/>
          </p:nvGrpSpPr>
          <p:grpSpPr>
            <a:xfrm>
              <a:off x="6781981" y="3220048"/>
              <a:ext cx="960102" cy="2382732"/>
              <a:chOff x="6781981" y="3220048"/>
              <a:chExt cx="960102" cy="2382732"/>
            </a:xfrm>
            <a:solidFill>
              <a:schemeClr val="accent3"/>
            </a:solidFill>
          </p:grpSpPr>
          <p:sp>
            <p:nvSpPr>
              <p:cNvPr id="286" name="íşḻiḓè">
                <a:extLst>
                  <a:ext uri="{FF2B5EF4-FFF2-40B4-BE49-F238E27FC236}">
                    <a16:creationId xmlns:a16="http://schemas.microsoft.com/office/drawing/2014/main" id="{ECA1A2B1-A678-40B8-815C-3724AA2F110A}"/>
                  </a:ext>
                </a:extLst>
              </p:cNvPr>
              <p:cNvSpPr/>
              <p:nvPr/>
            </p:nvSpPr>
            <p:spPr bwMode="auto">
              <a:xfrm>
                <a:off x="7202026" y="3548895"/>
                <a:ext cx="540057" cy="2053885"/>
              </a:xfrm>
              <a:custGeom>
                <a:avLst/>
                <a:gdLst/>
                <a:ahLst/>
                <a:cxnLst>
                  <a:cxn ang="0">
                    <a:pos x="276" y="977"/>
                  </a:cxn>
                  <a:cxn ang="0">
                    <a:pos x="183" y="802"/>
                  </a:cxn>
                  <a:cxn ang="0">
                    <a:pos x="208" y="613"/>
                  </a:cxn>
                  <a:cxn ang="0">
                    <a:pos x="267" y="518"/>
                  </a:cxn>
                  <a:cxn ang="0">
                    <a:pos x="267" y="109"/>
                  </a:cxn>
                  <a:cxn ang="0">
                    <a:pos x="160" y="0"/>
                  </a:cxn>
                  <a:cxn ang="0">
                    <a:pos x="105" y="0"/>
                  </a:cxn>
                  <a:cxn ang="0">
                    <a:pos x="0" y="86"/>
                  </a:cxn>
                  <a:cxn ang="0">
                    <a:pos x="112" y="66"/>
                  </a:cxn>
                  <a:cxn ang="0">
                    <a:pos x="125" y="63"/>
                  </a:cxn>
                  <a:cxn ang="0">
                    <a:pos x="192" y="125"/>
                  </a:cxn>
                  <a:cxn ang="0">
                    <a:pos x="180" y="176"/>
                  </a:cxn>
                  <a:cxn ang="0">
                    <a:pos x="135" y="207"/>
                  </a:cxn>
                  <a:cxn ang="0">
                    <a:pos x="0" y="228"/>
                  </a:cxn>
                  <a:cxn ang="0">
                    <a:pos x="0" y="518"/>
                  </a:cxn>
                  <a:cxn ang="0">
                    <a:pos x="74" y="622"/>
                  </a:cxn>
                  <a:cxn ang="0">
                    <a:pos x="50" y="806"/>
                  </a:cxn>
                  <a:cxn ang="0">
                    <a:pos x="50" y="813"/>
                  </a:cxn>
                  <a:cxn ang="0">
                    <a:pos x="57" y="840"/>
                  </a:cxn>
                  <a:cxn ang="0">
                    <a:pos x="162" y="1041"/>
                  </a:cxn>
                  <a:cxn ang="0">
                    <a:pos x="241" y="1065"/>
                  </a:cxn>
                  <a:cxn ang="0">
                    <a:pos x="253" y="1056"/>
                  </a:cxn>
                  <a:cxn ang="0">
                    <a:pos x="276" y="977"/>
                  </a:cxn>
                </a:cxnLst>
                <a:rect l="0" t="0" r="r" b="b"/>
                <a:pathLst>
                  <a:path w="294" h="1076">
                    <a:moveTo>
                      <a:pt x="276" y="977"/>
                    </a:moveTo>
                    <a:cubicBezTo>
                      <a:pt x="183" y="802"/>
                      <a:pt x="183" y="802"/>
                      <a:pt x="183" y="802"/>
                    </a:cubicBezTo>
                    <a:cubicBezTo>
                      <a:pt x="208" y="613"/>
                      <a:pt x="208" y="613"/>
                      <a:pt x="208" y="613"/>
                    </a:cubicBezTo>
                    <a:cubicBezTo>
                      <a:pt x="245" y="595"/>
                      <a:pt x="267" y="558"/>
                      <a:pt x="267" y="518"/>
                    </a:cubicBezTo>
                    <a:cubicBezTo>
                      <a:pt x="267" y="109"/>
                      <a:pt x="267" y="109"/>
                      <a:pt x="267" y="109"/>
                    </a:cubicBezTo>
                    <a:cubicBezTo>
                      <a:pt x="267" y="48"/>
                      <a:pt x="220" y="0"/>
                      <a:pt x="160" y="0"/>
                    </a:cubicBezTo>
                    <a:cubicBezTo>
                      <a:pt x="105" y="0"/>
                      <a:pt x="105" y="0"/>
                      <a:pt x="105" y="0"/>
                    </a:cubicBezTo>
                    <a:cubicBezTo>
                      <a:pt x="55" y="0"/>
                      <a:pt x="12" y="36"/>
                      <a:pt x="0" y="86"/>
                    </a:cubicBezTo>
                    <a:cubicBezTo>
                      <a:pt x="112" y="66"/>
                      <a:pt x="112" y="66"/>
                      <a:pt x="112" y="66"/>
                    </a:cubicBezTo>
                    <a:cubicBezTo>
                      <a:pt x="114" y="63"/>
                      <a:pt x="121" y="63"/>
                      <a:pt x="125" y="63"/>
                    </a:cubicBezTo>
                    <a:cubicBezTo>
                      <a:pt x="156" y="63"/>
                      <a:pt x="186" y="90"/>
                      <a:pt x="192" y="125"/>
                    </a:cubicBezTo>
                    <a:cubicBezTo>
                      <a:pt x="196" y="143"/>
                      <a:pt x="188" y="162"/>
                      <a:pt x="180" y="176"/>
                    </a:cubicBezTo>
                    <a:cubicBezTo>
                      <a:pt x="168" y="195"/>
                      <a:pt x="154" y="203"/>
                      <a:pt x="135" y="207"/>
                    </a:cubicBezTo>
                    <a:cubicBezTo>
                      <a:pt x="0" y="228"/>
                      <a:pt x="0" y="228"/>
                      <a:pt x="0" y="228"/>
                    </a:cubicBezTo>
                    <a:cubicBezTo>
                      <a:pt x="0" y="518"/>
                      <a:pt x="0" y="518"/>
                      <a:pt x="0" y="518"/>
                    </a:cubicBezTo>
                    <a:cubicBezTo>
                      <a:pt x="0" y="567"/>
                      <a:pt x="28" y="607"/>
                      <a:pt x="74" y="622"/>
                    </a:cubicBezTo>
                    <a:cubicBezTo>
                      <a:pt x="50" y="806"/>
                      <a:pt x="50" y="806"/>
                      <a:pt x="50" y="806"/>
                    </a:cubicBezTo>
                    <a:cubicBezTo>
                      <a:pt x="50" y="806"/>
                      <a:pt x="50" y="810"/>
                      <a:pt x="50" y="813"/>
                    </a:cubicBezTo>
                    <a:cubicBezTo>
                      <a:pt x="50" y="821"/>
                      <a:pt x="55" y="831"/>
                      <a:pt x="57" y="840"/>
                    </a:cubicBezTo>
                    <a:cubicBezTo>
                      <a:pt x="162" y="1041"/>
                      <a:pt x="162" y="1041"/>
                      <a:pt x="162" y="1041"/>
                    </a:cubicBezTo>
                    <a:cubicBezTo>
                      <a:pt x="176" y="1068"/>
                      <a:pt x="212" y="1076"/>
                      <a:pt x="241" y="1065"/>
                    </a:cubicBezTo>
                    <a:cubicBezTo>
                      <a:pt x="253" y="1056"/>
                      <a:pt x="253" y="1056"/>
                      <a:pt x="253" y="1056"/>
                    </a:cubicBezTo>
                    <a:cubicBezTo>
                      <a:pt x="284" y="1041"/>
                      <a:pt x="294" y="1008"/>
                      <a:pt x="276" y="977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/>
              </a:p>
            </p:txBody>
          </p:sp>
          <p:sp>
            <p:nvSpPr>
              <p:cNvPr id="287" name="íśľïḋé">
                <a:extLst>
                  <a:ext uri="{FF2B5EF4-FFF2-40B4-BE49-F238E27FC236}">
                    <a16:creationId xmlns:a16="http://schemas.microsoft.com/office/drawing/2014/main" id="{D8044FFD-6E1C-4041-9AC9-0C43C1DE53F7}"/>
                  </a:ext>
                </a:extLst>
              </p:cNvPr>
              <p:cNvSpPr/>
              <p:nvPr/>
            </p:nvSpPr>
            <p:spPr bwMode="auto">
              <a:xfrm>
                <a:off x="6852898" y="3405734"/>
                <a:ext cx="672344" cy="583989"/>
              </a:xfrm>
              <a:custGeom>
                <a:avLst/>
                <a:gdLst/>
                <a:ahLst/>
                <a:cxnLst>
                  <a:cxn ang="0">
                    <a:pos x="104" y="53"/>
                  </a:cxn>
                  <a:cxn ang="0">
                    <a:pos x="55" y="2"/>
                  </a:cxn>
                  <a:cxn ang="0">
                    <a:pos x="2" y="53"/>
                  </a:cxn>
                  <a:cxn ang="0">
                    <a:pos x="4" y="253"/>
                  </a:cxn>
                  <a:cxn ang="0">
                    <a:pos x="57" y="306"/>
                  </a:cxn>
                  <a:cxn ang="0">
                    <a:pos x="57" y="306"/>
                  </a:cxn>
                  <a:cxn ang="0">
                    <a:pos x="68" y="303"/>
                  </a:cxn>
                  <a:cxn ang="0">
                    <a:pos x="323" y="263"/>
                  </a:cxn>
                  <a:cxn ang="0">
                    <a:pos x="364" y="202"/>
                  </a:cxn>
                  <a:cxn ang="0">
                    <a:pos x="304" y="161"/>
                  </a:cxn>
                  <a:cxn ang="0">
                    <a:pos x="109" y="191"/>
                  </a:cxn>
                  <a:cxn ang="0">
                    <a:pos x="104" y="53"/>
                  </a:cxn>
                </a:cxnLst>
                <a:rect l="0" t="0" r="r" b="b"/>
                <a:pathLst>
                  <a:path w="366" h="306">
                    <a:moveTo>
                      <a:pt x="104" y="53"/>
                    </a:moveTo>
                    <a:cubicBezTo>
                      <a:pt x="104" y="23"/>
                      <a:pt x="80" y="0"/>
                      <a:pt x="55" y="2"/>
                    </a:cubicBezTo>
                    <a:cubicBezTo>
                      <a:pt x="24" y="2"/>
                      <a:pt x="0" y="27"/>
                      <a:pt x="2" y="53"/>
                    </a:cubicBezTo>
                    <a:cubicBezTo>
                      <a:pt x="4" y="253"/>
                      <a:pt x="4" y="253"/>
                      <a:pt x="4" y="253"/>
                    </a:cubicBezTo>
                    <a:cubicBezTo>
                      <a:pt x="4" y="282"/>
                      <a:pt x="27" y="306"/>
                      <a:pt x="57" y="306"/>
                    </a:cubicBezTo>
                    <a:cubicBezTo>
                      <a:pt x="57" y="306"/>
                      <a:pt x="57" y="306"/>
                      <a:pt x="57" y="306"/>
                    </a:cubicBezTo>
                    <a:cubicBezTo>
                      <a:pt x="61" y="306"/>
                      <a:pt x="67" y="306"/>
                      <a:pt x="68" y="303"/>
                    </a:cubicBezTo>
                    <a:cubicBezTo>
                      <a:pt x="323" y="263"/>
                      <a:pt x="323" y="263"/>
                      <a:pt x="323" y="263"/>
                    </a:cubicBezTo>
                    <a:cubicBezTo>
                      <a:pt x="350" y="257"/>
                      <a:pt x="366" y="230"/>
                      <a:pt x="364" y="202"/>
                    </a:cubicBezTo>
                    <a:cubicBezTo>
                      <a:pt x="358" y="175"/>
                      <a:pt x="330" y="154"/>
                      <a:pt x="304" y="161"/>
                    </a:cubicBezTo>
                    <a:cubicBezTo>
                      <a:pt x="109" y="191"/>
                      <a:pt x="109" y="191"/>
                      <a:pt x="109" y="191"/>
                    </a:cubicBezTo>
                    <a:lnTo>
                      <a:pt x="104" y="53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/>
              </a:p>
            </p:txBody>
          </p:sp>
          <p:sp>
            <p:nvSpPr>
              <p:cNvPr id="288" name="ïSlîḋê">
                <a:extLst>
                  <a:ext uri="{FF2B5EF4-FFF2-40B4-BE49-F238E27FC236}">
                    <a16:creationId xmlns:a16="http://schemas.microsoft.com/office/drawing/2014/main" id="{4AC21CBD-1A8C-49EF-A148-8561730E9158}"/>
                  </a:ext>
                </a:extLst>
              </p:cNvPr>
              <p:cNvSpPr/>
              <p:nvPr/>
            </p:nvSpPr>
            <p:spPr bwMode="auto">
              <a:xfrm>
                <a:off x="6781981" y="3520546"/>
                <a:ext cx="379131" cy="559893"/>
              </a:xfrm>
              <a:custGeom>
                <a:avLst/>
                <a:gdLst/>
                <a:ahLst/>
                <a:cxnLst>
                  <a:cxn ang="0">
                    <a:pos x="207" y="246"/>
                  </a:cxn>
                  <a:cxn ang="0">
                    <a:pos x="109" y="264"/>
                  </a:cxn>
                  <a:cxn ang="0">
                    <a:pos x="100" y="264"/>
                  </a:cxn>
                  <a:cxn ang="0">
                    <a:pos x="100" y="264"/>
                  </a:cxn>
                  <a:cxn ang="0">
                    <a:pos x="96" y="264"/>
                  </a:cxn>
                  <a:cxn ang="0">
                    <a:pos x="96" y="264"/>
                  </a:cxn>
                  <a:cxn ang="0">
                    <a:pos x="25" y="193"/>
                  </a:cxn>
                  <a:cxn ang="0">
                    <a:pos x="20" y="0"/>
                  </a:cxn>
                  <a:cxn ang="0">
                    <a:pos x="0" y="43"/>
                  </a:cxn>
                  <a:cxn ang="0">
                    <a:pos x="1" y="243"/>
                  </a:cxn>
                  <a:cxn ang="0">
                    <a:pos x="56" y="293"/>
                  </a:cxn>
                  <a:cxn ang="0">
                    <a:pos x="56" y="293"/>
                  </a:cxn>
                  <a:cxn ang="0">
                    <a:pos x="66" y="291"/>
                  </a:cxn>
                  <a:cxn ang="0">
                    <a:pos x="207" y="269"/>
                  </a:cxn>
                  <a:cxn ang="0">
                    <a:pos x="207" y="246"/>
                  </a:cxn>
                </a:cxnLst>
                <a:rect l="0" t="0" r="r" b="b"/>
                <a:pathLst>
                  <a:path w="207" h="293">
                    <a:moveTo>
                      <a:pt x="207" y="246"/>
                    </a:moveTo>
                    <a:cubicBezTo>
                      <a:pt x="109" y="264"/>
                      <a:pt x="109" y="264"/>
                      <a:pt x="109" y="264"/>
                    </a:cubicBezTo>
                    <a:cubicBezTo>
                      <a:pt x="107" y="264"/>
                      <a:pt x="106" y="264"/>
                      <a:pt x="100" y="264"/>
                    </a:cubicBezTo>
                    <a:cubicBezTo>
                      <a:pt x="100" y="264"/>
                      <a:pt x="100" y="264"/>
                      <a:pt x="100" y="264"/>
                    </a:cubicBezTo>
                    <a:cubicBezTo>
                      <a:pt x="96" y="264"/>
                      <a:pt x="96" y="264"/>
                      <a:pt x="96" y="264"/>
                    </a:cubicBezTo>
                    <a:cubicBezTo>
                      <a:pt x="96" y="264"/>
                      <a:pt x="96" y="264"/>
                      <a:pt x="96" y="264"/>
                    </a:cubicBezTo>
                    <a:cubicBezTo>
                      <a:pt x="56" y="264"/>
                      <a:pt x="25" y="232"/>
                      <a:pt x="25" y="193"/>
                    </a:cubicBezTo>
                    <a:cubicBezTo>
                      <a:pt x="20" y="0"/>
                      <a:pt x="20" y="0"/>
                      <a:pt x="20" y="0"/>
                    </a:cubicBezTo>
                    <a:cubicBezTo>
                      <a:pt x="8" y="8"/>
                      <a:pt x="0" y="24"/>
                      <a:pt x="0" y="43"/>
                    </a:cubicBezTo>
                    <a:cubicBezTo>
                      <a:pt x="1" y="243"/>
                      <a:pt x="1" y="243"/>
                      <a:pt x="1" y="243"/>
                    </a:cubicBezTo>
                    <a:cubicBezTo>
                      <a:pt x="5" y="269"/>
                      <a:pt x="25" y="293"/>
                      <a:pt x="56" y="293"/>
                    </a:cubicBezTo>
                    <a:cubicBezTo>
                      <a:pt x="56" y="293"/>
                      <a:pt x="56" y="293"/>
                      <a:pt x="56" y="293"/>
                    </a:cubicBezTo>
                    <a:cubicBezTo>
                      <a:pt x="61" y="293"/>
                      <a:pt x="66" y="293"/>
                      <a:pt x="66" y="291"/>
                    </a:cubicBezTo>
                    <a:cubicBezTo>
                      <a:pt x="207" y="269"/>
                      <a:pt x="207" y="269"/>
                      <a:pt x="207" y="269"/>
                    </a:cubicBezTo>
                    <a:lnTo>
                      <a:pt x="207" y="246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/>
              </a:p>
            </p:txBody>
          </p:sp>
          <p:sp>
            <p:nvSpPr>
              <p:cNvPr id="289" name="i$ḻïḓe">
                <a:extLst>
                  <a:ext uri="{FF2B5EF4-FFF2-40B4-BE49-F238E27FC236}">
                    <a16:creationId xmlns:a16="http://schemas.microsoft.com/office/drawing/2014/main" id="{DD936912-F55B-4A49-8AD2-D2B2ED7DDAAA}"/>
                  </a:ext>
                </a:extLst>
              </p:cNvPr>
              <p:cNvSpPr/>
              <p:nvPr/>
            </p:nvSpPr>
            <p:spPr bwMode="auto">
              <a:xfrm>
                <a:off x="7079285" y="4736718"/>
                <a:ext cx="235935" cy="858974"/>
              </a:xfrm>
              <a:custGeom>
                <a:avLst/>
                <a:gdLst/>
                <a:ahLst/>
                <a:cxnLst>
                  <a:cxn ang="0">
                    <a:pos x="99" y="198"/>
                  </a:cxn>
                  <a:cxn ang="0">
                    <a:pos x="99" y="195"/>
                  </a:cxn>
                  <a:cxn ang="0">
                    <a:pos x="99" y="191"/>
                  </a:cxn>
                  <a:cxn ang="0">
                    <a:pos x="99" y="182"/>
                  </a:cxn>
                  <a:cxn ang="0">
                    <a:pos x="122" y="13"/>
                  </a:cxn>
                  <a:cxn ang="0">
                    <a:pos x="102" y="0"/>
                  </a:cxn>
                  <a:cxn ang="0">
                    <a:pos x="8" y="130"/>
                  </a:cxn>
                  <a:cxn ang="0">
                    <a:pos x="0" y="163"/>
                  </a:cxn>
                  <a:cxn ang="0">
                    <a:pos x="0" y="167"/>
                  </a:cxn>
                  <a:cxn ang="0">
                    <a:pos x="0" y="390"/>
                  </a:cxn>
                  <a:cxn ang="0">
                    <a:pos x="58" y="450"/>
                  </a:cxn>
                  <a:cxn ang="0">
                    <a:pos x="73" y="450"/>
                  </a:cxn>
                  <a:cxn ang="0">
                    <a:pos x="129" y="390"/>
                  </a:cxn>
                  <a:cxn ang="0">
                    <a:pos x="129" y="270"/>
                  </a:cxn>
                  <a:cxn ang="0">
                    <a:pos x="107" y="228"/>
                  </a:cxn>
                  <a:cxn ang="0">
                    <a:pos x="99" y="198"/>
                  </a:cxn>
                </a:cxnLst>
                <a:rect l="0" t="0" r="r" b="b"/>
                <a:pathLst>
                  <a:path w="129" h="450">
                    <a:moveTo>
                      <a:pt x="99" y="198"/>
                    </a:moveTo>
                    <a:cubicBezTo>
                      <a:pt x="99" y="195"/>
                      <a:pt x="99" y="195"/>
                      <a:pt x="99" y="195"/>
                    </a:cubicBezTo>
                    <a:cubicBezTo>
                      <a:pt x="99" y="191"/>
                      <a:pt x="99" y="191"/>
                      <a:pt x="99" y="191"/>
                    </a:cubicBezTo>
                    <a:cubicBezTo>
                      <a:pt x="99" y="188"/>
                      <a:pt x="99" y="184"/>
                      <a:pt x="99" y="182"/>
                    </a:cubicBezTo>
                    <a:cubicBezTo>
                      <a:pt x="122" y="13"/>
                      <a:pt x="122" y="13"/>
                      <a:pt x="122" y="13"/>
                    </a:cubicBezTo>
                    <a:cubicBezTo>
                      <a:pt x="114" y="9"/>
                      <a:pt x="107" y="6"/>
                      <a:pt x="102" y="0"/>
                    </a:cubicBezTo>
                    <a:cubicBezTo>
                      <a:pt x="8" y="130"/>
                      <a:pt x="8" y="130"/>
                      <a:pt x="8" y="130"/>
                    </a:cubicBezTo>
                    <a:cubicBezTo>
                      <a:pt x="2" y="143"/>
                      <a:pt x="0" y="152"/>
                      <a:pt x="0" y="163"/>
                    </a:cubicBezTo>
                    <a:cubicBezTo>
                      <a:pt x="0" y="167"/>
                      <a:pt x="0" y="167"/>
                      <a:pt x="0" y="167"/>
                    </a:cubicBezTo>
                    <a:cubicBezTo>
                      <a:pt x="0" y="390"/>
                      <a:pt x="0" y="390"/>
                      <a:pt x="0" y="390"/>
                    </a:cubicBezTo>
                    <a:cubicBezTo>
                      <a:pt x="0" y="421"/>
                      <a:pt x="24" y="450"/>
                      <a:pt x="58" y="450"/>
                    </a:cubicBezTo>
                    <a:cubicBezTo>
                      <a:pt x="73" y="450"/>
                      <a:pt x="73" y="450"/>
                      <a:pt x="73" y="450"/>
                    </a:cubicBezTo>
                    <a:cubicBezTo>
                      <a:pt x="106" y="450"/>
                      <a:pt x="129" y="421"/>
                      <a:pt x="129" y="390"/>
                    </a:cubicBezTo>
                    <a:cubicBezTo>
                      <a:pt x="129" y="270"/>
                      <a:pt x="129" y="270"/>
                      <a:pt x="129" y="270"/>
                    </a:cubicBezTo>
                    <a:cubicBezTo>
                      <a:pt x="107" y="228"/>
                      <a:pt x="107" y="228"/>
                      <a:pt x="107" y="228"/>
                    </a:cubicBezTo>
                    <a:cubicBezTo>
                      <a:pt x="102" y="218"/>
                      <a:pt x="99" y="206"/>
                      <a:pt x="99" y="198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/>
              </a:p>
            </p:txBody>
          </p:sp>
          <p:sp>
            <p:nvSpPr>
              <p:cNvPr id="290" name="íşḷïḓé">
                <a:extLst>
                  <a:ext uri="{FF2B5EF4-FFF2-40B4-BE49-F238E27FC236}">
                    <a16:creationId xmlns:a16="http://schemas.microsoft.com/office/drawing/2014/main" id="{2CFA987C-A48E-4CA9-A663-7D7CA3A68D77}"/>
                  </a:ext>
                </a:extLst>
              </p:cNvPr>
              <p:cNvSpPr/>
              <p:nvPr/>
            </p:nvSpPr>
            <p:spPr bwMode="auto">
              <a:xfrm>
                <a:off x="6820168" y="3220048"/>
                <a:ext cx="455504" cy="472011"/>
              </a:xfrm>
              <a:custGeom>
                <a:avLst/>
                <a:gdLst/>
                <a:ahLst/>
                <a:cxnLst>
                  <a:cxn ang="0">
                    <a:pos x="69" y="78"/>
                  </a:cxn>
                  <a:cxn ang="0">
                    <a:pos x="73" y="78"/>
                  </a:cxn>
                  <a:cxn ang="0">
                    <a:pos x="141" y="148"/>
                  </a:cxn>
                  <a:cxn ang="0">
                    <a:pos x="143" y="248"/>
                  </a:cxn>
                  <a:cxn ang="0">
                    <a:pos x="248" y="125"/>
                  </a:cxn>
                  <a:cxn ang="0">
                    <a:pos x="127" y="0"/>
                  </a:cxn>
                  <a:cxn ang="0">
                    <a:pos x="0" y="125"/>
                  </a:cxn>
                  <a:cxn ang="0">
                    <a:pos x="0" y="131"/>
                  </a:cxn>
                  <a:cxn ang="0">
                    <a:pos x="69" y="78"/>
                  </a:cxn>
                </a:cxnLst>
                <a:rect l="0" t="0" r="r" b="b"/>
                <a:pathLst>
                  <a:path w="248" h="248">
                    <a:moveTo>
                      <a:pt x="69" y="78"/>
                    </a:moveTo>
                    <a:cubicBezTo>
                      <a:pt x="73" y="78"/>
                      <a:pt x="73" y="78"/>
                      <a:pt x="73" y="78"/>
                    </a:cubicBezTo>
                    <a:cubicBezTo>
                      <a:pt x="107" y="78"/>
                      <a:pt x="141" y="112"/>
                      <a:pt x="141" y="148"/>
                    </a:cubicBezTo>
                    <a:cubicBezTo>
                      <a:pt x="143" y="248"/>
                      <a:pt x="143" y="248"/>
                      <a:pt x="143" y="248"/>
                    </a:cubicBezTo>
                    <a:cubicBezTo>
                      <a:pt x="205" y="239"/>
                      <a:pt x="248" y="187"/>
                      <a:pt x="248" y="125"/>
                    </a:cubicBezTo>
                    <a:cubicBezTo>
                      <a:pt x="248" y="54"/>
                      <a:pt x="194" y="0"/>
                      <a:pt x="127" y="0"/>
                    </a:cubicBezTo>
                    <a:cubicBezTo>
                      <a:pt x="59" y="0"/>
                      <a:pt x="0" y="54"/>
                      <a:pt x="0" y="125"/>
                    </a:cubicBezTo>
                    <a:cubicBezTo>
                      <a:pt x="0" y="127"/>
                      <a:pt x="0" y="131"/>
                      <a:pt x="0" y="131"/>
                    </a:cubicBezTo>
                    <a:cubicBezTo>
                      <a:pt x="11" y="104"/>
                      <a:pt x="40" y="81"/>
                      <a:pt x="69" y="78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/>
              </a:p>
            </p:txBody>
          </p:sp>
        </p:grpSp>
        <p:grpSp>
          <p:nvGrpSpPr>
            <p:cNvPr id="241" name="ïsliḍè">
              <a:extLst>
                <a:ext uri="{FF2B5EF4-FFF2-40B4-BE49-F238E27FC236}">
                  <a16:creationId xmlns:a16="http://schemas.microsoft.com/office/drawing/2014/main" id="{D99F3A2D-3C47-46D6-8C8E-C840DAE77AC7}"/>
                </a:ext>
              </a:extLst>
            </p:cNvPr>
            <p:cNvGrpSpPr/>
            <p:nvPr/>
          </p:nvGrpSpPr>
          <p:grpSpPr>
            <a:xfrm>
              <a:off x="4449917" y="3100981"/>
              <a:ext cx="1074660" cy="2497547"/>
              <a:chOff x="4449917" y="3100981"/>
              <a:chExt cx="1074660" cy="2497547"/>
            </a:xfrm>
            <a:solidFill>
              <a:schemeClr val="accent2"/>
            </a:solidFill>
          </p:grpSpPr>
          <p:sp>
            <p:nvSpPr>
              <p:cNvPr id="281" name="iṩlîḋé">
                <a:extLst>
                  <a:ext uri="{FF2B5EF4-FFF2-40B4-BE49-F238E27FC236}">
                    <a16:creationId xmlns:a16="http://schemas.microsoft.com/office/drawing/2014/main" id="{626FE06F-6677-40F1-B02B-51E9FAEA8384}"/>
                  </a:ext>
                </a:extLst>
              </p:cNvPr>
              <p:cNvSpPr/>
              <p:nvPr/>
            </p:nvSpPr>
            <p:spPr bwMode="auto">
              <a:xfrm>
                <a:off x="4449917" y="3653787"/>
                <a:ext cx="545512" cy="905751"/>
              </a:xfrm>
              <a:custGeom>
                <a:avLst/>
                <a:gdLst/>
                <a:ahLst/>
                <a:cxnLst>
                  <a:cxn ang="0">
                    <a:pos x="275" y="20"/>
                  </a:cxn>
                  <a:cxn ang="0">
                    <a:pos x="203" y="20"/>
                  </a:cxn>
                  <a:cxn ang="0">
                    <a:pos x="20" y="199"/>
                  </a:cxn>
                  <a:cxn ang="0">
                    <a:pos x="7" y="256"/>
                  </a:cxn>
                  <a:cxn ang="0">
                    <a:pos x="17" y="275"/>
                  </a:cxn>
                  <a:cxn ang="0">
                    <a:pos x="124" y="443"/>
                  </a:cxn>
                  <a:cxn ang="0">
                    <a:pos x="196" y="457"/>
                  </a:cxn>
                  <a:cxn ang="0">
                    <a:pos x="213" y="385"/>
                  </a:cxn>
                  <a:cxn ang="0">
                    <a:pos x="119" y="245"/>
                  </a:cxn>
                  <a:cxn ang="0">
                    <a:pos x="275" y="94"/>
                  </a:cxn>
                  <a:cxn ang="0">
                    <a:pos x="275" y="20"/>
                  </a:cxn>
                </a:cxnLst>
                <a:rect l="0" t="0" r="r" b="b"/>
                <a:pathLst>
                  <a:path w="297" h="474">
                    <a:moveTo>
                      <a:pt x="275" y="20"/>
                    </a:moveTo>
                    <a:cubicBezTo>
                      <a:pt x="257" y="0"/>
                      <a:pt x="224" y="0"/>
                      <a:pt x="203" y="20"/>
                    </a:cubicBezTo>
                    <a:cubicBezTo>
                      <a:pt x="20" y="199"/>
                      <a:pt x="20" y="199"/>
                      <a:pt x="20" y="199"/>
                    </a:cubicBezTo>
                    <a:cubicBezTo>
                      <a:pt x="4" y="215"/>
                      <a:pt x="0" y="235"/>
                      <a:pt x="7" y="256"/>
                    </a:cubicBezTo>
                    <a:cubicBezTo>
                      <a:pt x="7" y="263"/>
                      <a:pt x="11" y="270"/>
                      <a:pt x="17" y="275"/>
                    </a:cubicBezTo>
                    <a:cubicBezTo>
                      <a:pt x="124" y="443"/>
                      <a:pt x="124" y="443"/>
                      <a:pt x="124" y="443"/>
                    </a:cubicBezTo>
                    <a:cubicBezTo>
                      <a:pt x="142" y="467"/>
                      <a:pt x="174" y="474"/>
                      <a:pt x="196" y="457"/>
                    </a:cubicBezTo>
                    <a:cubicBezTo>
                      <a:pt x="221" y="439"/>
                      <a:pt x="226" y="410"/>
                      <a:pt x="213" y="385"/>
                    </a:cubicBezTo>
                    <a:cubicBezTo>
                      <a:pt x="119" y="245"/>
                      <a:pt x="119" y="245"/>
                      <a:pt x="119" y="245"/>
                    </a:cubicBezTo>
                    <a:cubicBezTo>
                      <a:pt x="275" y="94"/>
                      <a:pt x="275" y="94"/>
                      <a:pt x="275" y="94"/>
                    </a:cubicBezTo>
                    <a:cubicBezTo>
                      <a:pt x="297" y="74"/>
                      <a:pt x="297" y="41"/>
                      <a:pt x="275" y="2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/>
              </a:p>
            </p:txBody>
          </p:sp>
          <p:sp>
            <p:nvSpPr>
              <p:cNvPr id="282" name="îšḻíḋe">
                <a:extLst>
                  <a:ext uri="{FF2B5EF4-FFF2-40B4-BE49-F238E27FC236}">
                    <a16:creationId xmlns:a16="http://schemas.microsoft.com/office/drawing/2014/main" id="{5D68AF81-0644-4827-B2C4-3E2DE06D2D32}"/>
                  </a:ext>
                </a:extLst>
              </p:cNvPr>
              <p:cNvSpPr/>
              <p:nvPr/>
            </p:nvSpPr>
            <p:spPr bwMode="auto">
              <a:xfrm>
                <a:off x="4644938" y="3536139"/>
                <a:ext cx="537329" cy="2062389"/>
              </a:xfrm>
              <a:custGeom>
                <a:avLst/>
                <a:gdLst/>
                <a:ahLst/>
                <a:cxnLst>
                  <a:cxn ang="0">
                    <a:pos x="188" y="0"/>
                  </a:cxn>
                  <a:cxn ang="0">
                    <a:pos x="130" y="0"/>
                  </a:cxn>
                  <a:cxn ang="0">
                    <a:pos x="26" y="110"/>
                  </a:cxn>
                  <a:cxn ang="0">
                    <a:pos x="26" y="125"/>
                  </a:cxn>
                  <a:cxn ang="0">
                    <a:pos x="84" y="68"/>
                  </a:cxn>
                  <a:cxn ang="0">
                    <a:pos x="133" y="49"/>
                  </a:cxn>
                  <a:cxn ang="0">
                    <a:pos x="184" y="70"/>
                  </a:cxn>
                  <a:cxn ang="0">
                    <a:pos x="181" y="171"/>
                  </a:cxn>
                  <a:cxn ang="0">
                    <a:pos x="36" y="311"/>
                  </a:cxn>
                  <a:cxn ang="0">
                    <a:pos x="120" y="435"/>
                  </a:cxn>
                  <a:cxn ang="0">
                    <a:pos x="130" y="489"/>
                  </a:cxn>
                  <a:cxn ang="0">
                    <a:pos x="104" y="536"/>
                  </a:cxn>
                  <a:cxn ang="0">
                    <a:pos x="64" y="547"/>
                  </a:cxn>
                  <a:cxn ang="0">
                    <a:pos x="26" y="536"/>
                  </a:cxn>
                  <a:cxn ang="0">
                    <a:pos x="84" y="617"/>
                  </a:cxn>
                  <a:cxn ang="0">
                    <a:pos x="109" y="804"/>
                  </a:cxn>
                  <a:cxn ang="0">
                    <a:pos x="13" y="981"/>
                  </a:cxn>
                  <a:cxn ang="0">
                    <a:pos x="36" y="1060"/>
                  </a:cxn>
                  <a:cxn ang="0">
                    <a:pos x="53" y="1065"/>
                  </a:cxn>
                  <a:cxn ang="0">
                    <a:pos x="130" y="1045"/>
                  </a:cxn>
                  <a:cxn ang="0">
                    <a:pos x="232" y="844"/>
                  </a:cxn>
                  <a:cxn ang="0">
                    <a:pos x="242" y="813"/>
                  </a:cxn>
                  <a:cxn ang="0">
                    <a:pos x="242" y="809"/>
                  </a:cxn>
                  <a:cxn ang="0">
                    <a:pos x="216" y="622"/>
                  </a:cxn>
                  <a:cxn ang="0">
                    <a:pos x="293" y="519"/>
                  </a:cxn>
                  <a:cxn ang="0">
                    <a:pos x="293" y="110"/>
                  </a:cxn>
                  <a:cxn ang="0">
                    <a:pos x="188" y="0"/>
                  </a:cxn>
                </a:cxnLst>
                <a:rect l="0" t="0" r="r" b="b"/>
                <a:pathLst>
                  <a:path w="293" h="1081">
                    <a:moveTo>
                      <a:pt x="188" y="0"/>
                    </a:moveTo>
                    <a:cubicBezTo>
                      <a:pt x="130" y="0"/>
                      <a:pt x="130" y="0"/>
                      <a:pt x="130" y="0"/>
                    </a:cubicBezTo>
                    <a:cubicBezTo>
                      <a:pt x="73" y="0"/>
                      <a:pt x="26" y="49"/>
                      <a:pt x="26" y="110"/>
                    </a:cubicBezTo>
                    <a:cubicBezTo>
                      <a:pt x="26" y="125"/>
                      <a:pt x="26" y="125"/>
                      <a:pt x="26" y="125"/>
                    </a:cubicBezTo>
                    <a:cubicBezTo>
                      <a:pt x="84" y="68"/>
                      <a:pt x="84" y="68"/>
                      <a:pt x="84" y="68"/>
                    </a:cubicBezTo>
                    <a:cubicBezTo>
                      <a:pt x="97" y="55"/>
                      <a:pt x="115" y="49"/>
                      <a:pt x="133" y="49"/>
                    </a:cubicBezTo>
                    <a:cubicBezTo>
                      <a:pt x="151" y="49"/>
                      <a:pt x="169" y="55"/>
                      <a:pt x="184" y="70"/>
                    </a:cubicBezTo>
                    <a:cubicBezTo>
                      <a:pt x="212" y="97"/>
                      <a:pt x="209" y="143"/>
                      <a:pt x="181" y="171"/>
                    </a:cubicBezTo>
                    <a:cubicBezTo>
                      <a:pt x="36" y="311"/>
                      <a:pt x="36" y="311"/>
                      <a:pt x="36" y="311"/>
                    </a:cubicBezTo>
                    <a:cubicBezTo>
                      <a:pt x="120" y="435"/>
                      <a:pt x="120" y="435"/>
                      <a:pt x="120" y="435"/>
                    </a:cubicBezTo>
                    <a:cubicBezTo>
                      <a:pt x="130" y="452"/>
                      <a:pt x="136" y="472"/>
                      <a:pt x="130" y="489"/>
                    </a:cubicBezTo>
                    <a:cubicBezTo>
                      <a:pt x="127" y="508"/>
                      <a:pt x="118" y="522"/>
                      <a:pt x="104" y="536"/>
                    </a:cubicBezTo>
                    <a:cubicBezTo>
                      <a:pt x="90" y="541"/>
                      <a:pt x="76" y="547"/>
                      <a:pt x="64" y="547"/>
                    </a:cubicBezTo>
                    <a:cubicBezTo>
                      <a:pt x="48" y="547"/>
                      <a:pt x="36" y="545"/>
                      <a:pt x="26" y="536"/>
                    </a:cubicBezTo>
                    <a:cubicBezTo>
                      <a:pt x="30" y="571"/>
                      <a:pt x="53" y="602"/>
                      <a:pt x="84" y="617"/>
                    </a:cubicBezTo>
                    <a:cubicBezTo>
                      <a:pt x="109" y="804"/>
                      <a:pt x="109" y="804"/>
                      <a:pt x="109" y="804"/>
                    </a:cubicBezTo>
                    <a:cubicBezTo>
                      <a:pt x="13" y="981"/>
                      <a:pt x="13" y="981"/>
                      <a:pt x="13" y="981"/>
                    </a:cubicBezTo>
                    <a:cubicBezTo>
                      <a:pt x="0" y="1009"/>
                      <a:pt x="10" y="1045"/>
                      <a:pt x="36" y="1060"/>
                    </a:cubicBezTo>
                    <a:cubicBezTo>
                      <a:pt x="53" y="1065"/>
                      <a:pt x="53" y="1065"/>
                      <a:pt x="53" y="1065"/>
                    </a:cubicBezTo>
                    <a:cubicBezTo>
                      <a:pt x="80" y="1081"/>
                      <a:pt x="115" y="1072"/>
                      <a:pt x="130" y="1045"/>
                    </a:cubicBezTo>
                    <a:cubicBezTo>
                      <a:pt x="232" y="844"/>
                      <a:pt x="232" y="844"/>
                      <a:pt x="232" y="844"/>
                    </a:cubicBezTo>
                    <a:cubicBezTo>
                      <a:pt x="239" y="835"/>
                      <a:pt x="242" y="827"/>
                      <a:pt x="242" y="813"/>
                    </a:cubicBezTo>
                    <a:cubicBezTo>
                      <a:pt x="242" y="813"/>
                      <a:pt x="242" y="811"/>
                      <a:pt x="242" y="809"/>
                    </a:cubicBezTo>
                    <a:cubicBezTo>
                      <a:pt x="216" y="622"/>
                      <a:pt x="216" y="622"/>
                      <a:pt x="216" y="622"/>
                    </a:cubicBezTo>
                    <a:cubicBezTo>
                      <a:pt x="261" y="611"/>
                      <a:pt x="293" y="568"/>
                      <a:pt x="293" y="519"/>
                    </a:cubicBezTo>
                    <a:cubicBezTo>
                      <a:pt x="293" y="110"/>
                      <a:pt x="293" y="110"/>
                      <a:pt x="293" y="110"/>
                    </a:cubicBezTo>
                    <a:cubicBezTo>
                      <a:pt x="293" y="49"/>
                      <a:pt x="245" y="0"/>
                      <a:pt x="188" y="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/>
              </a:p>
            </p:txBody>
          </p:sp>
          <p:sp>
            <p:nvSpPr>
              <p:cNvPr id="283" name="ï$ľíḋè">
                <a:extLst>
                  <a:ext uri="{FF2B5EF4-FFF2-40B4-BE49-F238E27FC236}">
                    <a16:creationId xmlns:a16="http://schemas.microsoft.com/office/drawing/2014/main" id="{DFD518F8-DCEE-4007-8672-83AEE7D2783A}"/>
                  </a:ext>
                </a:extLst>
              </p:cNvPr>
              <p:cNvSpPr/>
              <p:nvPr/>
            </p:nvSpPr>
            <p:spPr bwMode="auto">
              <a:xfrm>
                <a:off x="4989974" y="3100981"/>
                <a:ext cx="445956" cy="473429"/>
              </a:xfrm>
              <a:custGeom>
                <a:avLst/>
                <a:gdLst/>
                <a:ahLst/>
                <a:cxnLst>
                  <a:cxn ang="0">
                    <a:pos x="188" y="197"/>
                  </a:cxn>
                  <a:cxn ang="0">
                    <a:pos x="201" y="197"/>
                  </a:cxn>
                  <a:cxn ang="0">
                    <a:pos x="223" y="198"/>
                  </a:cxn>
                  <a:cxn ang="0">
                    <a:pos x="243" y="123"/>
                  </a:cxn>
                  <a:cxn ang="0">
                    <a:pos x="123" y="0"/>
                  </a:cxn>
                  <a:cxn ang="0">
                    <a:pos x="0" y="123"/>
                  </a:cxn>
                  <a:cxn ang="0">
                    <a:pos x="123" y="248"/>
                  </a:cxn>
                  <a:cxn ang="0">
                    <a:pos x="131" y="248"/>
                  </a:cxn>
                  <a:cxn ang="0">
                    <a:pos x="188" y="197"/>
                  </a:cxn>
                </a:cxnLst>
                <a:rect l="0" t="0" r="r" b="b"/>
                <a:pathLst>
                  <a:path w="243" h="248">
                    <a:moveTo>
                      <a:pt x="188" y="197"/>
                    </a:moveTo>
                    <a:cubicBezTo>
                      <a:pt x="194" y="197"/>
                      <a:pt x="196" y="197"/>
                      <a:pt x="201" y="197"/>
                    </a:cubicBezTo>
                    <a:cubicBezTo>
                      <a:pt x="208" y="197"/>
                      <a:pt x="214" y="197"/>
                      <a:pt x="223" y="198"/>
                    </a:cubicBezTo>
                    <a:cubicBezTo>
                      <a:pt x="238" y="176"/>
                      <a:pt x="243" y="150"/>
                      <a:pt x="243" y="123"/>
                    </a:cubicBezTo>
                    <a:cubicBezTo>
                      <a:pt x="243" y="55"/>
                      <a:pt x="191" y="0"/>
                      <a:pt x="123" y="0"/>
                    </a:cubicBezTo>
                    <a:cubicBezTo>
                      <a:pt x="54" y="0"/>
                      <a:pt x="0" y="55"/>
                      <a:pt x="0" y="123"/>
                    </a:cubicBezTo>
                    <a:cubicBezTo>
                      <a:pt x="0" y="193"/>
                      <a:pt x="54" y="248"/>
                      <a:pt x="123" y="248"/>
                    </a:cubicBezTo>
                    <a:cubicBezTo>
                      <a:pt x="127" y="248"/>
                      <a:pt x="129" y="248"/>
                      <a:pt x="131" y="248"/>
                    </a:cubicBezTo>
                    <a:cubicBezTo>
                      <a:pt x="138" y="222"/>
                      <a:pt x="158" y="202"/>
                      <a:pt x="188" y="197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/>
              </a:p>
            </p:txBody>
          </p:sp>
          <p:sp>
            <p:nvSpPr>
              <p:cNvPr id="284" name="íşḻïḓé">
                <a:extLst>
                  <a:ext uri="{FF2B5EF4-FFF2-40B4-BE49-F238E27FC236}">
                    <a16:creationId xmlns:a16="http://schemas.microsoft.com/office/drawing/2014/main" id="{CA99F394-8D37-4EC3-94BB-0C54A19FC3A8}"/>
                  </a:ext>
                </a:extLst>
              </p:cNvPr>
              <p:cNvSpPr/>
              <p:nvPr/>
            </p:nvSpPr>
            <p:spPr bwMode="auto">
              <a:xfrm>
                <a:off x="5214998" y="3496450"/>
                <a:ext cx="309579" cy="591076"/>
              </a:xfrm>
              <a:custGeom>
                <a:avLst/>
                <a:gdLst/>
                <a:ahLst/>
                <a:cxnLst>
                  <a:cxn ang="0">
                    <a:pos x="163" y="245"/>
                  </a:cxn>
                  <a:cxn ang="0">
                    <a:pos x="129" y="49"/>
                  </a:cxn>
                  <a:cxn ang="0">
                    <a:pos x="71" y="6"/>
                  </a:cxn>
                  <a:cxn ang="0">
                    <a:pos x="28" y="68"/>
                  </a:cxn>
                  <a:cxn ang="0">
                    <a:pos x="43" y="157"/>
                  </a:cxn>
                  <a:cxn ang="0">
                    <a:pos x="0" y="135"/>
                  </a:cxn>
                  <a:cxn ang="0">
                    <a:pos x="0" y="252"/>
                  </a:cxn>
                  <a:cxn ang="0">
                    <a:pos x="85" y="303"/>
                  </a:cxn>
                  <a:cxn ang="0">
                    <a:pos x="137" y="303"/>
                  </a:cxn>
                  <a:cxn ang="0">
                    <a:pos x="163" y="245"/>
                  </a:cxn>
                </a:cxnLst>
                <a:rect l="0" t="0" r="r" b="b"/>
                <a:pathLst>
                  <a:path w="168" h="310">
                    <a:moveTo>
                      <a:pt x="163" y="245"/>
                    </a:moveTo>
                    <a:cubicBezTo>
                      <a:pt x="129" y="49"/>
                      <a:pt x="129" y="49"/>
                      <a:pt x="129" y="49"/>
                    </a:cubicBezTo>
                    <a:cubicBezTo>
                      <a:pt x="125" y="19"/>
                      <a:pt x="97" y="0"/>
                      <a:pt x="71" y="6"/>
                    </a:cubicBezTo>
                    <a:cubicBezTo>
                      <a:pt x="39" y="13"/>
                      <a:pt x="21" y="41"/>
                      <a:pt x="28" y="68"/>
                    </a:cubicBezTo>
                    <a:cubicBezTo>
                      <a:pt x="43" y="157"/>
                      <a:pt x="43" y="157"/>
                      <a:pt x="43" y="157"/>
                    </a:cubicBezTo>
                    <a:cubicBezTo>
                      <a:pt x="0" y="135"/>
                      <a:pt x="0" y="135"/>
                      <a:pt x="0" y="135"/>
                    </a:cubicBezTo>
                    <a:cubicBezTo>
                      <a:pt x="0" y="252"/>
                      <a:pt x="0" y="252"/>
                      <a:pt x="0" y="252"/>
                    </a:cubicBezTo>
                    <a:cubicBezTo>
                      <a:pt x="85" y="303"/>
                      <a:pt x="85" y="303"/>
                      <a:pt x="85" y="303"/>
                    </a:cubicBezTo>
                    <a:cubicBezTo>
                      <a:pt x="104" y="310"/>
                      <a:pt x="120" y="310"/>
                      <a:pt x="137" y="303"/>
                    </a:cubicBezTo>
                    <a:cubicBezTo>
                      <a:pt x="159" y="292"/>
                      <a:pt x="168" y="267"/>
                      <a:pt x="163" y="245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/>
              </a:p>
            </p:txBody>
          </p:sp>
          <p:sp>
            <p:nvSpPr>
              <p:cNvPr id="285" name="ïṩlïḓé">
                <a:extLst>
                  <a:ext uri="{FF2B5EF4-FFF2-40B4-BE49-F238E27FC236}">
                    <a16:creationId xmlns:a16="http://schemas.microsoft.com/office/drawing/2014/main" id="{41D483A0-5A66-4EAB-BC51-AA8B720EFDF1}"/>
                  </a:ext>
                </a:extLst>
              </p:cNvPr>
              <p:cNvSpPr/>
              <p:nvPr/>
            </p:nvSpPr>
            <p:spPr bwMode="auto">
              <a:xfrm>
                <a:off x="5064981" y="4722544"/>
                <a:ext cx="240025" cy="851887"/>
              </a:xfrm>
              <a:custGeom>
                <a:avLst/>
                <a:gdLst/>
                <a:ahLst/>
                <a:cxnLst>
                  <a:cxn ang="0">
                    <a:pos x="113" y="123"/>
                  </a:cxn>
                  <a:cxn ang="0">
                    <a:pos x="28" y="0"/>
                  </a:cxn>
                  <a:cxn ang="0">
                    <a:pos x="7" y="13"/>
                  </a:cxn>
                  <a:cxn ang="0">
                    <a:pos x="22" y="120"/>
                  </a:cxn>
                  <a:cxn ang="0">
                    <a:pos x="32" y="182"/>
                  </a:cxn>
                  <a:cxn ang="0">
                    <a:pos x="32" y="195"/>
                  </a:cxn>
                  <a:cxn ang="0">
                    <a:pos x="28" y="222"/>
                  </a:cxn>
                  <a:cxn ang="0">
                    <a:pos x="22" y="237"/>
                  </a:cxn>
                  <a:cxn ang="0">
                    <a:pos x="0" y="277"/>
                  </a:cxn>
                  <a:cxn ang="0">
                    <a:pos x="0" y="390"/>
                  </a:cxn>
                  <a:cxn ang="0">
                    <a:pos x="60" y="446"/>
                  </a:cxn>
                  <a:cxn ang="0">
                    <a:pos x="72" y="446"/>
                  </a:cxn>
                  <a:cxn ang="0">
                    <a:pos x="131" y="390"/>
                  </a:cxn>
                  <a:cxn ang="0">
                    <a:pos x="131" y="166"/>
                  </a:cxn>
                  <a:cxn ang="0">
                    <a:pos x="113" y="123"/>
                  </a:cxn>
                </a:cxnLst>
                <a:rect l="0" t="0" r="r" b="b"/>
                <a:pathLst>
                  <a:path w="131" h="446">
                    <a:moveTo>
                      <a:pt x="113" y="123"/>
                    </a:moveTo>
                    <a:cubicBezTo>
                      <a:pt x="28" y="0"/>
                      <a:pt x="28" y="0"/>
                      <a:pt x="28" y="0"/>
                    </a:cubicBezTo>
                    <a:cubicBezTo>
                      <a:pt x="22" y="7"/>
                      <a:pt x="13" y="11"/>
                      <a:pt x="7" y="13"/>
                    </a:cubicBezTo>
                    <a:cubicBezTo>
                      <a:pt x="22" y="120"/>
                      <a:pt x="22" y="120"/>
                      <a:pt x="22" y="120"/>
                    </a:cubicBezTo>
                    <a:cubicBezTo>
                      <a:pt x="32" y="182"/>
                      <a:pt x="32" y="182"/>
                      <a:pt x="32" y="182"/>
                    </a:cubicBezTo>
                    <a:cubicBezTo>
                      <a:pt x="32" y="187"/>
                      <a:pt x="32" y="191"/>
                      <a:pt x="32" y="195"/>
                    </a:cubicBezTo>
                    <a:cubicBezTo>
                      <a:pt x="32" y="205"/>
                      <a:pt x="32" y="213"/>
                      <a:pt x="28" y="222"/>
                    </a:cubicBezTo>
                    <a:cubicBezTo>
                      <a:pt x="26" y="229"/>
                      <a:pt x="26" y="231"/>
                      <a:pt x="22" y="237"/>
                    </a:cubicBezTo>
                    <a:cubicBezTo>
                      <a:pt x="0" y="277"/>
                      <a:pt x="0" y="277"/>
                      <a:pt x="0" y="277"/>
                    </a:cubicBezTo>
                    <a:cubicBezTo>
                      <a:pt x="0" y="390"/>
                      <a:pt x="0" y="390"/>
                      <a:pt x="0" y="390"/>
                    </a:cubicBezTo>
                    <a:cubicBezTo>
                      <a:pt x="0" y="423"/>
                      <a:pt x="28" y="446"/>
                      <a:pt x="60" y="446"/>
                    </a:cubicBezTo>
                    <a:cubicBezTo>
                      <a:pt x="72" y="446"/>
                      <a:pt x="72" y="446"/>
                      <a:pt x="72" y="446"/>
                    </a:cubicBezTo>
                    <a:cubicBezTo>
                      <a:pt x="107" y="446"/>
                      <a:pt x="131" y="423"/>
                      <a:pt x="131" y="390"/>
                    </a:cubicBezTo>
                    <a:cubicBezTo>
                      <a:pt x="131" y="166"/>
                      <a:pt x="131" y="166"/>
                      <a:pt x="131" y="166"/>
                    </a:cubicBezTo>
                    <a:cubicBezTo>
                      <a:pt x="131" y="147"/>
                      <a:pt x="125" y="130"/>
                      <a:pt x="113" y="123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/>
              </a:p>
            </p:txBody>
          </p:sp>
        </p:grpSp>
        <p:grpSp>
          <p:nvGrpSpPr>
            <p:cNvPr id="242" name="íṣľîḓe">
              <a:extLst>
                <a:ext uri="{FF2B5EF4-FFF2-40B4-BE49-F238E27FC236}">
                  <a16:creationId xmlns:a16="http://schemas.microsoft.com/office/drawing/2014/main" id="{BF3EA5B7-B083-47AE-880B-09EA4686B203}"/>
                </a:ext>
              </a:extLst>
            </p:cNvPr>
            <p:cNvGrpSpPr/>
            <p:nvPr/>
          </p:nvGrpSpPr>
          <p:grpSpPr>
            <a:xfrm>
              <a:off x="5692322" y="2492896"/>
              <a:ext cx="792356" cy="2491876"/>
              <a:chOff x="5692322" y="2492896"/>
              <a:chExt cx="792356" cy="2491876"/>
            </a:xfrm>
          </p:grpSpPr>
          <p:sp>
            <p:nvSpPr>
              <p:cNvPr id="274" name="îṡļîḓé">
                <a:extLst>
                  <a:ext uri="{FF2B5EF4-FFF2-40B4-BE49-F238E27FC236}">
                    <a16:creationId xmlns:a16="http://schemas.microsoft.com/office/drawing/2014/main" id="{E6B46EE3-D76F-4718-893F-12489F7B0CB0}"/>
                  </a:ext>
                </a:extLst>
              </p:cNvPr>
              <p:cNvSpPr/>
              <p:nvPr/>
            </p:nvSpPr>
            <p:spPr bwMode="auto">
              <a:xfrm>
                <a:off x="5692322" y="2824579"/>
                <a:ext cx="660069" cy="695967"/>
              </a:xfrm>
              <a:custGeom>
                <a:avLst/>
                <a:gdLst/>
                <a:ahLst/>
                <a:cxnLst>
                  <a:cxn ang="0">
                    <a:pos x="308" y="259"/>
                  </a:cxn>
                  <a:cxn ang="0">
                    <a:pos x="107" y="259"/>
                  </a:cxn>
                  <a:cxn ang="0">
                    <a:pos x="107" y="52"/>
                  </a:cxn>
                  <a:cxn ang="0">
                    <a:pos x="50" y="0"/>
                  </a:cxn>
                  <a:cxn ang="0">
                    <a:pos x="0" y="52"/>
                  </a:cxn>
                  <a:cxn ang="0">
                    <a:pos x="0" y="307"/>
                  </a:cxn>
                  <a:cxn ang="0">
                    <a:pos x="0" y="311"/>
                  </a:cxn>
                  <a:cxn ang="0">
                    <a:pos x="0" y="311"/>
                  </a:cxn>
                  <a:cxn ang="0">
                    <a:pos x="50" y="365"/>
                  </a:cxn>
                  <a:cxn ang="0">
                    <a:pos x="308" y="365"/>
                  </a:cxn>
                  <a:cxn ang="0">
                    <a:pos x="359" y="311"/>
                  </a:cxn>
                  <a:cxn ang="0">
                    <a:pos x="308" y="259"/>
                  </a:cxn>
                </a:cxnLst>
                <a:rect l="0" t="0" r="r" b="b"/>
                <a:pathLst>
                  <a:path w="359" h="365">
                    <a:moveTo>
                      <a:pt x="308" y="259"/>
                    </a:moveTo>
                    <a:cubicBezTo>
                      <a:pt x="107" y="259"/>
                      <a:pt x="107" y="259"/>
                      <a:pt x="107" y="259"/>
                    </a:cubicBezTo>
                    <a:cubicBezTo>
                      <a:pt x="107" y="52"/>
                      <a:pt x="107" y="52"/>
                      <a:pt x="107" y="52"/>
                    </a:cubicBezTo>
                    <a:cubicBezTo>
                      <a:pt x="107" y="22"/>
                      <a:pt x="81" y="0"/>
                      <a:pt x="50" y="0"/>
                    </a:cubicBezTo>
                    <a:cubicBezTo>
                      <a:pt x="24" y="0"/>
                      <a:pt x="0" y="22"/>
                      <a:pt x="0" y="52"/>
                    </a:cubicBezTo>
                    <a:cubicBezTo>
                      <a:pt x="0" y="307"/>
                      <a:pt x="0" y="307"/>
                      <a:pt x="0" y="307"/>
                    </a:cubicBezTo>
                    <a:cubicBezTo>
                      <a:pt x="0" y="311"/>
                      <a:pt x="0" y="311"/>
                      <a:pt x="0" y="311"/>
                    </a:cubicBezTo>
                    <a:cubicBezTo>
                      <a:pt x="0" y="311"/>
                      <a:pt x="0" y="311"/>
                      <a:pt x="0" y="311"/>
                    </a:cubicBezTo>
                    <a:cubicBezTo>
                      <a:pt x="0" y="342"/>
                      <a:pt x="24" y="365"/>
                      <a:pt x="50" y="365"/>
                    </a:cubicBezTo>
                    <a:cubicBezTo>
                      <a:pt x="308" y="365"/>
                      <a:pt x="308" y="365"/>
                      <a:pt x="308" y="365"/>
                    </a:cubicBezTo>
                    <a:cubicBezTo>
                      <a:pt x="338" y="365"/>
                      <a:pt x="359" y="342"/>
                      <a:pt x="359" y="311"/>
                    </a:cubicBezTo>
                    <a:cubicBezTo>
                      <a:pt x="359" y="281"/>
                      <a:pt x="338" y="259"/>
                      <a:pt x="308" y="259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</p:spPr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/>
              </a:p>
            </p:txBody>
          </p:sp>
          <p:sp>
            <p:nvSpPr>
              <p:cNvPr id="275" name="íṩḷídè">
                <a:extLst>
                  <a:ext uri="{FF2B5EF4-FFF2-40B4-BE49-F238E27FC236}">
                    <a16:creationId xmlns:a16="http://schemas.microsoft.com/office/drawing/2014/main" id="{FF50135D-4936-4508-AC14-EFEF5ABE6C54}"/>
                  </a:ext>
                </a:extLst>
              </p:cNvPr>
              <p:cNvSpPr/>
              <p:nvPr/>
            </p:nvSpPr>
            <p:spPr bwMode="auto">
              <a:xfrm>
                <a:off x="6243288" y="2923801"/>
                <a:ext cx="15002" cy="43941"/>
              </a:xfrm>
              <a:custGeom>
                <a:avLst/>
                <a:gdLst/>
                <a:ahLst/>
                <a:cxnLst>
                  <a:cxn ang="0">
                    <a:pos x="8" y="23"/>
                  </a:cxn>
                  <a:cxn ang="0">
                    <a:pos x="8" y="0"/>
                  </a:cxn>
                  <a:cxn ang="0">
                    <a:pos x="0" y="10"/>
                  </a:cxn>
                  <a:cxn ang="0">
                    <a:pos x="8" y="23"/>
                  </a:cxn>
                </a:cxnLst>
                <a:rect l="0" t="0" r="r" b="b"/>
                <a:pathLst>
                  <a:path w="8" h="23">
                    <a:moveTo>
                      <a:pt x="8" y="23"/>
                    </a:moveTo>
                    <a:cubicBezTo>
                      <a:pt x="8" y="0"/>
                      <a:pt x="8" y="0"/>
                      <a:pt x="8" y="0"/>
                    </a:cubicBezTo>
                    <a:cubicBezTo>
                      <a:pt x="5" y="4"/>
                      <a:pt x="4" y="6"/>
                      <a:pt x="0" y="10"/>
                    </a:cubicBezTo>
                    <a:lnTo>
                      <a:pt x="8" y="23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/>
              </a:p>
            </p:txBody>
          </p:sp>
          <p:sp>
            <p:nvSpPr>
              <p:cNvPr id="276" name="ïŝḻîdè">
                <a:extLst>
                  <a:ext uri="{FF2B5EF4-FFF2-40B4-BE49-F238E27FC236}">
                    <a16:creationId xmlns:a16="http://schemas.microsoft.com/office/drawing/2014/main" id="{EB7A43C0-ADD0-48CA-A580-3E8D14A9DFD5}"/>
                  </a:ext>
                </a:extLst>
              </p:cNvPr>
              <p:cNvSpPr/>
              <p:nvPr/>
            </p:nvSpPr>
            <p:spPr bwMode="auto">
              <a:xfrm>
                <a:off x="5918709" y="2923801"/>
                <a:ext cx="234571" cy="360032"/>
              </a:xfrm>
              <a:custGeom>
                <a:avLst/>
                <a:gdLst/>
                <a:ahLst/>
                <a:cxnLst>
                  <a:cxn ang="0">
                    <a:pos x="0" y="189"/>
                  </a:cxn>
                  <a:cxn ang="0">
                    <a:pos x="128" y="189"/>
                  </a:cxn>
                  <a:cxn ang="0">
                    <a:pos x="55" y="82"/>
                  </a:cxn>
                  <a:cxn ang="0">
                    <a:pos x="46" y="28"/>
                  </a:cxn>
                  <a:cxn ang="0">
                    <a:pos x="46" y="28"/>
                  </a:cxn>
                  <a:cxn ang="0">
                    <a:pos x="0" y="0"/>
                  </a:cxn>
                  <a:cxn ang="0">
                    <a:pos x="0" y="189"/>
                  </a:cxn>
                </a:cxnLst>
                <a:rect l="0" t="0" r="r" b="b"/>
                <a:pathLst>
                  <a:path w="128" h="189">
                    <a:moveTo>
                      <a:pt x="0" y="189"/>
                    </a:moveTo>
                    <a:cubicBezTo>
                      <a:pt x="128" y="189"/>
                      <a:pt x="128" y="189"/>
                      <a:pt x="128" y="189"/>
                    </a:cubicBezTo>
                    <a:cubicBezTo>
                      <a:pt x="55" y="82"/>
                      <a:pt x="55" y="82"/>
                      <a:pt x="55" y="82"/>
                    </a:cubicBezTo>
                    <a:cubicBezTo>
                      <a:pt x="46" y="64"/>
                      <a:pt x="39" y="46"/>
                      <a:pt x="46" y="28"/>
                    </a:cubicBezTo>
                    <a:cubicBezTo>
                      <a:pt x="46" y="28"/>
                      <a:pt x="46" y="28"/>
                      <a:pt x="46" y="28"/>
                    </a:cubicBezTo>
                    <a:cubicBezTo>
                      <a:pt x="28" y="23"/>
                      <a:pt x="13" y="12"/>
                      <a:pt x="0" y="0"/>
                    </a:cubicBezTo>
                    <a:lnTo>
                      <a:pt x="0" y="189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</p:spPr>
            <p:txBody>
              <a:bodyPr wrap="square" lIns="91440" tIns="45720" rIns="91440" bIns="45720" anchor="ctr">
                <a:normAutofit lnSpcReduction="10000"/>
              </a:bodyPr>
              <a:lstStyle/>
              <a:p>
                <a:pPr algn="ctr"/>
                <a:endParaRPr/>
              </a:p>
            </p:txBody>
          </p:sp>
          <p:sp>
            <p:nvSpPr>
              <p:cNvPr id="277" name="îsḷíḑé">
                <a:extLst>
                  <a:ext uri="{FF2B5EF4-FFF2-40B4-BE49-F238E27FC236}">
                    <a16:creationId xmlns:a16="http://schemas.microsoft.com/office/drawing/2014/main" id="{E5D16188-06C5-48C5-A1B6-610D1269ECCB}"/>
                  </a:ext>
                </a:extLst>
              </p:cNvPr>
              <p:cNvSpPr/>
              <p:nvPr/>
            </p:nvSpPr>
            <p:spPr bwMode="auto">
              <a:xfrm>
                <a:off x="5860067" y="2492896"/>
                <a:ext cx="460958" cy="453584"/>
              </a:xfrm>
              <a:custGeom>
                <a:avLst/>
                <a:gdLst/>
                <a:ahLst/>
                <a:cxnLst>
                  <a:cxn ang="0">
                    <a:pos x="107" y="208"/>
                  </a:cxn>
                  <a:cxn ang="0">
                    <a:pos x="147" y="196"/>
                  </a:cxn>
                  <a:cxn ang="0">
                    <a:pos x="199" y="222"/>
                  </a:cxn>
                  <a:cxn ang="0">
                    <a:pos x="223" y="199"/>
                  </a:cxn>
                  <a:cxn ang="0">
                    <a:pos x="235" y="177"/>
                  </a:cxn>
                  <a:cxn ang="0">
                    <a:pos x="251" y="124"/>
                  </a:cxn>
                  <a:cxn ang="0">
                    <a:pos x="123" y="0"/>
                  </a:cxn>
                  <a:cxn ang="0">
                    <a:pos x="0" y="124"/>
                  </a:cxn>
                  <a:cxn ang="0">
                    <a:pos x="80" y="238"/>
                  </a:cxn>
                  <a:cxn ang="0">
                    <a:pos x="107" y="208"/>
                  </a:cxn>
                </a:cxnLst>
                <a:rect l="0" t="0" r="r" b="b"/>
                <a:pathLst>
                  <a:path w="251" h="238">
                    <a:moveTo>
                      <a:pt x="107" y="208"/>
                    </a:moveTo>
                    <a:cubicBezTo>
                      <a:pt x="120" y="202"/>
                      <a:pt x="133" y="196"/>
                      <a:pt x="147" y="196"/>
                    </a:cubicBezTo>
                    <a:cubicBezTo>
                      <a:pt x="167" y="196"/>
                      <a:pt x="187" y="205"/>
                      <a:pt x="199" y="222"/>
                    </a:cubicBezTo>
                    <a:cubicBezTo>
                      <a:pt x="209" y="215"/>
                      <a:pt x="217" y="208"/>
                      <a:pt x="223" y="199"/>
                    </a:cubicBezTo>
                    <a:cubicBezTo>
                      <a:pt x="226" y="191"/>
                      <a:pt x="229" y="183"/>
                      <a:pt x="235" y="177"/>
                    </a:cubicBezTo>
                    <a:cubicBezTo>
                      <a:pt x="245" y="160"/>
                      <a:pt x="251" y="141"/>
                      <a:pt x="251" y="124"/>
                    </a:cubicBezTo>
                    <a:cubicBezTo>
                      <a:pt x="251" y="54"/>
                      <a:pt x="191" y="0"/>
                      <a:pt x="123" y="0"/>
                    </a:cubicBezTo>
                    <a:cubicBezTo>
                      <a:pt x="58" y="0"/>
                      <a:pt x="0" y="54"/>
                      <a:pt x="0" y="124"/>
                    </a:cubicBezTo>
                    <a:cubicBezTo>
                      <a:pt x="0" y="177"/>
                      <a:pt x="36" y="222"/>
                      <a:pt x="80" y="238"/>
                    </a:cubicBezTo>
                    <a:cubicBezTo>
                      <a:pt x="87" y="226"/>
                      <a:pt x="97" y="216"/>
                      <a:pt x="107" y="208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</p:spPr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/>
              </a:p>
            </p:txBody>
          </p:sp>
          <p:sp>
            <p:nvSpPr>
              <p:cNvPr id="278" name="ïśḷîḓê">
                <a:extLst>
                  <a:ext uri="{FF2B5EF4-FFF2-40B4-BE49-F238E27FC236}">
                    <a16:creationId xmlns:a16="http://schemas.microsoft.com/office/drawing/2014/main" id="{F3BE36EF-DEC1-4C0E-BF50-C2830ACC41AC}"/>
                  </a:ext>
                </a:extLst>
              </p:cNvPr>
              <p:cNvSpPr/>
              <p:nvPr/>
            </p:nvSpPr>
            <p:spPr bwMode="auto">
              <a:xfrm>
                <a:off x="6386486" y="3405734"/>
                <a:ext cx="4091" cy="26932"/>
              </a:xfrm>
              <a:custGeom>
                <a:avLst/>
                <a:gdLst/>
                <a:ahLst/>
                <a:cxnLst>
                  <a:cxn ang="0">
                    <a:pos x="2" y="6"/>
                  </a:cxn>
                  <a:cxn ang="0">
                    <a:pos x="0" y="0"/>
                  </a:cxn>
                  <a:cxn ang="0">
                    <a:pos x="0" y="14"/>
                  </a:cxn>
                  <a:cxn ang="0">
                    <a:pos x="2" y="6"/>
                  </a:cxn>
                </a:cxnLst>
                <a:rect l="0" t="0" r="r" b="b"/>
                <a:pathLst>
                  <a:path w="2" h="14">
                    <a:moveTo>
                      <a:pt x="2" y="6"/>
                    </a:moveTo>
                    <a:cubicBezTo>
                      <a:pt x="2" y="6"/>
                      <a:pt x="0" y="2"/>
                      <a:pt x="0" y="0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0" y="12"/>
                      <a:pt x="2" y="7"/>
                      <a:pt x="2" y="6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/>
              </a:p>
            </p:txBody>
          </p:sp>
          <p:sp>
            <p:nvSpPr>
              <p:cNvPr id="279" name="íš1íďê">
                <a:extLst>
                  <a:ext uri="{FF2B5EF4-FFF2-40B4-BE49-F238E27FC236}">
                    <a16:creationId xmlns:a16="http://schemas.microsoft.com/office/drawing/2014/main" id="{C59EB7EF-0043-424C-929F-F4F054EC8DF5}"/>
                  </a:ext>
                </a:extLst>
              </p:cNvPr>
              <p:cNvSpPr/>
              <p:nvPr/>
            </p:nvSpPr>
            <p:spPr bwMode="auto">
              <a:xfrm>
                <a:off x="6019629" y="2824579"/>
                <a:ext cx="465049" cy="695967"/>
              </a:xfrm>
              <a:custGeom>
                <a:avLst/>
                <a:gdLst/>
                <a:ahLst/>
                <a:cxnLst>
                  <a:cxn ang="0">
                    <a:pos x="200" y="0"/>
                  </a:cxn>
                  <a:cxn ang="0">
                    <a:pos x="148" y="52"/>
                  </a:cxn>
                  <a:cxn ang="0">
                    <a:pos x="148" y="137"/>
                  </a:cxn>
                  <a:cxn ang="0">
                    <a:pos x="104" y="68"/>
                  </a:cxn>
                  <a:cxn ang="0">
                    <a:pos x="31" y="52"/>
                  </a:cxn>
                  <a:cxn ang="0">
                    <a:pos x="14" y="125"/>
                  </a:cxn>
                  <a:cxn ang="0">
                    <a:pos x="91" y="241"/>
                  </a:cxn>
                  <a:cxn ang="0">
                    <a:pos x="130" y="241"/>
                  </a:cxn>
                  <a:cxn ang="0">
                    <a:pos x="200" y="305"/>
                  </a:cxn>
                  <a:cxn ang="0">
                    <a:pos x="200" y="319"/>
                  </a:cxn>
                  <a:cxn ang="0">
                    <a:pos x="181" y="358"/>
                  </a:cxn>
                  <a:cxn ang="0">
                    <a:pos x="228" y="355"/>
                  </a:cxn>
                  <a:cxn ang="0">
                    <a:pos x="253" y="311"/>
                  </a:cxn>
                  <a:cxn ang="0">
                    <a:pos x="253" y="307"/>
                  </a:cxn>
                  <a:cxn ang="0">
                    <a:pos x="253" y="52"/>
                  </a:cxn>
                  <a:cxn ang="0">
                    <a:pos x="200" y="0"/>
                  </a:cxn>
                </a:cxnLst>
                <a:rect l="0" t="0" r="r" b="b"/>
                <a:pathLst>
                  <a:path w="253" h="365">
                    <a:moveTo>
                      <a:pt x="200" y="0"/>
                    </a:moveTo>
                    <a:cubicBezTo>
                      <a:pt x="172" y="0"/>
                      <a:pt x="148" y="22"/>
                      <a:pt x="148" y="52"/>
                    </a:cubicBezTo>
                    <a:cubicBezTo>
                      <a:pt x="148" y="137"/>
                      <a:pt x="148" y="137"/>
                      <a:pt x="148" y="137"/>
                    </a:cubicBezTo>
                    <a:cubicBezTo>
                      <a:pt x="104" y="68"/>
                      <a:pt x="104" y="68"/>
                      <a:pt x="104" y="68"/>
                    </a:cubicBezTo>
                    <a:cubicBezTo>
                      <a:pt x="88" y="42"/>
                      <a:pt x="54" y="37"/>
                      <a:pt x="31" y="52"/>
                    </a:cubicBezTo>
                    <a:cubicBezTo>
                      <a:pt x="6" y="70"/>
                      <a:pt x="0" y="102"/>
                      <a:pt x="14" y="125"/>
                    </a:cubicBezTo>
                    <a:cubicBezTo>
                      <a:pt x="91" y="241"/>
                      <a:pt x="91" y="241"/>
                      <a:pt x="91" y="241"/>
                    </a:cubicBezTo>
                    <a:cubicBezTo>
                      <a:pt x="130" y="241"/>
                      <a:pt x="130" y="241"/>
                      <a:pt x="130" y="241"/>
                    </a:cubicBezTo>
                    <a:cubicBezTo>
                      <a:pt x="167" y="241"/>
                      <a:pt x="198" y="268"/>
                      <a:pt x="200" y="305"/>
                    </a:cubicBezTo>
                    <a:cubicBezTo>
                      <a:pt x="200" y="319"/>
                      <a:pt x="200" y="319"/>
                      <a:pt x="200" y="319"/>
                    </a:cubicBezTo>
                    <a:cubicBezTo>
                      <a:pt x="200" y="334"/>
                      <a:pt x="192" y="351"/>
                      <a:pt x="181" y="358"/>
                    </a:cubicBezTo>
                    <a:cubicBezTo>
                      <a:pt x="198" y="365"/>
                      <a:pt x="215" y="365"/>
                      <a:pt x="228" y="355"/>
                    </a:cubicBezTo>
                    <a:cubicBezTo>
                      <a:pt x="245" y="343"/>
                      <a:pt x="253" y="328"/>
                      <a:pt x="253" y="311"/>
                    </a:cubicBezTo>
                    <a:cubicBezTo>
                      <a:pt x="253" y="311"/>
                      <a:pt x="253" y="311"/>
                      <a:pt x="253" y="307"/>
                    </a:cubicBezTo>
                    <a:cubicBezTo>
                      <a:pt x="253" y="52"/>
                      <a:pt x="253" y="52"/>
                      <a:pt x="253" y="52"/>
                    </a:cubicBezTo>
                    <a:cubicBezTo>
                      <a:pt x="253" y="22"/>
                      <a:pt x="228" y="0"/>
                      <a:pt x="200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</p:spPr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/>
              </a:p>
            </p:txBody>
          </p:sp>
          <p:sp>
            <p:nvSpPr>
              <p:cNvPr id="280" name="îsľîďé">
                <a:extLst>
                  <a:ext uri="{FF2B5EF4-FFF2-40B4-BE49-F238E27FC236}">
                    <a16:creationId xmlns:a16="http://schemas.microsoft.com/office/drawing/2014/main" id="{B8CF155A-6CB6-4B31-A0F3-EE16E4B34583}"/>
                  </a:ext>
                </a:extLst>
              </p:cNvPr>
              <p:cNvSpPr/>
              <p:nvPr/>
            </p:nvSpPr>
            <p:spPr bwMode="auto">
              <a:xfrm>
                <a:off x="5785058" y="3432665"/>
                <a:ext cx="601427" cy="1552107"/>
              </a:xfrm>
              <a:custGeom>
                <a:avLst/>
                <a:gdLst/>
                <a:ahLst/>
                <a:cxnLst>
                  <a:cxn ang="0">
                    <a:pos x="328" y="526"/>
                  </a:cxn>
                  <a:cxn ang="0">
                    <a:pos x="328" y="519"/>
                  </a:cxn>
                  <a:cxn ang="0">
                    <a:pos x="328" y="296"/>
                  </a:cxn>
                  <a:cxn ang="0">
                    <a:pos x="328" y="292"/>
                  </a:cxn>
                  <a:cxn ang="0">
                    <a:pos x="328" y="0"/>
                  </a:cxn>
                  <a:cxn ang="0">
                    <a:pos x="258" y="63"/>
                  </a:cxn>
                  <a:cxn ang="0">
                    <a:pos x="0" y="63"/>
                  </a:cxn>
                  <a:cxn ang="0">
                    <a:pos x="0" y="303"/>
                  </a:cxn>
                  <a:cxn ang="0">
                    <a:pos x="0" y="303"/>
                  </a:cxn>
                  <a:cxn ang="0">
                    <a:pos x="0" y="303"/>
                  </a:cxn>
                  <a:cxn ang="0">
                    <a:pos x="0" y="532"/>
                  </a:cxn>
                  <a:cxn ang="0">
                    <a:pos x="0" y="532"/>
                  </a:cxn>
                  <a:cxn ang="0">
                    <a:pos x="0" y="756"/>
                  </a:cxn>
                  <a:cxn ang="0">
                    <a:pos x="59" y="810"/>
                  </a:cxn>
                  <a:cxn ang="0">
                    <a:pos x="77" y="810"/>
                  </a:cxn>
                  <a:cxn ang="0">
                    <a:pos x="134" y="756"/>
                  </a:cxn>
                  <a:cxn ang="0">
                    <a:pos x="134" y="532"/>
                  </a:cxn>
                  <a:cxn ang="0">
                    <a:pos x="134" y="532"/>
                  </a:cxn>
                  <a:cxn ang="0">
                    <a:pos x="134" y="303"/>
                  </a:cxn>
                  <a:cxn ang="0">
                    <a:pos x="134" y="299"/>
                  </a:cxn>
                  <a:cxn ang="0">
                    <a:pos x="164" y="270"/>
                  </a:cxn>
                  <a:cxn ang="0">
                    <a:pos x="197" y="299"/>
                  </a:cxn>
                  <a:cxn ang="0">
                    <a:pos x="197" y="519"/>
                  </a:cxn>
                  <a:cxn ang="0">
                    <a:pos x="197" y="526"/>
                  </a:cxn>
                  <a:cxn ang="0">
                    <a:pos x="197" y="532"/>
                  </a:cxn>
                  <a:cxn ang="0">
                    <a:pos x="197" y="756"/>
                  </a:cxn>
                  <a:cxn ang="0">
                    <a:pos x="255" y="813"/>
                  </a:cxn>
                  <a:cxn ang="0">
                    <a:pos x="273" y="813"/>
                  </a:cxn>
                  <a:cxn ang="0">
                    <a:pos x="328" y="756"/>
                  </a:cxn>
                  <a:cxn ang="0">
                    <a:pos x="328" y="532"/>
                  </a:cxn>
                  <a:cxn ang="0">
                    <a:pos x="328" y="526"/>
                  </a:cxn>
                </a:cxnLst>
                <a:rect l="0" t="0" r="r" b="b"/>
                <a:pathLst>
                  <a:path w="328" h="813">
                    <a:moveTo>
                      <a:pt x="328" y="526"/>
                    </a:moveTo>
                    <a:cubicBezTo>
                      <a:pt x="328" y="526"/>
                      <a:pt x="328" y="522"/>
                      <a:pt x="328" y="519"/>
                    </a:cubicBezTo>
                    <a:cubicBezTo>
                      <a:pt x="328" y="296"/>
                      <a:pt x="328" y="296"/>
                      <a:pt x="328" y="296"/>
                    </a:cubicBezTo>
                    <a:cubicBezTo>
                      <a:pt x="328" y="296"/>
                      <a:pt x="328" y="296"/>
                      <a:pt x="328" y="292"/>
                    </a:cubicBezTo>
                    <a:cubicBezTo>
                      <a:pt x="328" y="0"/>
                      <a:pt x="328" y="0"/>
                      <a:pt x="328" y="0"/>
                    </a:cubicBezTo>
                    <a:cubicBezTo>
                      <a:pt x="326" y="36"/>
                      <a:pt x="295" y="63"/>
                      <a:pt x="258" y="63"/>
                    </a:cubicBezTo>
                    <a:cubicBezTo>
                      <a:pt x="0" y="63"/>
                      <a:pt x="0" y="63"/>
                      <a:pt x="0" y="63"/>
                    </a:cubicBezTo>
                    <a:cubicBezTo>
                      <a:pt x="0" y="303"/>
                      <a:pt x="0" y="303"/>
                      <a:pt x="0" y="303"/>
                    </a:cubicBezTo>
                    <a:cubicBezTo>
                      <a:pt x="0" y="303"/>
                      <a:pt x="0" y="303"/>
                      <a:pt x="0" y="303"/>
                    </a:cubicBezTo>
                    <a:cubicBezTo>
                      <a:pt x="0" y="303"/>
                      <a:pt x="0" y="303"/>
                      <a:pt x="0" y="303"/>
                    </a:cubicBezTo>
                    <a:cubicBezTo>
                      <a:pt x="0" y="532"/>
                      <a:pt x="0" y="532"/>
                      <a:pt x="0" y="532"/>
                    </a:cubicBezTo>
                    <a:cubicBezTo>
                      <a:pt x="0" y="532"/>
                      <a:pt x="0" y="532"/>
                      <a:pt x="0" y="532"/>
                    </a:cubicBezTo>
                    <a:cubicBezTo>
                      <a:pt x="0" y="756"/>
                      <a:pt x="0" y="756"/>
                      <a:pt x="0" y="756"/>
                    </a:cubicBezTo>
                    <a:cubicBezTo>
                      <a:pt x="0" y="786"/>
                      <a:pt x="27" y="810"/>
                      <a:pt x="59" y="810"/>
                    </a:cubicBezTo>
                    <a:cubicBezTo>
                      <a:pt x="77" y="810"/>
                      <a:pt x="77" y="810"/>
                      <a:pt x="77" y="810"/>
                    </a:cubicBezTo>
                    <a:cubicBezTo>
                      <a:pt x="107" y="810"/>
                      <a:pt x="134" y="786"/>
                      <a:pt x="134" y="756"/>
                    </a:cubicBezTo>
                    <a:cubicBezTo>
                      <a:pt x="134" y="532"/>
                      <a:pt x="134" y="532"/>
                      <a:pt x="134" y="532"/>
                    </a:cubicBezTo>
                    <a:cubicBezTo>
                      <a:pt x="134" y="532"/>
                      <a:pt x="134" y="532"/>
                      <a:pt x="134" y="532"/>
                    </a:cubicBezTo>
                    <a:cubicBezTo>
                      <a:pt x="134" y="303"/>
                      <a:pt x="134" y="303"/>
                      <a:pt x="134" y="303"/>
                    </a:cubicBezTo>
                    <a:cubicBezTo>
                      <a:pt x="134" y="303"/>
                      <a:pt x="134" y="300"/>
                      <a:pt x="134" y="299"/>
                    </a:cubicBezTo>
                    <a:cubicBezTo>
                      <a:pt x="138" y="283"/>
                      <a:pt x="148" y="270"/>
                      <a:pt x="164" y="270"/>
                    </a:cubicBezTo>
                    <a:cubicBezTo>
                      <a:pt x="182" y="270"/>
                      <a:pt x="193" y="283"/>
                      <a:pt x="197" y="299"/>
                    </a:cubicBezTo>
                    <a:cubicBezTo>
                      <a:pt x="197" y="519"/>
                      <a:pt x="197" y="519"/>
                      <a:pt x="197" y="519"/>
                    </a:cubicBezTo>
                    <a:cubicBezTo>
                      <a:pt x="197" y="522"/>
                      <a:pt x="197" y="526"/>
                      <a:pt x="197" y="526"/>
                    </a:cubicBezTo>
                    <a:cubicBezTo>
                      <a:pt x="197" y="528"/>
                      <a:pt x="197" y="528"/>
                      <a:pt x="197" y="532"/>
                    </a:cubicBezTo>
                    <a:cubicBezTo>
                      <a:pt x="197" y="756"/>
                      <a:pt x="197" y="756"/>
                      <a:pt x="197" y="756"/>
                    </a:cubicBezTo>
                    <a:cubicBezTo>
                      <a:pt x="197" y="786"/>
                      <a:pt x="225" y="813"/>
                      <a:pt x="255" y="813"/>
                    </a:cubicBezTo>
                    <a:cubicBezTo>
                      <a:pt x="273" y="813"/>
                      <a:pt x="273" y="813"/>
                      <a:pt x="273" y="813"/>
                    </a:cubicBezTo>
                    <a:cubicBezTo>
                      <a:pt x="302" y="813"/>
                      <a:pt x="328" y="786"/>
                      <a:pt x="328" y="756"/>
                    </a:cubicBezTo>
                    <a:cubicBezTo>
                      <a:pt x="328" y="532"/>
                      <a:pt x="328" y="532"/>
                      <a:pt x="328" y="532"/>
                    </a:cubicBezTo>
                    <a:cubicBezTo>
                      <a:pt x="328" y="528"/>
                      <a:pt x="328" y="528"/>
                      <a:pt x="328" y="526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</p:spPr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/>
              </a:p>
            </p:txBody>
          </p:sp>
        </p:grpSp>
        <p:grpSp>
          <p:nvGrpSpPr>
            <p:cNvPr id="243" name="í$ļîďè">
              <a:extLst>
                <a:ext uri="{FF2B5EF4-FFF2-40B4-BE49-F238E27FC236}">
                  <a16:creationId xmlns:a16="http://schemas.microsoft.com/office/drawing/2014/main" id="{46F2EC22-118D-45E9-971C-697E965D92E4}"/>
                </a:ext>
              </a:extLst>
            </p:cNvPr>
            <p:cNvGrpSpPr/>
            <p:nvPr/>
          </p:nvGrpSpPr>
          <p:grpSpPr>
            <a:xfrm>
              <a:off x="1199456" y="2207488"/>
              <a:ext cx="2737373" cy="1274619"/>
              <a:chOff x="1260147" y="4627751"/>
              <a:chExt cx="2737373" cy="1274619"/>
            </a:xfrm>
          </p:grpSpPr>
          <p:sp>
            <p:nvSpPr>
              <p:cNvPr id="272" name="îSľïdé">
                <a:extLst>
                  <a:ext uri="{FF2B5EF4-FFF2-40B4-BE49-F238E27FC236}">
                    <a16:creationId xmlns:a16="http://schemas.microsoft.com/office/drawing/2014/main" id="{377192B6-C771-49A2-93B5-5B195C04CC1B}"/>
                  </a:ext>
                </a:extLst>
              </p:cNvPr>
              <p:cNvSpPr txBox="1"/>
              <p:nvPr/>
            </p:nvSpPr>
            <p:spPr bwMode="auto">
              <a:xfrm>
                <a:off x="1889457" y="4627751"/>
                <a:ext cx="2108063" cy="127461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/>
              <a:p>
                <a:pPr eaLnBrk="1" hangingPunct="1">
                  <a:spcBef>
                    <a:spcPct val="0"/>
                  </a:spcBef>
                  <a:buFontTx/>
                  <a:buNone/>
                </a:pPr>
                <a:r>
                  <a:rPr lang="zh-CN" altLang="en-US" sz="3200" b="1" dirty="0"/>
                  <a:t>健康宣教</a:t>
                </a:r>
              </a:p>
            </p:txBody>
          </p:sp>
          <p:sp>
            <p:nvSpPr>
              <p:cNvPr id="273" name="ïsḷïďé">
                <a:extLst>
                  <a:ext uri="{FF2B5EF4-FFF2-40B4-BE49-F238E27FC236}">
                    <a16:creationId xmlns:a16="http://schemas.microsoft.com/office/drawing/2014/main" id="{5A544490-E8F8-4476-89BA-8C15A6A7822E}"/>
                  </a:ext>
                </a:extLst>
              </p:cNvPr>
              <p:cNvSpPr/>
              <p:nvPr/>
            </p:nvSpPr>
            <p:spPr bwMode="auto">
              <a:xfrm>
                <a:off x="1260147" y="5020349"/>
                <a:ext cx="461080" cy="460373"/>
              </a:xfrm>
              <a:custGeom>
                <a:avLst/>
                <a:gdLst>
                  <a:gd name="connsiteX0" fmla="*/ 325000 h 606722"/>
                  <a:gd name="connsiteY0" fmla="*/ 325000 h 606722"/>
                  <a:gd name="connsiteX1" fmla="*/ 325000 h 606722"/>
                  <a:gd name="connsiteY1" fmla="*/ 325000 h 606722"/>
                  <a:gd name="connsiteX2" fmla="*/ 325000 h 606722"/>
                  <a:gd name="connsiteY2" fmla="*/ 325000 h 606722"/>
                  <a:gd name="connsiteX3" fmla="*/ 325000 h 606722"/>
                  <a:gd name="connsiteY3" fmla="*/ 325000 h 606722"/>
                  <a:gd name="connsiteX4" fmla="*/ 325000 h 606722"/>
                  <a:gd name="connsiteY4" fmla="*/ 325000 h 606722"/>
                  <a:gd name="connsiteX5" fmla="*/ 325000 h 606722"/>
                  <a:gd name="connsiteY5" fmla="*/ 325000 h 606722"/>
                  <a:gd name="connsiteX6" fmla="*/ 325000 h 606722"/>
                  <a:gd name="connsiteY6" fmla="*/ 325000 h 606722"/>
                  <a:gd name="connsiteX7" fmla="*/ 325000 h 606722"/>
                  <a:gd name="connsiteY7" fmla="*/ 325000 h 606722"/>
                  <a:gd name="connsiteX8" fmla="*/ 325000 h 606722"/>
                  <a:gd name="connsiteY8" fmla="*/ 325000 h 606722"/>
                  <a:gd name="connsiteX9" fmla="*/ 325000 h 606722"/>
                  <a:gd name="connsiteY9" fmla="*/ 325000 h 606722"/>
                  <a:gd name="connsiteX10" fmla="*/ 325000 h 606722"/>
                  <a:gd name="connsiteY10" fmla="*/ 325000 h 606722"/>
                  <a:gd name="connsiteX11" fmla="*/ 325000 h 606722"/>
                  <a:gd name="connsiteY11" fmla="*/ 325000 h 606722"/>
                  <a:gd name="connsiteX12" fmla="*/ 325000 h 606722"/>
                  <a:gd name="connsiteY12" fmla="*/ 325000 h 606722"/>
                  <a:gd name="connsiteX13" fmla="*/ 325000 h 606722"/>
                  <a:gd name="connsiteY13" fmla="*/ 325000 h 606722"/>
                  <a:gd name="connsiteX14" fmla="*/ 325000 h 606722"/>
                  <a:gd name="connsiteY14" fmla="*/ 325000 h 606722"/>
                  <a:gd name="connsiteX15" fmla="*/ 325000 h 606722"/>
                  <a:gd name="connsiteY15" fmla="*/ 325000 h 606722"/>
                  <a:gd name="connsiteX16" fmla="*/ 325000 h 606722"/>
                  <a:gd name="connsiteY16" fmla="*/ 325000 h 606722"/>
                  <a:gd name="connsiteX17" fmla="*/ 325000 h 606722"/>
                  <a:gd name="connsiteY17" fmla="*/ 325000 h 606722"/>
                  <a:gd name="connsiteX18" fmla="*/ 325000 h 606722"/>
                  <a:gd name="connsiteY18" fmla="*/ 325000 h 606722"/>
                  <a:gd name="connsiteX19" fmla="*/ 325000 h 606722"/>
                  <a:gd name="connsiteY19" fmla="*/ 325000 h 606722"/>
                  <a:gd name="connsiteX20" fmla="*/ 325000 h 606722"/>
                  <a:gd name="connsiteY20" fmla="*/ 325000 h 606722"/>
                  <a:gd name="connsiteX21" fmla="*/ 325000 h 606722"/>
                  <a:gd name="connsiteY21" fmla="*/ 325000 h 606722"/>
                  <a:gd name="connsiteX22" fmla="*/ 325000 h 606722"/>
                  <a:gd name="connsiteY22" fmla="*/ 325000 h 606722"/>
                  <a:gd name="connsiteX23" fmla="*/ 325000 h 606722"/>
                  <a:gd name="connsiteY23" fmla="*/ 325000 h 606722"/>
                  <a:gd name="connsiteX24" fmla="*/ 325000 h 606722"/>
                  <a:gd name="connsiteY24" fmla="*/ 325000 h 606722"/>
                  <a:gd name="connsiteX25" fmla="*/ 325000 h 606722"/>
                  <a:gd name="connsiteY25" fmla="*/ 325000 h 606722"/>
                  <a:gd name="connsiteX26" fmla="*/ 325000 h 606722"/>
                  <a:gd name="connsiteY26" fmla="*/ 325000 h 606722"/>
                  <a:gd name="connsiteX27" fmla="*/ 325000 h 606722"/>
                  <a:gd name="connsiteY27" fmla="*/ 325000 h 606722"/>
                  <a:gd name="connsiteX28" fmla="*/ 325000 h 606722"/>
                  <a:gd name="connsiteY28" fmla="*/ 325000 h 606722"/>
                  <a:gd name="connsiteX29" fmla="*/ 325000 h 606722"/>
                  <a:gd name="connsiteY29" fmla="*/ 325000 h 606722"/>
                  <a:gd name="connsiteX30" fmla="*/ 325000 h 606722"/>
                  <a:gd name="connsiteY30" fmla="*/ 325000 h 606722"/>
                  <a:gd name="connsiteX31" fmla="*/ 325000 h 606722"/>
                  <a:gd name="connsiteY31" fmla="*/ 325000 h 606722"/>
                  <a:gd name="connsiteX32" fmla="*/ 325000 h 606722"/>
                  <a:gd name="connsiteY32" fmla="*/ 325000 h 606722"/>
                  <a:gd name="connsiteX33" fmla="*/ 325000 h 606722"/>
                  <a:gd name="connsiteY33" fmla="*/ 325000 h 606722"/>
                  <a:gd name="connsiteX34" fmla="*/ 325000 h 606722"/>
                  <a:gd name="connsiteY34" fmla="*/ 325000 h 606722"/>
                  <a:gd name="connsiteX35" fmla="*/ 325000 h 606722"/>
                  <a:gd name="connsiteY35" fmla="*/ 325000 h 606722"/>
                  <a:gd name="connsiteX36" fmla="*/ 325000 h 606722"/>
                  <a:gd name="connsiteY36" fmla="*/ 325000 h 606722"/>
                  <a:gd name="connsiteX37" fmla="*/ 325000 h 606722"/>
                  <a:gd name="connsiteY37" fmla="*/ 325000 h 606722"/>
                  <a:gd name="connsiteX38" fmla="*/ 325000 h 606722"/>
                  <a:gd name="connsiteY38" fmla="*/ 325000 h 606722"/>
                  <a:gd name="connsiteX39" fmla="*/ 325000 h 606722"/>
                  <a:gd name="connsiteY39" fmla="*/ 325000 h 606722"/>
                  <a:gd name="connsiteX40" fmla="*/ 325000 h 606722"/>
                  <a:gd name="connsiteY40" fmla="*/ 325000 h 606722"/>
                  <a:gd name="connsiteX41" fmla="*/ 325000 h 606722"/>
                  <a:gd name="connsiteY41" fmla="*/ 325000 h 606722"/>
                  <a:gd name="connsiteX42" fmla="*/ 325000 h 606722"/>
                  <a:gd name="connsiteY42" fmla="*/ 325000 h 606722"/>
                  <a:gd name="connsiteX43" fmla="*/ 325000 h 606722"/>
                  <a:gd name="connsiteY43" fmla="*/ 325000 h 606722"/>
                  <a:gd name="connsiteX44" fmla="*/ 325000 h 606722"/>
                  <a:gd name="connsiteY44" fmla="*/ 325000 h 606722"/>
                  <a:gd name="connsiteX45" fmla="*/ 325000 h 606722"/>
                  <a:gd name="connsiteY45" fmla="*/ 325000 h 606722"/>
                  <a:gd name="connsiteX46" fmla="*/ 325000 h 606722"/>
                  <a:gd name="connsiteY46" fmla="*/ 325000 h 606722"/>
                  <a:gd name="connsiteX47" fmla="*/ 325000 h 606722"/>
                  <a:gd name="connsiteY47" fmla="*/ 325000 h 606722"/>
                  <a:gd name="connsiteX48" fmla="*/ 325000 h 606722"/>
                  <a:gd name="connsiteY48" fmla="*/ 325000 h 606722"/>
                  <a:gd name="connsiteX49" fmla="*/ 325000 h 606722"/>
                  <a:gd name="connsiteY49" fmla="*/ 325000 h 606722"/>
                  <a:gd name="connsiteX50" fmla="*/ 325000 h 606722"/>
                  <a:gd name="connsiteY50" fmla="*/ 325000 h 606722"/>
                  <a:gd name="connsiteX51" fmla="*/ 325000 h 606722"/>
                  <a:gd name="connsiteY51" fmla="*/ 325000 h 606722"/>
                  <a:gd name="connsiteX52" fmla="*/ 325000 h 606722"/>
                  <a:gd name="connsiteY52" fmla="*/ 325000 h 606722"/>
                  <a:gd name="connsiteX53" fmla="*/ 325000 h 606722"/>
                  <a:gd name="connsiteY53" fmla="*/ 325000 h 606722"/>
                  <a:gd name="connsiteX54" fmla="*/ 325000 h 606722"/>
                  <a:gd name="connsiteY54" fmla="*/ 325000 h 606722"/>
                  <a:gd name="connsiteX55" fmla="*/ 325000 h 606722"/>
                  <a:gd name="connsiteY55" fmla="*/ 325000 h 606722"/>
                  <a:gd name="connsiteX56" fmla="*/ 325000 h 606722"/>
                  <a:gd name="connsiteY56" fmla="*/ 325000 h 606722"/>
                  <a:gd name="connsiteX57" fmla="*/ 325000 h 606722"/>
                  <a:gd name="connsiteY57" fmla="*/ 325000 h 606722"/>
                  <a:gd name="connsiteX58" fmla="*/ 325000 h 606722"/>
                  <a:gd name="connsiteY58" fmla="*/ 325000 h 606722"/>
                  <a:gd name="connsiteX59" fmla="*/ 325000 h 606722"/>
                  <a:gd name="connsiteY59" fmla="*/ 325000 h 606722"/>
                  <a:gd name="connsiteX60" fmla="*/ 325000 h 606722"/>
                  <a:gd name="connsiteY60" fmla="*/ 325000 h 606722"/>
                  <a:gd name="connsiteX61" fmla="*/ 325000 h 606722"/>
                  <a:gd name="connsiteY61" fmla="*/ 325000 h 606722"/>
                  <a:gd name="connsiteX62" fmla="*/ 325000 h 606722"/>
                  <a:gd name="connsiteY62" fmla="*/ 325000 h 606722"/>
                  <a:gd name="connsiteX63" fmla="*/ 325000 h 606722"/>
                  <a:gd name="connsiteY63" fmla="*/ 325000 h 606722"/>
                  <a:gd name="connsiteX64" fmla="*/ 325000 h 606722"/>
                  <a:gd name="connsiteY64" fmla="*/ 325000 h 606722"/>
                  <a:gd name="connsiteX65" fmla="*/ 325000 h 606722"/>
                  <a:gd name="connsiteY65" fmla="*/ 325000 h 606722"/>
                  <a:gd name="connsiteX66" fmla="*/ 325000 h 606722"/>
                  <a:gd name="connsiteY66" fmla="*/ 325000 h 606722"/>
                  <a:gd name="connsiteX67" fmla="*/ 325000 h 606722"/>
                  <a:gd name="connsiteY67" fmla="*/ 325000 h 6067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</a:cxnLst>
                <a:rect l="l" t="t" r="r" b="b"/>
                <a:pathLst>
                  <a:path w="607535" h="606604">
                    <a:moveTo>
                      <a:pt x="394900" y="353768"/>
                    </a:moveTo>
                    <a:cubicBezTo>
                      <a:pt x="400507" y="353768"/>
                      <a:pt x="405045" y="358301"/>
                      <a:pt x="405045" y="363900"/>
                    </a:cubicBezTo>
                    <a:lnTo>
                      <a:pt x="405045" y="515616"/>
                    </a:lnTo>
                    <a:cubicBezTo>
                      <a:pt x="405045" y="543435"/>
                      <a:pt x="382353" y="566099"/>
                      <a:pt x="354410" y="566099"/>
                    </a:cubicBezTo>
                    <a:lnTo>
                      <a:pt x="212649" y="566099"/>
                    </a:lnTo>
                    <a:cubicBezTo>
                      <a:pt x="207131" y="566099"/>
                      <a:pt x="202593" y="561566"/>
                      <a:pt x="202593" y="556056"/>
                    </a:cubicBezTo>
                    <a:cubicBezTo>
                      <a:pt x="202593" y="550457"/>
                      <a:pt x="207131" y="545924"/>
                      <a:pt x="212649" y="545924"/>
                    </a:cubicBezTo>
                    <a:lnTo>
                      <a:pt x="354410" y="545924"/>
                    </a:lnTo>
                    <a:cubicBezTo>
                      <a:pt x="371140" y="545924"/>
                      <a:pt x="384845" y="532325"/>
                      <a:pt x="384845" y="515616"/>
                    </a:cubicBezTo>
                    <a:lnTo>
                      <a:pt x="384845" y="363900"/>
                    </a:lnTo>
                    <a:cubicBezTo>
                      <a:pt x="384845" y="358301"/>
                      <a:pt x="389294" y="353768"/>
                      <a:pt x="394900" y="353768"/>
                    </a:cubicBezTo>
                    <a:close/>
                    <a:moveTo>
                      <a:pt x="131640" y="262739"/>
                    </a:moveTo>
                    <a:cubicBezTo>
                      <a:pt x="137236" y="262739"/>
                      <a:pt x="141766" y="267271"/>
                      <a:pt x="141766" y="272870"/>
                    </a:cubicBezTo>
                    <a:lnTo>
                      <a:pt x="141766" y="333565"/>
                    </a:lnTo>
                    <a:cubicBezTo>
                      <a:pt x="141766" y="339075"/>
                      <a:pt x="137236" y="343607"/>
                      <a:pt x="131640" y="343607"/>
                    </a:cubicBezTo>
                    <a:cubicBezTo>
                      <a:pt x="126044" y="343607"/>
                      <a:pt x="121514" y="339075"/>
                      <a:pt x="121514" y="333565"/>
                    </a:cubicBezTo>
                    <a:lnTo>
                      <a:pt x="121514" y="272870"/>
                    </a:lnTo>
                    <a:cubicBezTo>
                      <a:pt x="121514" y="267271"/>
                      <a:pt x="126044" y="262739"/>
                      <a:pt x="131640" y="262739"/>
                    </a:cubicBezTo>
                    <a:close/>
                    <a:moveTo>
                      <a:pt x="489057" y="194973"/>
                    </a:moveTo>
                    <a:cubicBezTo>
                      <a:pt x="492973" y="190974"/>
                      <a:pt x="499381" y="190974"/>
                      <a:pt x="503386" y="194973"/>
                    </a:cubicBezTo>
                    <a:lnTo>
                      <a:pt x="604576" y="296095"/>
                    </a:lnTo>
                    <a:cubicBezTo>
                      <a:pt x="605555" y="296983"/>
                      <a:pt x="606267" y="298138"/>
                      <a:pt x="606801" y="299383"/>
                    </a:cubicBezTo>
                    <a:cubicBezTo>
                      <a:pt x="607780" y="301871"/>
                      <a:pt x="607780" y="304625"/>
                      <a:pt x="606801" y="307113"/>
                    </a:cubicBezTo>
                    <a:cubicBezTo>
                      <a:pt x="606267" y="308357"/>
                      <a:pt x="605555" y="309424"/>
                      <a:pt x="604576" y="310401"/>
                    </a:cubicBezTo>
                    <a:lnTo>
                      <a:pt x="503386" y="411434"/>
                    </a:lnTo>
                    <a:cubicBezTo>
                      <a:pt x="501339" y="413478"/>
                      <a:pt x="498758" y="414455"/>
                      <a:pt x="496177" y="414455"/>
                    </a:cubicBezTo>
                    <a:cubicBezTo>
                      <a:pt x="493596" y="414455"/>
                      <a:pt x="491015" y="413478"/>
                      <a:pt x="489057" y="411434"/>
                    </a:cubicBezTo>
                    <a:cubicBezTo>
                      <a:pt x="485052" y="407524"/>
                      <a:pt x="485052" y="401126"/>
                      <a:pt x="489057" y="397217"/>
                    </a:cubicBezTo>
                    <a:lnTo>
                      <a:pt x="572982" y="313333"/>
                    </a:lnTo>
                    <a:lnTo>
                      <a:pt x="232921" y="313333"/>
                    </a:lnTo>
                    <a:cubicBezTo>
                      <a:pt x="227314" y="313333"/>
                      <a:pt x="222775" y="308802"/>
                      <a:pt x="222775" y="303203"/>
                    </a:cubicBezTo>
                    <a:cubicBezTo>
                      <a:pt x="222775" y="297605"/>
                      <a:pt x="227314" y="293074"/>
                      <a:pt x="232921" y="293074"/>
                    </a:cubicBezTo>
                    <a:lnTo>
                      <a:pt x="572982" y="293074"/>
                    </a:lnTo>
                    <a:lnTo>
                      <a:pt x="489057" y="209279"/>
                    </a:lnTo>
                    <a:cubicBezTo>
                      <a:pt x="485052" y="205281"/>
                      <a:pt x="485052" y="198883"/>
                      <a:pt x="489057" y="194973"/>
                    </a:cubicBezTo>
                    <a:close/>
                    <a:moveTo>
                      <a:pt x="211398" y="40317"/>
                    </a:moveTo>
                    <a:lnTo>
                      <a:pt x="354409" y="40317"/>
                    </a:lnTo>
                    <a:cubicBezTo>
                      <a:pt x="382353" y="40317"/>
                      <a:pt x="405046" y="62981"/>
                      <a:pt x="405046" y="90889"/>
                    </a:cubicBezTo>
                    <a:lnTo>
                      <a:pt x="405046" y="242605"/>
                    </a:lnTo>
                    <a:cubicBezTo>
                      <a:pt x="405046" y="248115"/>
                      <a:pt x="400508" y="252648"/>
                      <a:pt x="394901" y="252648"/>
                    </a:cubicBezTo>
                    <a:cubicBezTo>
                      <a:pt x="389295" y="252648"/>
                      <a:pt x="384845" y="248115"/>
                      <a:pt x="384845" y="242605"/>
                    </a:cubicBezTo>
                    <a:lnTo>
                      <a:pt x="384845" y="90889"/>
                    </a:lnTo>
                    <a:cubicBezTo>
                      <a:pt x="384845" y="74180"/>
                      <a:pt x="371140" y="60581"/>
                      <a:pt x="354409" y="60581"/>
                    </a:cubicBezTo>
                    <a:lnTo>
                      <a:pt x="211398" y="60581"/>
                    </a:lnTo>
                    <a:cubicBezTo>
                      <a:pt x="205791" y="60581"/>
                      <a:pt x="201253" y="56048"/>
                      <a:pt x="201253" y="50449"/>
                    </a:cubicBezTo>
                    <a:cubicBezTo>
                      <a:pt x="201253" y="44850"/>
                      <a:pt x="205791" y="40317"/>
                      <a:pt x="211398" y="40317"/>
                    </a:cubicBezTo>
                    <a:close/>
                    <a:moveTo>
                      <a:pt x="147115" y="20146"/>
                    </a:moveTo>
                    <a:cubicBezTo>
                      <a:pt x="144890" y="20146"/>
                      <a:pt x="142576" y="20590"/>
                      <a:pt x="140084" y="21568"/>
                    </a:cubicBezTo>
                    <a:lnTo>
                      <a:pt x="44232" y="59782"/>
                    </a:lnTo>
                    <a:cubicBezTo>
                      <a:pt x="24919" y="66981"/>
                      <a:pt x="20292" y="73024"/>
                      <a:pt x="20292" y="90887"/>
                    </a:cubicBezTo>
                    <a:lnTo>
                      <a:pt x="20292" y="515689"/>
                    </a:lnTo>
                    <a:cubicBezTo>
                      <a:pt x="20292" y="533464"/>
                      <a:pt x="24919" y="539596"/>
                      <a:pt x="44054" y="546616"/>
                    </a:cubicBezTo>
                    <a:lnTo>
                      <a:pt x="140262" y="585098"/>
                    </a:lnTo>
                    <a:cubicBezTo>
                      <a:pt x="142576" y="585897"/>
                      <a:pt x="144890" y="586431"/>
                      <a:pt x="147115" y="586431"/>
                    </a:cubicBezTo>
                    <a:cubicBezTo>
                      <a:pt x="156015" y="586431"/>
                      <a:pt x="161978" y="578254"/>
                      <a:pt x="161978" y="566257"/>
                    </a:cubicBezTo>
                    <a:lnTo>
                      <a:pt x="161978" y="40319"/>
                    </a:lnTo>
                    <a:cubicBezTo>
                      <a:pt x="161978" y="28233"/>
                      <a:pt x="156015" y="20146"/>
                      <a:pt x="147115" y="20146"/>
                    </a:cubicBezTo>
                    <a:close/>
                    <a:moveTo>
                      <a:pt x="151669" y="315"/>
                    </a:moveTo>
                    <a:cubicBezTo>
                      <a:pt x="169354" y="2727"/>
                      <a:pt x="182270" y="18724"/>
                      <a:pt x="182270" y="40319"/>
                    </a:cubicBezTo>
                    <a:lnTo>
                      <a:pt x="182270" y="566257"/>
                    </a:lnTo>
                    <a:cubicBezTo>
                      <a:pt x="182270" y="589630"/>
                      <a:pt x="167496" y="606604"/>
                      <a:pt x="147115" y="606604"/>
                    </a:cubicBezTo>
                    <a:cubicBezTo>
                      <a:pt x="142487" y="606604"/>
                      <a:pt x="137681" y="605716"/>
                      <a:pt x="132964" y="603938"/>
                    </a:cubicBezTo>
                    <a:lnTo>
                      <a:pt x="36756" y="565457"/>
                    </a:lnTo>
                    <a:cubicBezTo>
                      <a:pt x="10057" y="555592"/>
                      <a:pt x="0" y="542084"/>
                      <a:pt x="0" y="515689"/>
                    </a:cubicBezTo>
                    <a:lnTo>
                      <a:pt x="0" y="90887"/>
                    </a:lnTo>
                    <a:cubicBezTo>
                      <a:pt x="0" y="64492"/>
                      <a:pt x="10057" y="50895"/>
                      <a:pt x="37023" y="40942"/>
                    </a:cubicBezTo>
                    <a:lnTo>
                      <a:pt x="132697" y="2727"/>
                    </a:lnTo>
                    <a:cubicBezTo>
                      <a:pt x="139350" y="217"/>
                      <a:pt x="145774" y="-489"/>
                      <a:pt x="151669" y="315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/>
              </a:p>
            </p:txBody>
          </p:sp>
        </p:grpSp>
        <p:grpSp>
          <p:nvGrpSpPr>
            <p:cNvPr id="244" name="iśľidê">
              <a:extLst>
                <a:ext uri="{FF2B5EF4-FFF2-40B4-BE49-F238E27FC236}">
                  <a16:creationId xmlns:a16="http://schemas.microsoft.com/office/drawing/2014/main" id="{2F2DC1DD-E7BC-4B06-A6B9-D95DFEE0D82E}"/>
                </a:ext>
              </a:extLst>
            </p:cNvPr>
            <p:cNvGrpSpPr/>
            <p:nvPr/>
          </p:nvGrpSpPr>
          <p:grpSpPr>
            <a:xfrm>
              <a:off x="1199456" y="3469319"/>
              <a:ext cx="2746610" cy="1274619"/>
              <a:chOff x="1260147" y="4673933"/>
              <a:chExt cx="2746610" cy="1274619"/>
            </a:xfrm>
          </p:grpSpPr>
          <p:sp>
            <p:nvSpPr>
              <p:cNvPr id="269" name="iṣḻidê">
                <a:extLst>
                  <a:ext uri="{FF2B5EF4-FFF2-40B4-BE49-F238E27FC236}">
                    <a16:creationId xmlns:a16="http://schemas.microsoft.com/office/drawing/2014/main" id="{A993619F-D246-4E4C-ABFB-D5E3AE964D95}"/>
                  </a:ext>
                </a:extLst>
              </p:cNvPr>
              <p:cNvSpPr txBox="1"/>
              <p:nvPr/>
            </p:nvSpPr>
            <p:spPr bwMode="auto">
              <a:xfrm>
                <a:off x="1898694" y="4673933"/>
                <a:ext cx="2108063" cy="127461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/>
              <a:p>
                <a:r>
                  <a:rPr lang="zh-CN" altLang="en-US" sz="3200" b="1" dirty="0"/>
                  <a:t>疾病筛查</a:t>
                </a:r>
              </a:p>
            </p:txBody>
          </p:sp>
          <p:sp>
            <p:nvSpPr>
              <p:cNvPr id="270" name="iSliḓé">
                <a:extLst>
                  <a:ext uri="{FF2B5EF4-FFF2-40B4-BE49-F238E27FC236}">
                    <a16:creationId xmlns:a16="http://schemas.microsoft.com/office/drawing/2014/main" id="{5EEA8759-0716-4CD0-AC2C-532EBED93D44}"/>
                  </a:ext>
                </a:extLst>
              </p:cNvPr>
              <p:cNvSpPr/>
              <p:nvPr/>
            </p:nvSpPr>
            <p:spPr bwMode="auto">
              <a:xfrm>
                <a:off x="1260147" y="5020299"/>
                <a:ext cx="461080" cy="460474"/>
              </a:xfrm>
              <a:custGeom>
                <a:avLst/>
                <a:gdLst>
                  <a:gd name="connsiteX0" fmla="*/ 86413 w 591547"/>
                  <a:gd name="connsiteY0" fmla="*/ 515758 h 590770"/>
                  <a:gd name="connsiteX1" fmla="*/ 171919 w 591547"/>
                  <a:gd name="connsiteY1" fmla="*/ 515758 h 590770"/>
                  <a:gd name="connsiteX2" fmla="*/ 171919 w 591547"/>
                  <a:gd name="connsiteY2" fmla="*/ 537523 h 590770"/>
                  <a:gd name="connsiteX3" fmla="*/ 86413 w 591547"/>
                  <a:gd name="connsiteY3" fmla="*/ 537523 h 590770"/>
                  <a:gd name="connsiteX4" fmla="*/ 86413 w 591547"/>
                  <a:gd name="connsiteY4" fmla="*/ 461733 h 590770"/>
                  <a:gd name="connsiteX5" fmla="*/ 171919 w 591547"/>
                  <a:gd name="connsiteY5" fmla="*/ 461733 h 590770"/>
                  <a:gd name="connsiteX6" fmla="*/ 171919 w 591547"/>
                  <a:gd name="connsiteY6" fmla="*/ 483498 h 590770"/>
                  <a:gd name="connsiteX7" fmla="*/ 86413 w 591547"/>
                  <a:gd name="connsiteY7" fmla="*/ 483498 h 590770"/>
                  <a:gd name="connsiteX8" fmla="*/ 86413 w 591547"/>
                  <a:gd name="connsiteY8" fmla="*/ 408616 h 590770"/>
                  <a:gd name="connsiteX9" fmla="*/ 171919 w 591547"/>
                  <a:gd name="connsiteY9" fmla="*/ 408616 h 590770"/>
                  <a:gd name="connsiteX10" fmla="*/ 171919 w 591547"/>
                  <a:gd name="connsiteY10" fmla="*/ 429474 h 590770"/>
                  <a:gd name="connsiteX11" fmla="*/ 86413 w 591547"/>
                  <a:gd name="connsiteY11" fmla="*/ 429474 h 590770"/>
                  <a:gd name="connsiteX12" fmla="*/ 204177 w 591547"/>
                  <a:gd name="connsiteY12" fmla="*/ 357041 h 590770"/>
                  <a:gd name="connsiteX13" fmla="*/ 204177 w 591547"/>
                  <a:gd name="connsiteY13" fmla="*/ 569815 h 590770"/>
                  <a:gd name="connsiteX14" fmla="*/ 333300 w 591547"/>
                  <a:gd name="connsiteY14" fmla="*/ 569815 h 590770"/>
                  <a:gd name="connsiteX15" fmla="*/ 333300 w 591547"/>
                  <a:gd name="connsiteY15" fmla="*/ 382026 h 590770"/>
                  <a:gd name="connsiteX16" fmla="*/ 183194 w 591547"/>
                  <a:gd name="connsiteY16" fmla="*/ 357041 h 590770"/>
                  <a:gd name="connsiteX17" fmla="*/ 75053 w 591547"/>
                  <a:gd name="connsiteY17" fmla="*/ 382026 h 590770"/>
                  <a:gd name="connsiteX18" fmla="*/ 75053 w 591547"/>
                  <a:gd name="connsiteY18" fmla="*/ 569815 h 590770"/>
                  <a:gd name="connsiteX19" fmla="*/ 183194 w 591547"/>
                  <a:gd name="connsiteY19" fmla="*/ 569815 h 590770"/>
                  <a:gd name="connsiteX20" fmla="*/ 247709 w 591547"/>
                  <a:gd name="connsiteY20" fmla="*/ 311838 h 590770"/>
                  <a:gd name="connsiteX21" fmla="*/ 322851 w 591547"/>
                  <a:gd name="connsiteY21" fmla="*/ 311838 h 590770"/>
                  <a:gd name="connsiteX22" fmla="*/ 322851 w 591547"/>
                  <a:gd name="connsiteY22" fmla="*/ 332826 h 590770"/>
                  <a:gd name="connsiteX23" fmla="*/ 247709 w 591547"/>
                  <a:gd name="connsiteY23" fmla="*/ 332826 h 590770"/>
                  <a:gd name="connsiteX24" fmla="*/ 247709 w 591547"/>
                  <a:gd name="connsiteY24" fmla="*/ 257944 h 590770"/>
                  <a:gd name="connsiteX25" fmla="*/ 322851 w 591547"/>
                  <a:gd name="connsiteY25" fmla="*/ 257944 h 590770"/>
                  <a:gd name="connsiteX26" fmla="*/ 322851 w 591547"/>
                  <a:gd name="connsiteY26" fmla="*/ 279580 h 590770"/>
                  <a:gd name="connsiteX27" fmla="*/ 247709 w 591547"/>
                  <a:gd name="connsiteY27" fmla="*/ 279580 h 590770"/>
                  <a:gd name="connsiteX28" fmla="*/ 247709 w 591547"/>
                  <a:gd name="connsiteY28" fmla="*/ 203919 h 590770"/>
                  <a:gd name="connsiteX29" fmla="*/ 322851 w 591547"/>
                  <a:gd name="connsiteY29" fmla="*/ 203919 h 590770"/>
                  <a:gd name="connsiteX30" fmla="*/ 322851 w 591547"/>
                  <a:gd name="connsiteY30" fmla="*/ 225684 h 590770"/>
                  <a:gd name="connsiteX31" fmla="*/ 247709 w 591547"/>
                  <a:gd name="connsiteY31" fmla="*/ 225684 h 590770"/>
                  <a:gd name="connsiteX32" fmla="*/ 247709 w 591547"/>
                  <a:gd name="connsiteY32" fmla="*/ 150672 h 590770"/>
                  <a:gd name="connsiteX33" fmla="*/ 322851 w 591547"/>
                  <a:gd name="connsiteY33" fmla="*/ 150672 h 590770"/>
                  <a:gd name="connsiteX34" fmla="*/ 322851 w 591547"/>
                  <a:gd name="connsiteY34" fmla="*/ 171660 h 590770"/>
                  <a:gd name="connsiteX35" fmla="*/ 247709 w 591547"/>
                  <a:gd name="connsiteY35" fmla="*/ 171660 h 590770"/>
                  <a:gd name="connsiteX36" fmla="*/ 355090 w 591547"/>
                  <a:gd name="connsiteY36" fmla="*/ 102357 h 590770"/>
                  <a:gd name="connsiteX37" fmla="*/ 355090 w 591547"/>
                  <a:gd name="connsiteY37" fmla="*/ 373160 h 590770"/>
                  <a:gd name="connsiteX38" fmla="*/ 355090 w 591547"/>
                  <a:gd name="connsiteY38" fmla="*/ 376384 h 590770"/>
                  <a:gd name="connsiteX39" fmla="*/ 355090 w 591547"/>
                  <a:gd name="connsiteY39" fmla="*/ 569815 h 590770"/>
                  <a:gd name="connsiteX40" fmla="*/ 484213 w 591547"/>
                  <a:gd name="connsiteY40" fmla="*/ 569815 h 590770"/>
                  <a:gd name="connsiteX41" fmla="*/ 484213 w 591547"/>
                  <a:gd name="connsiteY41" fmla="*/ 154744 h 590770"/>
                  <a:gd name="connsiteX42" fmla="*/ 333300 w 591547"/>
                  <a:gd name="connsiteY42" fmla="*/ 99939 h 590770"/>
                  <a:gd name="connsiteX43" fmla="*/ 236458 w 591547"/>
                  <a:gd name="connsiteY43" fmla="*/ 125730 h 590770"/>
                  <a:gd name="connsiteX44" fmla="*/ 236458 w 591547"/>
                  <a:gd name="connsiteY44" fmla="*/ 341728 h 590770"/>
                  <a:gd name="connsiteX45" fmla="*/ 333300 w 591547"/>
                  <a:gd name="connsiteY45" fmla="*/ 360265 h 590770"/>
                  <a:gd name="connsiteX46" fmla="*/ 397862 w 591547"/>
                  <a:gd name="connsiteY46" fmla="*/ 21761 h 590770"/>
                  <a:gd name="connsiteX47" fmla="*/ 387371 w 591547"/>
                  <a:gd name="connsiteY47" fmla="*/ 32238 h 590770"/>
                  <a:gd name="connsiteX48" fmla="*/ 397862 w 591547"/>
                  <a:gd name="connsiteY48" fmla="*/ 42716 h 590770"/>
                  <a:gd name="connsiteX49" fmla="*/ 409160 w 591547"/>
                  <a:gd name="connsiteY49" fmla="*/ 32238 h 590770"/>
                  <a:gd name="connsiteX50" fmla="*/ 397862 w 591547"/>
                  <a:gd name="connsiteY50" fmla="*/ 21761 h 590770"/>
                  <a:gd name="connsiteX51" fmla="*/ 397862 w 591547"/>
                  <a:gd name="connsiteY51" fmla="*/ 0 h 590770"/>
                  <a:gd name="connsiteX52" fmla="*/ 430143 w 591547"/>
                  <a:gd name="connsiteY52" fmla="*/ 32238 h 590770"/>
                  <a:gd name="connsiteX53" fmla="*/ 409160 w 591547"/>
                  <a:gd name="connsiteY53" fmla="*/ 62865 h 590770"/>
                  <a:gd name="connsiteX54" fmla="*/ 409160 w 591547"/>
                  <a:gd name="connsiteY54" fmla="*/ 100745 h 590770"/>
                  <a:gd name="connsiteX55" fmla="*/ 498740 w 591547"/>
                  <a:gd name="connsiteY55" fmla="*/ 137819 h 590770"/>
                  <a:gd name="connsiteX56" fmla="*/ 506003 w 591547"/>
                  <a:gd name="connsiteY56" fmla="*/ 147491 h 590770"/>
                  <a:gd name="connsiteX57" fmla="*/ 506003 w 591547"/>
                  <a:gd name="connsiteY57" fmla="*/ 569815 h 590770"/>
                  <a:gd name="connsiteX58" fmla="*/ 591547 w 591547"/>
                  <a:gd name="connsiteY58" fmla="*/ 569815 h 590770"/>
                  <a:gd name="connsiteX59" fmla="*/ 591547 w 591547"/>
                  <a:gd name="connsiteY59" fmla="*/ 590770 h 590770"/>
                  <a:gd name="connsiteX60" fmla="*/ 494705 w 591547"/>
                  <a:gd name="connsiteY60" fmla="*/ 590770 h 590770"/>
                  <a:gd name="connsiteX61" fmla="*/ 344598 w 591547"/>
                  <a:gd name="connsiteY61" fmla="*/ 590770 h 590770"/>
                  <a:gd name="connsiteX62" fmla="*/ 193685 w 591547"/>
                  <a:gd name="connsiteY62" fmla="*/ 590770 h 590770"/>
                  <a:gd name="connsiteX63" fmla="*/ 64562 w 591547"/>
                  <a:gd name="connsiteY63" fmla="*/ 590770 h 590770"/>
                  <a:gd name="connsiteX64" fmla="*/ 0 w 591547"/>
                  <a:gd name="connsiteY64" fmla="*/ 590770 h 590770"/>
                  <a:gd name="connsiteX65" fmla="*/ 0 w 591547"/>
                  <a:gd name="connsiteY65" fmla="*/ 569815 h 590770"/>
                  <a:gd name="connsiteX66" fmla="*/ 54070 w 591547"/>
                  <a:gd name="connsiteY66" fmla="*/ 569815 h 590770"/>
                  <a:gd name="connsiteX67" fmla="*/ 54070 w 591547"/>
                  <a:gd name="connsiteY67" fmla="*/ 373160 h 590770"/>
                  <a:gd name="connsiteX68" fmla="*/ 62141 w 591547"/>
                  <a:gd name="connsiteY68" fmla="*/ 362683 h 590770"/>
                  <a:gd name="connsiteX69" fmla="*/ 191264 w 591547"/>
                  <a:gd name="connsiteY69" fmla="*/ 333668 h 590770"/>
                  <a:gd name="connsiteX70" fmla="*/ 195299 w 591547"/>
                  <a:gd name="connsiteY70" fmla="*/ 333668 h 590770"/>
                  <a:gd name="connsiteX71" fmla="*/ 196106 w 591547"/>
                  <a:gd name="connsiteY71" fmla="*/ 333668 h 590770"/>
                  <a:gd name="connsiteX72" fmla="*/ 215475 w 591547"/>
                  <a:gd name="connsiteY72" fmla="*/ 336892 h 590770"/>
                  <a:gd name="connsiteX73" fmla="*/ 215475 w 591547"/>
                  <a:gd name="connsiteY73" fmla="*/ 116864 h 590770"/>
                  <a:gd name="connsiteX74" fmla="*/ 223545 w 591547"/>
                  <a:gd name="connsiteY74" fmla="*/ 106387 h 590770"/>
                  <a:gd name="connsiteX75" fmla="*/ 341370 w 591547"/>
                  <a:gd name="connsiteY75" fmla="*/ 75760 h 590770"/>
                  <a:gd name="connsiteX76" fmla="*/ 342984 w 591547"/>
                  <a:gd name="connsiteY76" fmla="*/ 75760 h 590770"/>
                  <a:gd name="connsiteX77" fmla="*/ 345405 w 591547"/>
                  <a:gd name="connsiteY77" fmla="*/ 75760 h 590770"/>
                  <a:gd name="connsiteX78" fmla="*/ 347020 w 591547"/>
                  <a:gd name="connsiteY78" fmla="*/ 75760 h 590770"/>
                  <a:gd name="connsiteX79" fmla="*/ 348634 w 591547"/>
                  <a:gd name="connsiteY79" fmla="*/ 75760 h 590770"/>
                  <a:gd name="connsiteX80" fmla="*/ 387371 w 591547"/>
                  <a:gd name="connsiteY80" fmla="*/ 91879 h 590770"/>
                  <a:gd name="connsiteX81" fmla="*/ 387371 w 591547"/>
                  <a:gd name="connsiteY81" fmla="*/ 62865 h 590770"/>
                  <a:gd name="connsiteX82" fmla="*/ 365581 w 591547"/>
                  <a:gd name="connsiteY82" fmla="*/ 32238 h 590770"/>
                  <a:gd name="connsiteX83" fmla="*/ 397862 w 591547"/>
                  <a:gd name="connsiteY83" fmla="*/ 0 h 5907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</a:cxnLst>
                <a:rect l="l" t="t" r="r" b="b"/>
                <a:pathLst>
                  <a:path w="591547" h="590770">
                    <a:moveTo>
                      <a:pt x="86413" y="515758"/>
                    </a:moveTo>
                    <a:lnTo>
                      <a:pt x="171919" y="515758"/>
                    </a:lnTo>
                    <a:lnTo>
                      <a:pt x="171919" y="537523"/>
                    </a:lnTo>
                    <a:lnTo>
                      <a:pt x="86413" y="537523"/>
                    </a:lnTo>
                    <a:close/>
                    <a:moveTo>
                      <a:pt x="86413" y="461733"/>
                    </a:moveTo>
                    <a:lnTo>
                      <a:pt x="171919" y="461733"/>
                    </a:lnTo>
                    <a:lnTo>
                      <a:pt x="171919" y="483498"/>
                    </a:lnTo>
                    <a:lnTo>
                      <a:pt x="86413" y="483498"/>
                    </a:lnTo>
                    <a:close/>
                    <a:moveTo>
                      <a:pt x="86413" y="408616"/>
                    </a:moveTo>
                    <a:lnTo>
                      <a:pt x="171919" y="408616"/>
                    </a:lnTo>
                    <a:lnTo>
                      <a:pt x="171919" y="429474"/>
                    </a:lnTo>
                    <a:lnTo>
                      <a:pt x="86413" y="429474"/>
                    </a:lnTo>
                    <a:close/>
                    <a:moveTo>
                      <a:pt x="204177" y="357041"/>
                    </a:moveTo>
                    <a:lnTo>
                      <a:pt x="204177" y="569815"/>
                    </a:lnTo>
                    <a:lnTo>
                      <a:pt x="333300" y="569815"/>
                    </a:lnTo>
                    <a:lnTo>
                      <a:pt x="333300" y="382026"/>
                    </a:lnTo>
                    <a:close/>
                    <a:moveTo>
                      <a:pt x="183194" y="357041"/>
                    </a:moveTo>
                    <a:lnTo>
                      <a:pt x="75053" y="382026"/>
                    </a:lnTo>
                    <a:lnTo>
                      <a:pt x="75053" y="569815"/>
                    </a:lnTo>
                    <a:lnTo>
                      <a:pt x="183194" y="569815"/>
                    </a:lnTo>
                    <a:close/>
                    <a:moveTo>
                      <a:pt x="247709" y="311838"/>
                    </a:moveTo>
                    <a:lnTo>
                      <a:pt x="322851" y="311838"/>
                    </a:lnTo>
                    <a:lnTo>
                      <a:pt x="322851" y="332826"/>
                    </a:lnTo>
                    <a:lnTo>
                      <a:pt x="247709" y="332826"/>
                    </a:lnTo>
                    <a:close/>
                    <a:moveTo>
                      <a:pt x="247709" y="257944"/>
                    </a:moveTo>
                    <a:lnTo>
                      <a:pt x="322851" y="257944"/>
                    </a:lnTo>
                    <a:lnTo>
                      <a:pt x="322851" y="279580"/>
                    </a:lnTo>
                    <a:lnTo>
                      <a:pt x="247709" y="279580"/>
                    </a:lnTo>
                    <a:close/>
                    <a:moveTo>
                      <a:pt x="247709" y="203919"/>
                    </a:moveTo>
                    <a:lnTo>
                      <a:pt x="322851" y="203919"/>
                    </a:lnTo>
                    <a:lnTo>
                      <a:pt x="322851" y="225684"/>
                    </a:lnTo>
                    <a:lnTo>
                      <a:pt x="247709" y="225684"/>
                    </a:lnTo>
                    <a:close/>
                    <a:moveTo>
                      <a:pt x="247709" y="150672"/>
                    </a:moveTo>
                    <a:lnTo>
                      <a:pt x="322851" y="150672"/>
                    </a:lnTo>
                    <a:lnTo>
                      <a:pt x="322851" y="171660"/>
                    </a:lnTo>
                    <a:lnTo>
                      <a:pt x="247709" y="171660"/>
                    </a:lnTo>
                    <a:close/>
                    <a:moveTo>
                      <a:pt x="355090" y="102357"/>
                    </a:moveTo>
                    <a:lnTo>
                      <a:pt x="355090" y="373160"/>
                    </a:lnTo>
                    <a:lnTo>
                      <a:pt x="355090" y="376384"/>
                    </a:lnTo>
                    <a:lnTo>
                      <a:pt x="355090" y="569815"/>
                    </a:lnTo>
                    <a:lnTo>
                      <a:pt x="484213" y="569815"/>
                    </a:lnTo>
                    <a:lnTo>
                      <a:pt x="484213" y="154744"/>
                    </a:lnTo>
                    <a:close/>
                    <a:moveTo>
                      <a:pt x="333300" y="99939"/>
                    </a:moveTo>
                    <a:lnTo>
                      <a:pt x="236458" y="125730"/>
                    </a:lnTo>
                    <a:lnTo>
                      <a:pt x="236458" y="341728"/>
                    </a:lnTo>
                    <a:lnTo>
                      <a:pt x="333300" y="360265"/>
                    </a:lnTo>
                    <a:close/>
                    <a:moveTo>
                      <a:pt x="397862" y="21761"/>
                    </a:moveTo>
                    <a:cubicBezTo>
                      <a:pt x="392213" y="21761"/>
                      <a:pt x="387371" y="26596"/>
                      <a:pt x="387371" y="32238"/>
                    </a:cubicBezTo>
                    <a:cubicBezTo>
                      <a:pt x="387371" y="37880"/>
                      <a:pt x="392213" y="42716"/>
                      <a:pt x="397862" y="42716"/>
                    </a:cubicBezTo>
                    <a:cubicBezTo>
                      <a:pt x="404318" y="42716"/>
                      <a:pt x="409160" y="37880"/>
                      <a:pt x="409160" y="32238"/>
                    </a:cubicBezTo>
                    <a:cubicBezTo>
                      <a:pt x="409160" y="26596"/>
                      <a:pt x="404318" y="21761"/>
                      <a:pt x="397862" y="21761"/>
                    </a:cubicBezTo>
                    <a:close/>
                    <a:moveTo>
                      <a:pt x="397862" y="0"/>
                    </a:moveTo>
                    <a:cubicBezTo>
                      <a:pt x="415616" y="0"/>
                      <a:pt x="430143" y="14507"/>
                      <a:pt x="430143" y="32238"/>
                    </a:cubicBezTo>
                    <a:cubicBezTo>
                      <a:pt x="430143" y="45940"/>
                      <a:pt x="421266" y="58029"/>
                      <a:pt x="409160" y="62865"/>
                    </a:cubicBezTo>
                    <a:lnTo>
                      <a:pt x="409160" y="100745"/>
                    </a:lnTo>
                    <a:lnTo>
                      <a:pt x="498740" y="137819"/>
                    </a:lnTo>
                    <a:cubicBezTo>
                      <a:pt x="502775" y="139431"/>
                      <a:pt x="506003" y="143461"/>
                      <a:pt x="506003" y="147491"/>
                    </a:cubicBezTo>
                    <a:lnTo>
                      <a:pt x="506003" y="569815"/>
                    </a:lnTo>
                    <a:lnTo>
                      <a:pt x="591547" y="569815"/>
                    </a:lnTo>
                    <a:lnTo>
                      <a:pt x="591547" y="590770"/>
                    </a:lnTo>
                    <a:lnTo>
                      <a:pt x="494705" y="590770"/>
                    </a:lnTo>
                    <a:lnTo>
                      <a:pt x="344598" y="590770"/>
                    </a:lnTo>
                    <a:lnTo>
                      <a:pt x="193685" y="590770"/>
                    </a:lnTo>
                    <a:lnTo>
                      <a:pt x="64562" y="590770"/>
                    </a:lnTo>
                    <a:lnTo>
                      <a:pt x="0" y="590770"/>
                    </a:lnTo>
                    <a:lnTo>
                      <a:pt x="0" y="569815"/>
                    </a:lnTo>
                    <a:lnTo>
                      <a:pt x="54070" y="569815"/>
                    </a:lnTo>
                    <a:lnTo>
                      <a:pt x="54070" y="373160"/>
                    </a:lnTo>
                    <a:cubicBezTo>
                      <a:pt x="54070" y="368324"/>
                      <a:pt x="57298" y="364294"/>
                      <a:pt x="62141" y="362683"/>
                    </a:cubicBezTo>
                    <a:lnTo>
                      <a:pt x="191264" y="333668"/>
                    </a:lnTo>
                    <a:cubicBezTo>
                      <a:pt x="192878" y="332862"/>
                      <a:pt x="194492" y="332862"/>
                      <a:pt x="195299" y="333668"/>
                    </a:cubicBezTo>
                    <a:cubicBezTo>
                      <a:pt x="196106" y="333668"/>
                      <a:pt x="196106" y="333668"/>
                      <a:pt x="196106" y="333668"/>
                    </a:cubicBezTo>
                    <a:lnTo>
                      <a:pt x="215475" y="336892"/>
                    </a:lnTo>
                    <a:lnTo>
                      <a:pt x="215475" y="116864"/>
                    </a:lnTo>
                    <a:cubicBezTo>
                      <a:pt x="215475" y="112028"/>
                      <a:pt x="218703" y="107999"/>
                      <a:pt x="223545" y="106387"/>
                    </a:cubicBezTo>
                    <a:lnTo>
                      <a:pt x="341370" y="75760"/>
                    </a:lnTo>
                    <a:cubicBezTo>
                      <a:pt x="342177" y="75760"/>
                      <a:pt x="342177" y="75760"/>
                      <a:pt x="342984" y="75760"/>
                    </a:cubicBezTo>
                    <a:cubicBezTo>
                      <a:pt x="343791" y="75760"/>
                      <a:pt x="344598" y="74954"/>
                      <a:pt x="345405" y="75760"/>
                    </a:cubicBezTo>
                    <a:cubicBezTo>
                      <a:pt x="346213" y="75760"/>
                      <a:pt x="347020" y="75760"/>
                      <a:pt x="347020" y="75760"/>
                    </a:cubicBezTo>
                    <a:cubicBezTo>
                      <a:pt x="347827" y="75760"/>
                      <a:pt x="347827" y="75760"/>
                      <a:pt x="348634" y="75760"/>
                    </a:cubicBezTo>
                    <a:lnTo>
                      <a:pt x="387371" y="91879"/>
                    </a:lnTo>
                    <a:lnTo>
                      <a:pt x="387371" y="62865"/>
                    </a:lnTo>
                    <a:cubicBezTo>
                      <a:pt x="375265" y="58029"/>
                      <a:pt x="365581" y="45940"/>
                      <a:pt x="365581" y="32238"/>
                    </a:cubicBezTo>
                    <a:cubicBezTo>
                      <a:pt x="365581" y="14507"/>
                      <a:pt x="380107" y="0"/>
                      <a:pt x="397862" y="0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/>
              </a:p>
            </p:txBody>
          </p:sp>
        </p:grpSp>
        <p:grpSp>
          <p:nvGrpSpPr>
            <p:cNvPr id="245" name="išļîďe">
              <a:extLst>
                <a:ext uri="{FF2B5EF4-FFF2-40B4-BE49-F238E27FC236}">
                  <a16:creationId xmlns:a16="http://schemas.microsoft.com/office/drawing/2014/main" id="{C528F75E-4CFE-4294-8D4A-04A4C66E4FD9}"/>
                </a:ext>
              </a:extLst>
            </p:cNvPr>
            <p:cNvGrpSpPr/>
            <p:nvPr/>
          </p:nvGrpSpPr>
          <p:grpSpPr>
            <a:xfrm>
              <a:off x="1199456" y="4629547"/>
              <a:ext cx="2746610" cy="1274619"/>
              <a:chOff x="1260147" y="4618514"/>
              <a:chExt cx="2746610" cy="1274619"/>
            </a:xfrm>
          </p:grpSpPr>
          <p:sp>
            <p:nvSpPr>
              <p:cNvPr id="266" name="îṣḷîḍé">
                <a:extLst>
                  <a:ext uri="{FF2B5EF4-FFF2-40B4-BE49-F238E27FC236}">
                    <a16:creationId xmlns:a16="http://schemas.microsoft.com/office/drawing/2014/main" id="{36ACCB3F-3568-40BA-AF03-2A921E0C200A}"/>
                  </a:ext>
                </a:extLst>
              </p:cNvPr>
              <p:cNvSpPr txBox="1"/>
              <p:nvPr/>
            </p:nvSpPr>
            <p:spPr bwMode="auto">
              <a:xfrm>
                <a:off x="1898694" y="4618514"/>
                <a:ext cx="2108063" cy="127461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/>
              <a:p>
                <a:r>
                  <a:rPr lang="zh-CN" altLang="en-US" sz="3200" b="1" dirty="0"/>
                  <a:t>造口指导</a:t>
                </a:r>
              </a:p>
            </p:txBody>
          </p:sp>
          <p:sp>
            <p:nvSpPr>
              <p:cNvPr id="267" name="išlïḓe">
                <a:extLst>
                  <a:ext uri="{FF2B5EF4-FFF2-40B4-BE49-F238E27FC236}">
                    <a16:creationId xmlns:a16="http://schemas.microsoft.com/office/drawing/2014/main" id="{2D28ACCC-F31E-4B93-B37F-5C0C11A194F6}"/>
                  </a:ext>
                </a:extLst>
              </p:cNvPr>
              <p:cNvSpPr/>
              <p:nvPr/>
            </p:nvSpPr>
            <p:spPr bwMode="auto">
              <a:xfrm>
                <a:off x="1260147" y="5020453"/>
                <a:ext cx="461080" cy="460165"/>
              </a:xfrm>
              <a:custGeom>
                <a:avLst/>
                <a:gdLst>
                  <a:gd name="T0" fmla="*/ 2741 w 5482"/>
                  <a:gd name="T1" fmla="*/ 1568 h 5479"/>
                  <a:gd name="T2" fmla="*/ 267 w 5482"/>
                  <a:gd name="T3" fmla="*/ 1568 h 5479"/>
                  <a:gd name="T4" fmla="*/ 267 w 5482"/>
                  <a:gd name="T5" fmla="*/ 2087 h 5479"/>
                  <a:gd name="T6" fmla="*/ 133 w 5482"/>
                  <a:gd name="T7" fmla="*/ 2220 h 5479"/>
                  <a:gd name="T8" fmla="*/ 0 w 5482"/>
                  <a:gd name="T9" fmla="*/ 2087 h 5479"/>
                  <a:gd name="T10" fmla="*/ 0 w 5482"/>
                  <a:gd name="T11" fmla="*/ 1435 h 5479"/>
                  <a:gd name="T12" fmla="*/ 133 w 5482"/>
                  <a:gd name="T13" fmla="*/ 1302 h 5479"/>
                  <a:gd name="T14" fmla="*/ 2686 w 5482"/>
                  <a:gd name="T15" fmla="*/ 1302 h 5479"/>
                  <a:gd name="T16" fmla="*/ 3203 w 5482"/>
                  <a:gd name="T17" fmla="*/ 784 h 5479"/>
                  <a:gd name="T18" fmla="*/ 2741 w 5482"/>
                  <a:gd name="T19" fmla="*/ 322 h 5479"/>
                  <a:gd name="T20" fmla="*/ 2279 w 5482"/>
                  <a:gd name="T21" fmla="*/ 784 h 5479"/>
                  <a:gd name="T22" fmla="*/ 2309 w 5482"/>
                  <a:gd name="T23" fmla="*/ 814 h 5479"/>
                  <a:gd name="T24" fmla="*/ 2309 w 5482"/>
                  <a:gd name="T25" fmla="*/ 1003 h 5479"/>
                  <a:gd name="T26" fmla="*/ 2120 w 5482"/>
                  <a:gd name="T27" fmla="*/ 1003 h 5479"/>
                  <a:gd name="T28" fmla="*/ 1996 w 5482"/>
                  <a:gd name="T29" fmla="*/ 879 h 5479"/>
                  <a:gd name="T30" fmla="*/ 1996 w 5482"/>
                  <a:gd name="T31" fmla="*/ 690 h 5479"/>
                  <a:gd name="T32" fmla="*/ 2647 w 5482"/>
                  <a:gd name="T33" fmla="*/ 39 h 5479"/>
                  <a:gd name="T34" fmla="*/ 2741 w 5482"/>
                  <a:gd name="T35" fmla="*/ 0 h 5479"/>
                  <a:gd name="T36" fmla="*/ 2741 w 5482"/>
                  <a:gd name="T37" fmla="*/ 0 h 5479"/>
                  <a:gd name="T38" fmla="*/ 2835 w 5482"/>
                  <a:gd name="T39" fmla="*/ 39 h 5479"/>
                  <a:gd name="T40" fmla="*/ 3486 w 5482"/>
                  <a:gd name="T41" fmla="*/ 690 h 5479"/>
                  <a:gd name="T42" fmla="*/ 3486 w 5482"/>
                  <a:gd name="T43" fmla="*/ 879 h 5479"/>
                  <a:gd name="T44" fmla="*/ 2835 w 5482"/>
                  <a:gd name="T45" fmla="*/ 1529 h 5479"/>
                  <a:gd name="T46" fmla="*/ 2741 w 5482"/>
                  <a:gd name="T47" fmla="*/ 1568 h 5479"/>
                  <a:gd name="T48" fmla="*/ 5348 w 5482"/>
                  <a:gd name="T49" fmla="*/ 1302 h 5479"/>
                  <a:gd name="T50" fmla="*/ 3529 w 5482"/>
                  <a:gd name="T51" fmla="*/ 1302 h 5479"/>
                  <a:gd name="T52" fmla="*/ 3395 w 5482"/>
                  <a:gd name="T53" fmla="*/ 1435 h 5479"/>
                  <a:gd name="T54" fmla="*/ 3529 w 5482"/>
                  <a:gd name="T55" fmla="*/ 1568 h 5479"/>
                  <a:gd name="T56" fmla="*/ 5215 w 5482"/>
                  <a:gd name="T57" fmla="*/ 1568 h 5479"/>
                  <a:gd name="T58" fmla="*/ 5215 w 5482"/>
                  <a:gd name="T59" fmla="*/ 2087 h 5479"/>
                  <a:gd name="T60" fmla="*/ 5348 w 5482"/>
                  <a:gd name="T61" fmla="*/ 2220 h 5479"/>
                  <a:gd name="T62" fmla="*/ 5482 w 5482"/>
                  <a:gd name="T63" fmla="*/ 2087 h 5479"/>
                  <a:gd name="T64" fmla="*/ 5482 w 5482"/>
                  <a:gd name="T65" fmla="*/ 1435 h 5479"/>
                  <a:gd name="T66" fmla="*/ 5348 w 5482"/>
                  <a:gd name="T67" fmla="*/ 1302 h 5479"/>
                  <a:gd name="T68" fmla="*/ 3997 w 5482"/>
                  <a:gd name="T69" fmla="*/ 5213 h 5479"/>
                  <a:gd name="T70" fmla="*/ 3479 w 5482"/>
                  <a:gd name="T71" fmla="*/ 5213 h 5479"/>
                  <a:gd name="T72" fmla="*/ 3479 w 5482"/>
                  <a:gd name="T73" fmla="*/ 2097 h 5479"/>
                  <a:gd name="T74" fmla="*/ 3345 w 5482"/>
                  <a:gd name="T75" fmla="*/ 1963 h 5479"/>
                  <a:gd name="T76" fmla="*/ 3212 w 5482"/>
                  <a:gd name="T77" fmla="*/ 2097 h 5479"/>
                  <a:gd name="T78" fmla="*/ 3212 w 5482"/>
                  <a:gd name="T79" fmla="*/ 3909 h 5479"/>
                  <a:gd name="T80" fmla="*/ 2270 w 5482"/>
                  <a:gd name="T81" fmla="*/ 3909 h 5479"/>
                  <a:gd name="T82" fmla="*/ 2270 w 5482"/>
                  <a:gd name="T83" fmla="*/ 2097 h 5479"/>
                  <a:gd name="T84" fmla="*/ 2136 w 5482"/>
                  <a:gd name="T85" fmla="*/ 1963 h 5479"/>
                  <a:gd name="T86" fmla="*/ 2003 w 5482"/>
                  <a:gd name="T87" fmla="*/ 2097 h 5479"/>
                  <a:gd name="T88" fmla="*/ 2003 w 5482"/>
                  <a:gd name="T89" fmla="*/ 5213 h 5479"/>
                  <a:gd name="T90" fmla="*/ 1484 w 5482"/>
                  <a:gd name="T91" fmla="*/ 5213 h 5479"/>
                  <a:gd name="T92" fmla="*/ 1351 w 5482"/>
                  <a:gd name="T93" fmla="*/ 5346 h 5479"/>
                  <a:gd name="T94" fmla="*/ 1484 w 5482"/>
                  <a:gd name="T95" fmla="*/ 5479 h 5479"/>
                  <a:gd name="T96" fmla="*/ 2136 w 5482"/>
                  <a:gd name="T97" fmla="*/ 5479 h 5479"/>
                  <a:gd name="T98" fmla="*/ 2270 w 5482"/>
                  <a:gd name="T99" fmla="*/ 5346 h 5479"/>
                  <a:gd name="T100" fmla="*/ 2270 w 5482"/>
                  <a:gd name="T101" fmla="*/ 4176 h 5479"/>
                  <a:gd name="T102" fmla="*/ 3212 w 5482"/>
                  <a:gd name="T103" fmla="*/ 4176 h 5479"/>
                  <a:gd name="T104" fmla="*/ 3212 w 5482"/>
                  <a:gd name="T105" fmla="*/ 5346 h 5479"/>
                  <a:gd name="T106" fmla="*/ 3345 w 5482"/>
                  <a:gd name="T107" fmla="*/ 5479 h 5479"/>
                  <a:gd name="T108" fmla="*/ 3997 w 5482"/>
                  <a:gd name="T109" fmla="*/ 5479 h 5479"/>
                  <a:gd name="T110" fmla="*/ 4131 w 5482"/>
                  <a:gd name="T111" fmla="*/ 5346 h 5479"/>
                  <a:gd name="T112" fmla="*/ 3997 w 5482"/>
                  <a:gd name="T113" fmla="*/ 5213 h 54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5482" h="5479">
                    <a:moveTo>
                      <a:pt x="2741" y="1568"/>
                    </a:moveTo>
                    <a:lnTo>
                      <a:pt x="267" y="1568"/>
                    </a:lnTo>
                    <a:lnTo>
                      <a:pt x="267" y="2087"/>
                    </a:lnTo>
                    <a:cubicBezTo>
                      <a:pt x="267" y="2160"/>
                      <a:pt x="207" y="2220"/>
                      <a:pt x="133" y="2220"/>
                    </a:cubicBezTo>
                    <a:cubicBezTo>
                      <a:pt x="60" y="2220"/>
                      <a:pt x="0" y="2160"/>
                      <a:pt x="0" y="2087"/>
                    </a:cubicBezTo>
                    <a:lnTo>
                      <a:pt x="0" y="1435"/>
                    </a:lnTo>
                    <a:cubicBezTo>
                      <a:pt x="0" y="1361"/>
                      <a:pt x="60" y="1302"/>
                      <a:pt x="133" y="1302"/>
                    </a:cubicBezTo>
                    <a:lnTo>
                      <a:pt x="2686" y="1302"/>
                    </a:lnTo>
                    <a:lnTo>
                      <a:pt x="3203" y="784"/>
                    </a:lnTo>
                    <a:lnTo>
                      <a:pt x="2741" y="322"/>
                    </a:lnTo>
                    <a:lnTo>
                      <a:pt x="2279" y="784"/>
                    </a:lnTo>
                    <a:lnTo>
                      <a:pt x="2309" y="814"/>
                    </a:lnTo>
                    <a:cubicBezTo>
                      <a:pt x="2361" y="866"/>
                      <a:pt x="2361" y="951"/>
                      <a:pt x="2309" y="1003"/>
                    </a:cubicBezTo>
                    <a:cubicBezTo>
                      <a:pt x="2257" y="1055"/>
                      <a:pt x="2173" y="1055"/>
                      <a:pt x="2120" y="1003"/>
                    </a:cubicBezTo>
                    <a:lnTo>
                      <a:pt x="1996" y="879"/>
                    </a:lnTo>
                    <a:cubicBezTo>
                      <a:pt x="1944" y="826"/>
                      <a:pt x="1944" y="742"/>
                      <a:pt x="1996" y="690"/>
                    </a:cubicBezTo>
                    <a:lnTo>
                      <a:pt x="2647" y="39"/>
                    </a:lnTo>
                    <a:cubicBezTo>
                      <a:pt x="2672" y="14"/>
                      <a:pt x="2706" y="0"/>
                      <a:pt x="2741" y="0"/>
                    </a:cubicBezTo>
                    <a:lnTo>
                      <a:pt x="2741" y="0"/>
                    </a:lnTo>
                    <a:cubicBezTo>
                      <a:pt x="2776" y="0"/>
                      <a:pt x="2810" y="14"/>
                      <a:pt x="2835" y="39"/>
                    </a:cubicBezTo>
                    <a:lnTo>
                      <a:pt x="3486" y="690"/>
                    </a:lnTo>
                    <a:cubicBezTo>
                      <a:pt x="3538" y="742"/>
                      <a:pt x="3538" y="826"/>
                      <a:pt x="3486" y="879"/>
                    </a:cubicBezTo>
                    <a:lnTo>
                      <a:pt x="2835" y="1529"/>
                    </a:lnTo>
                    <a:cubicBezTo>
                      <a:pt x="2810" y="1554"/>
                      <a:pt x="2776" y="1568"/>
                      <a:pt x="2741" y="1568"/>
                    </a:cubicBezTo>
                    <a:close/>
                    <a:moveTo>
                      <a:pt x="5348" y="1302"/>
                    </a:moveTo>
                    <a:lnTo>
                      <a:pt x="3529" y="1302"/>
                    </a:lnTo>
                    <a:cubicBezTo>
                      <a:pt x="3455" y="1302"/>
                      <a:pt x="3395" y="1361"/>
                      <a:pt x="3395" y="1435"/>
                    </a:cubicBezTo>
                    <a:cubicBezTo>
                      <a:pt x="3395" y="1508"/>
                      <a:pt x="3455" y="1568"/>
                      <a:pt x="3529" y="1568"/>
                    </a:cubicBezTo>
                    <a:lnTo>
                      <a:pt x="5215" y="1568"/>
                    </a:lnTo>
                    <a:lnTo>
                      <a:pt x="5215" y="2087"/>
                    </a:lnTo>
                    <a:cubicBezTo>
                      <a:pt x="5215" y="2160"/>
                      <a:pt x="5275" y="2220"/>
                      <a:pt x="5348" y="2220"/>
                    </a:cubicBezTo>
                    <a:cubicBezTo>
                      <a:pt x="5422" y="2220"/>
                      <a:pt x="5482" y="2160"/>
                      <a:pt x="5482" y="2087"/>
                    </a:cubicBezTo>
                    <a:lnTo>
                      <a:pt x="5482" y="1435"/>
                    </a:lnTo>
                    <a:cubicBezTo>
                      <a:pt x="5482" y="1361"/>
                      <a:pt x="5422" y="1302"/>
                      <a:pt x="5348" y="1302"/>
                    </a:cubicBezTo>
                    <a:close/>
                    <a:moveTo>
                      <a:pt x="3997" y="5213"/>
                    </a:moveTo>
                    <a:lnTo>
                      <a:pt x="3479" y="5213"/>
                    </a:lnTo>
                    <a:lnTo>
                      <a:pt x="3479" y="2097"/>
                    </a:lnTo>
                    <a:cubicBezTo>
                      <a:pt x="3479" y="2023"/>
                      <a:pt x="3419" y="1963"/>
                      <a:pt x="3345" y="1963"/>
                    </a:cubicBezTo>
                    <a:cubicBezTo>
                      <a:pt x="3272" y="1963"/>
                      <a:pt x="3212" y="2023"/>
                      <a:pt x="3212" y="2097"/>
                    </a:cubicBezTo>
                    <a:lnTo>
                      <a:pt x="3212" y="3909"/>
                    </a:lnTo>
                    <a:lnTo>
                      <a:pt x="2270" y="3909"/>
                    </a:lnTo>
                    <a:lnTo>
                      <a:pt x="2270" y="2097"/>
                    </a:lnTo>
                    <a:cubicBezTo>
                      <a:pt x="2270" y="2023"/>
                      <a:pt x="2210" y="1963"/>
                      <a:pt x="2136" y="1963"/>
                    </a:cubicBezTo>
                    <a:cubicBezTo>
                      <a:pt x="2063" y="1963"/>
                      <a:pt x="2003" y="2023"/>
                      <a:pt x="2003" y="2097"/>
                    </a:cubicBezTo>
                    <a:lnTo>
                      <a:pt x="2003" y="5213"/>
                    </a:lnTo>
                    <a:lnTo>
                      <a:pt x="1484" y="5213"/>
                    </a:lnTo>
                    <a:cubicBezTo>
                      <a:pt x="1411" y="5213"/>
                      <a:pt x="1351" y="5273"/>
                      <a:pt x="1351" y="5346"/>
                    </a:cubicBezTo>
                    <a:cubicBezTo>
                      <a:pt x="1351" y="5420"/>
                      <a:pt x="1411" y="5479"/>
                      <a:pt x="1484" y="5479"/>
                    </a:cubicBezTo>
                    <a:lnTo>
                      <a:pt x="2136" y="5479"/>
                    </a:lnTo>
                    <a:cubicBezTo>
                      <a:pt x="2210" y="5479"/>
                      <a:pt x="2270" y="5420"/>
                      <a:pt x="2270" y="5346"/>
                    </a:cubicBezTo>
                    <a:lnTo>
                      <a:pt x="2270" y="4176"/>
                    </a:lnTo>
                    <a:lnTo>
                      <a:pt x="3212" y="4176"/>
                    </a:lnTo>
                    <a:lnTo>
                      <a:pt x="3212" y="5346"/>
                    </a:lnTo>
                    <a:cubicBezTo>
                      <a:pt x="3212" y="5420"/>
                      <a:pt x="3272" y="5479"/>
                      <a:pt x="3345" y="5479"/>
                    </a:cubicBezTo>
                    <a:lnTo>
                      <a:pt x="3997" y="5479"/>
                    </a:lnTo>
                    <a:cubicBezTo>
                      <a:pt x="4071" y="5479"/>
                      <a:pt x="4131" y="5420"/>
                      <a:pt x="4131" y="5346"/>
                    </a:cubicBezTo>
                    <a:cubicBezTo>
                      <a:pt x="4131" y="5273"/>
                      <a:pt x="4071" y="5213"/>
                      <a:pt x="3997" y="5213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/>
              </a:p>
            </p:txBody>
          </p:sp>
        </p:grpSp>
        <p:cxnSp>
          <p:nvCxnSpPr>
            <p:cNvPr id="246" name="直接连接符 245">
              <a:extLst>
                <a:ext uri="{FF2B5EF4-FFF2-40B4-BE49-F238E27FC236}">
                  <a16:creationId xmlns:a16="http://schemas.microsoft.com/office/drawing/2014/main" id="{2808BAAF-3E31-4843-B5A6-2D953E50651D}"/>
                </a:ext>
              </a:extLst>
            </p:cNvPr>
            <p:cNvCxnSpPr/>
            <p:nvPr/>
          </p:nvCxnSpPr>
          <p:spPr>
            <a:xfrm>
              <a:off x="1199456" y="3604223"/>
              <a:ext cx="2746610" cy="0"/>
            </a:xfrm>
            <a:prstGeom prst="line">
              <a:avLst/>
            </a:prstGeom>
            <a:ln w="3175" cap="rnd">
              <a:solidFill>
                <a:schemeClr val="bg1">
                  <a:lumMod val="85000"/>
                </a:schemeClr>
              </a:solidFill>
              <a:round/>
              <a:headEnd type="none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7" name="直接连接符 246">
              <a:extLst>
                <a:ext uri="{FF2B5EF4-FFF2-40B4-BE49-F238E27FC236}">
                  <a16:creationId xmlns:a16="http://schemas.microsoft.com/office/drawing/2014/main" id="{A8CB67C6-0FCF-470B-ACF2-6AF535BF613B}"/>
                </a:ext>
              </a:extLst>
            </p:cNvPr>
            <p:cNvCxnSpPr/>
            <p:nvPr/>
          </p:nvCxnSpPr>
          <p:spPr>
            <a:xfrm>
              <a:off x="1199456" y="4819872"/>
              <a:ext cx="2746610" cy="0"/>
            </a:xfrm>
            <a:prstGeom prst="line">
              <a:avLst/>
            </a:prstGeom>
            <a:ln w="3175" cap="rnd">
              <a:solidFill>
                <a:schemeClr val="bg1">
                  <a:lumMod val="85000"/>
                </a:schemeClr>
              </a:solidFill>
              <a:round/>
              <a:headEnd type="none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48" name="ïśļîḓè">
              <a:extLst>
                <a:ext uri="{FF2B5EF4-FFF2-40B4-BE49-F238E27FC236}">
                  <a16:creationId xmlns:a16="http://schemas.microsoft.com/office/drawing/2014/main" id="{BED4116B-D478-40F2-9C69-2535D143140F}"/>
                </a:ext>
              </a:extLst>
            </p:cNvPr>
            <p:cNvGrpSpPr/>
            <p:nvPr/>
          </p:nvGrpSpPr>
          <p:grpSpPr>
            <a:xfrm>
              <a:off x="8245851" y="2179778"/>
              <a:ext cx="2746610" cy="1274619"/>
              <a:chOff x="1260147" y="4600041"/>
              <a:chExt cx="2746610" cy="1274619"/>
            </a:xfrm>
          </p:grpSpPr>
          <p:sp>
            <p:nvSpPr>
              <p:cNvPr id="263" name="iṩḻíḓe">
                <a:extLst>
                  <a:ext uri="{FF2B5EF4-FFF2-40B4-BE49-F238E27FC236}">
                    <a16:creationId xmlns:a16="http://schemas.microsoft.com/office/drawing/2014/main" id="{C216AF99-CAAE-4241-8737-2A57179C0A02}"/>
                  </a:ext>
                </a:extLst>
              </p:cNvPr>
              <p:cNvSpPr txBox="1"/>
              <p:nvPr/>
            </p:nvSpPr>
            <p:spPr bwMode="auto">
              <a:xfrm>
                <a:off x="1898694" y="4600041"/>
                <a:ext cx="2108063" cy="127461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90000" tIns="46800" rIns="90000" bIns="46800" anchor="ctr">
                <a:normAutofit/>
              </a:bodyPr>
              <a:lstStyle/>
              <a:p>
                <a:pPr eaLnBrk="1" hangingPunct="1">
                  <a:spcBef>
                    <a:spcPct val="0"/>
                  </a:spcBef>
                  <a:buFontTx/>
                  <a:buNone/>
                </a:pPr>
                <a:r>
                  <a:rPr lang="zh-CN" altLang="en-US" sz="3200" b="1" dirty="0"/>
                  <a:t>饮食指导</a:t>
                </a:r>
              </a:p>
            </p:txBody>
          </p:sp>
          <p:sp>
            <p:nvSpPr>
              <p:cNvPr id="264" name="íṧlidé">
                <a:extLst>
                  <a:ext uri="{FF2B5EF4-FFF2-40B4-BE49-F238E27FC236}">
                    <a16:creationId xmlns:a16="http://schemas.microsoft.com/office/drawing/2014/main" id="{24A7E93B-3156-4BB7-B6DE-68CEC335E37B}"/>
                  </a:ext>
                </a:extLst>
              </p:cNvPr>
              <p:cNvSpPr/>
              <p:nvPr/>
            </p:nvSpPr>
            <p:spPr bwMode="auto">
              <a:xfrm>
                <a:off x="1260147" y="5020138"/>
                <a:ext cx="461080" cy="460795"/>
              </a:xfrm>
              <a:custGeom>
                <a:avLst/>
                <a:gdLst>
                  <a:gd name="connsiteX0" fmla="*/ 482620 w 607097"/>
                  <a:gd name="connsiteY0" fmla="*/ 381169 h 606722"/>
                  <a:gd name="connsiteX1" fmla="*/ 496768 w 607097"/>
                  <a:gd name="connsiteY1" fmla="*/ 381169 h 606722"/>
                  <a:gd name="connsiteX2" fmla="*/ 510916 w 607097"/>
                  <a:gd name="connsiteY2" fmla="*/ 395381 h 606722"/>
                  <a:gd name="connsiteX3" fmla="*/ 510916 w 607097"/>
                  <a:gd name="connsiteY3" fmla="*/ 409505 h 606722"/>
                  <a:gd name="connsiteX4" fmla="*/ 503887 w 607097"/>
                  <a:gd name="connsiteY4" fmla="*/ 412525 h 606722"/>
                  <a:gd name="connsiteX5" fmla="*/ 496768 w 607097"/>
                  <a:gd name="connsiteY5" fmla="*/ 409505 h 606722"/>
                  <a:gd name="connsiteX6" fmla="*/ 482620 w 607097"/>
                  <a:gd name="connsiteY6" fmla="*/ 395381 h 606722"/>
                  <a:gd name="connsiteX7" fmla="*/ 482620 w 607097"/>
                  <a:gd name="connsiteY7" fmla="*/ 381169 h 606722"/>
                  <a:gd name="connsiteX8" fmla="*/ 546398 w 607097"/>
                  <a:gd name="connsiteY8" fmla="*/ 242745 h 606722"/>
                  <a:gd name="connsiteX9" fmla="*/ 566606 w 607097"/>
                  <a:gd name="connsiteY9" fmla="*/ 242745 h 606722"/>
                  <a:gd name="connsiteX10" fmla="*/ 576754 w 607097"/>
                  <a:gd name="connsiteY10" fmla="*/ 252756 h 606722"/>
                  <a:gd name="connsiteX11" fmla="*/ 566606 w 607097"/>
                  <a:gd name="connsiteY11" fmla="*/ 262856 h 606722"/>
                  <a:gd name="connsiteX12" fmla="*/ 546398 w 607097"/>
                  <a:gd name="connsiteY12" fmla="*/ 262856 h 606722"/>
                  <a:gd name="connsiteX13" fmla="*/ 536249 w 607097"/>
                  <a:gd name="connsiteY13" fmla="*/ 252756 h 606722"/>
                  <a:gd name="connsiteX14" fmla="*/ 546398 w 607097"/>
                  <a:gd name="connsiteY14" fmla="*/ 242745 h 606722"/>
                  <a:gd name="connsiteX15" fmla="*/ 353968 w 607097"/>
                  <a:gd name="connsiteY15" fmla="*/ 101120 h 606722"/>
                  <a:gd name="connsiteX16" fmla="*/ 364118 w 607097"/>
                  <a:gd name="connsiteY16" fmla="*/ 111251 h 606722"/>
                  <a:gd name="connsiteX17" fmla="*/ 364118 w 607097"/>
                  <a:gd name="connsiteY17" fmla="*/ 242683 h 606722"/>
                  <a:gd name="connsiteX18" fmla="*/ 424838 w 607097"/>
                  <a:gd name="connsiteY18" fmla="*/ 242683 h 606722"/>
                  <a:gd name="connsiteX19" fmla="*/ 434988 w 607097"/>
                  <a:gd name="connsiteY19" fmla="*/ 252725 h 606722"/>
                  <a:gd name="connsiteX20" fmla="*/ 424838 w 607097"/>
                  <a:gd name="connsiteY20" fmla="*/ 262856 h 606722"/>
                  <a:gd name="connsiteX21" fmla="*/ 353968 w 607097"/>
                  <a:gd name="connsiteY21" fmla="*/ 262856 h 606722"/>
                  <a:gd name="connsiteX22" fmla="*/ 343818 w 607097"/>
                  <a:gd name="connsiteY22" fmla="*/ 252725 h 606722"/>
                  <a:gd name="connsiteX23" fmla="*/ 343818 w 607097"/>
                  <a:gd name="connsiteY23" fmla="*/ 111251 h 606722"/>
                  <a:gd name="connsiteX24" fmla="*/ 353968 w 607097"/>
                  <a:gd name="connsiteY24" fmla="*/ 101120 h 606722"/>
                  <a:gd name="connsiteX25" fmla="*/ 496768 w 607097"/>
                  <a:gd name="connsiteY25" fmla="*/ 96101 h 606722"/>
                  <a:gd name="connsiteX26" fmla="*/ 510916 w 607097"/>
                  <a:gd name="connsiteY26" fmla="*/ 96101 h 606722"/>
                  <a:gd name="connsiteX27" fmla="*/ 510916 w 607097"/>
                  <a:gd name="connsiteY27" fmla="*/ 110217 h 606722"/>
                  <a:gd name="connsiteX28" fmla="*/ 496768 w 607097"/>
                  <a:gd name="connsiteY28" fmla="*/ 124334 h 606722"/>
                  <a:gd name="connsiteX29" fmla="*/ 489650 w 607097"/>
                  <a:gd name="connsiteY29" fmla="*/ 127441 h 606722"/>
                  <a:gd name="connsiteX30" fmla="*/ 482620 w 607097"/>
                  <a:gd name="connsiteY30" fmla="*/ 124334 h 606722"/>
                  <a:gd name="connsiteX31" fmla="*/ 482620 w 607097"/>
                  <a:gd name="connsiteY31" fmla="*/ 110217 h 606722"/>
                  <a:gd name="connsiteX32" fmla="*/ 196955 w 607097"/>
                  <a:gd name="connsiteY32" fmla="*/ 96101 h 606722"/>
                  <a:gd name="connsiteX33" fmla="*/ 211110 w 607097"/>
                  <a:gd name="connsiteY33" fmla="*/ 96101 h 606722"/>
                  <a:gd name="connsiteX34" fmla="*/ 225355 w 607097"/>
                  <a:gd name="connsiteY34" fmla="*/ 110217 h 606722"/>
                  <a:gd name="connsiteX35" fmla="*/ 225355 w 607097"/>
                  <a:gd name="connsiteY35" fmla="*/ 124334 h 606722"/>
                  <a:gd name="connsiteX36" fmla="*/ 218233 w 607097"/>
                  <a:gd name="connsiteY36" fmla="*/ 127441 h 606722"/>
                  <a:gd name="connsiteX37" fmla="*/ 211110 w 607097"/>
                  <a:gd name="connsiteY37" fmla="*/ 124334 h 606722"/>
                  <a:gd name="connsiteX38" fmla="*/ 196955 w 607097"/>
                  <a:gd name="connsiteY38" fmla="*/ 110217 h 606722"/>
                  <a:gd name="connsiteX39" fmla="*/ 196955 w 607097"/>
                  <a:gd name="connsiteY39" fmla="*/ 96101 h 606722"/>
                  <a:gd name="connsiteX40" fmla="*/ 103963 w 607097"/>
                  <a:gd name="connsiteY40" fmla="*/ 81761 h 606722"/>
                  <a:gd name="connsiteX41" fmla="*/ 87598 w 607097"/>
                  <a:gd name="connsiteY41" fmla="*/ 90026 h 606722"/>
                  <a:gd name="connsiteX42" fmla="*/ 62322 w 607097"/>
                  <a:gd name="connsiteY42" fmla="*/ 115266 h 606722"/>
                  <a:gd name="connsiteX43" fmla="*/ 34998 w 607097"/>
                  <a:gd name="connsiteY43" fmla="*/ 265902 h 606722"/>
                  <a:gd name="connsiteX44" fmla="*/ 75494 w 607097"/>
                  <a:gd name="connsiteY44" fmla="*/ 322602 h 606722"/>
                  <a:gd name="connsiteX45" fmla="*/ 283044 w 607097"/>
                  <a:gd name="connsiteY45" fmla="*/ 530826 h 606722"/>
                  <a:gd name="connsiteX46" fmla="*/ 327634 w 607097"/>
                  <a:gd name="connsiteY46" fmla="*/ 565219 h 606722"/>
                  <a:gd name="connsiteX47" fmla="*/ 490684 w 607097"/>
                  <a:gd name="connsiteY47" fmla="*/ 545046 h 606722"/>
                  <a:gd name="connsiteX48" fmla="*/ 515960 w 607097"/>
                  <a:gd name="connsiteY48" fmla="*/ 519717 h 606722"/>
                  <a:gd name="connsiteX49" fmla="*/ 521033 w 607097"/>
                  <a:gd name="connsiteY49" fmla="*/ 485324 h 606722"/>
                  <a:gd name="connsiteX50" fmla="*/ 434969 w 607097"/>
                  <a:gd name="connsiteY50" fmla="*/ 411561 h 606722"/>
                  <a:gd name="connsiteX51" fmla="*/ 414321 w 607097"/>
                  <a:gd name="connsiteY51" fmla="*/ 406318 h 606722"/>
                  <a:gd name="connsiteX52" fmla="*/ 413698 w 607097"/>
                  <a:gd name="connsiteY52" fmla="*/ 406496 h 606722"/>
                  <a:gd name="connsiteX53" fmla="*/ 405599 w 607097"/>
                  <a:gd name="connsiteY53" fmla="*/ 413605 h 606722"/>
                  <a:gd name="connsiteX54" fmla="*/ 404620 w 607097"/>
                  <a:gd name="connsiteY54" fmla="*/ 414583 h 606722"/>
                  <a:gd name="connsiteX55" fmla="*/ 373202 w 607097"/>
                  <a:gd name="connsiteY55" fmla="*/ 447910 h 606722"/>
                  <a:gd name="connsiteX56" fmla="*/ 349528 w 607097"/>
                  <a:gd name="connsiteY56" fmla="*/ 459552 h 606722"/>
                  <a:gd name="connsiteX57" fmla="*/ 405599 w 607097"/>
                  <a:gd name="connsiteY57" fmla="*/ 475282 h 606722"/>
                  <a:gd name="connsiteX58" fmla="*/ 414677 w 607097"/>
                  <a:gd name="connsiteY58" fmla="*/ 486391 h 606722"/>
                  <a:gd name="connsiteX59" fmla="*/ 404620 w 607097"/>
                  <a:gd name="connsiteY59" fmla="*/ 495456 h 606722"/>
                  <a:gd name="connsiteX60" fmla="*/ 403552 w 607097"/>
                  <a:gd name="connsiteY60" fmla="*/ 495456 h 606722"/>
                  <a:gd name="connsiteX61" fmla="*/ 287138 w 607097"/>
                  <a:gd name="connsiteY61" fmla="*/ 441866 h 606722"/>
                  <a:gd name="connsiteX62" fmla="*/ 286426 w 607097"/>
                  <a:gd name="connsiteY62" fmla="*/ 441067 h 606722"/>
                  <a:gd name="connsiteX63" fmla="*/ 284112 w 607097"/>
                  <a:gd name="connsiteY63" fmla="*/ 438845 h 606722"/>
                  <a:gd name="connsiteX64" fmla="*/ 176777 w 607097"/>
                  <a:gd name="connsiteY64" fmla="*/ 331666 h 606722"/>
                  <a:gd name="connsiteX65" fmla="*/ 111895 w 607097"/>
                  <a:gd name="connsiteY65" fmla="*/ 213379 h 606722"/>
                  <a:gd name="connsiteX66" fmla="*/ 121062 w 607097"/>
                  <a:gd name="connsiteY66" fmla="*/ 202270 h 606722"/>
                  <a:gd name="connsiteX67" fmla="*/ 132188 w 607097"/>
                  <a:gd name="connsiteY67" fmla="*/ 211335 h 606722"/>
                  <a:gd name="connsiteX68" fmla="*/ 146428 w 607097"/>
                  <a:gd name="connsiteY68" fmla="*/ 259325 h 606722"/>
                  <a:gd name="connsiteX69" fmla="*/ 158532 w 607097"/>
                  <a:gd name="connsiteY69" fmla="*/ 233553 h 606722"/>
                  <a:gd name="connsiteX70" fmla="*/ 191907 w 607097"/>
                  <a:gd name="connsiteY70" fmla="*/ 202270 h 606722"/>
                  <a:gd name="connsiteX71" fmla="*/ 192975 w 607097"/>
                  <a:gd name="connsiteY71" fmla="*/ 201204 h 606722"/>
                  <a:gd name="connsiteX72" fmla="*/ 200006 w 607097"/>
                  <a:gd name="connsiteY72" fmla="*/ 193117 h 606722"/>
                  <a:gd name="connsiteX73" fmla="*/ 194933 w 607097"/>
                  <a:gd name="connsiteY73" fmla="*/ 170899 h 606722"/>
                  <a:gd name="connsiteX74" fmla="*/ 121062 w 607097"/>
                  <a:gd name="connsiteY74" fmla="*/ 84961 h 606722"/>
                  <a:gd name="connsiteX75" fmla="*/ 103963 w 607097"/>
                  <a:gd name="connsiteY75" fmla="*/ 81761 h 606722"/>
                  <a:gd name="connsiteX76" fmla="*/ 353980 w 607097"/>
                  <a:gd name="connsiteY76" fmla="*/ 30273 h 606722"/>
                  <a:gd name="connsiteX77" fmla="*/ 364141 w 607097"/>
                  <a:gd name="connsiteY77" fmla="*/ 40422 h 606722"/>
                  <a:gd name="connsiteX78" fmla="*/ 364141 w 607097"/>
                  <a:gd name="connsiteY78" fmla="*/ 60719 h 606722"/>
                  <a:gd name="connsiteX79" fmla="*/ 353980 w 607097"/>
                  <a:gd name="connsiteY79" fmla="*/ 70778 h 606722"/>
                  <a:gd name="connsiteX80" fmla="*/ 343818 w 607097"/>
                  <a:gd name="connsiteY80" fmla="*/ 60719 h 606722"/>
                  <a:gd name="connsiteX81" fmla="*/ 343818 w 607097"/>
                  <a:gd name="connsiteY81" fmla="*/ 40422 h 606722"/>
                  <a:gd name="connsiteX82" fmla="*/ 353980 w 607097"/>
                  <a:gd name="connsiteY82" fmla="*/ 30273 h 606722"/>
                  <a:gd name="connsiteX83" fmla="*/ 353978 w 607097"/>
                  <a:gd name="connsiteY83" fmla="*/ 20263 h 606722"/>
                  <a:gd name="connsiteX84" fmla="*/ 174819 w 607097"/>
                  <a:gd name="connsiteY84" fmla="*/ 104957 h 606722"/>
                  <a:gd name="connsiteX85" fmla="*/ 214246 w 607097"/>
                  <a:gd name="connsiteY85" fmla="*/ 160768 h 606722"/>
                  <a:gd name="connsiteX86" fmla="*/ 221278 w 607097"/>
                  <a:gd name="connsiteY86" fmla="*/ 198182 h 606722"/>
                  <a:gd name="connsiteX87" fmla="*/ 215938 w 607097"/>
                  <a:gd name="connsiteY87" fmla="*/ 209025 h 606722"/>
                  <a:gd name="connsiteX88" fmla="*/ 210152 w 607097"/>
                  <a:gd name="connsiteY88" fmla="*/ 215157 h 606722"/>
                  <a:gd name="connsiteX89" fmla="*/ 206147 w 607097"/>
                  <a:gd name="connsiteY89" fmla="*/ 218445 h 606722"/>
                  <a:gd name="connsiteX90" fmla="*/ 176777 w 607097"/>
                  <a:gd name="connsiteY90" fmla="*/ 244662 h 606722"/>
                  <a:gd name="connsiteX91" fmla="*/ 182829 w 607097"/>
                  <a:gd name="connsiteY91" fmla="*/ 308382 h 606722"/>
                  <a:gd name="connsiteX92" fmla="*/ 189504 w 607097"/>
                  <a:gd name="connsiteY92" fmla="*/ 315136 h 606722"/>
                  <a:gd name="connsiteX93" fmla="*/ 189949 w 607097"/>
                  <a:gd name="connsiteY93" fmla="*/ 315492 h 606722"/>
                  <a:gd name="connsiteX94" fmla="*/ 191640 w 607097"/>
                  <a:gd name="connsiteY94" fmla="*/ 317269 h 606722"/>
                  <a:gd name="connsiteX95" fmla="*/ 298263 w 607097"/>
                  <a:gd name="connsiteY95" fmla="*/ 424714 h 606722"/>
                  <a:gd name="connsiteX96" fmla="*/ 362077 w 607097"/>
                  <a:gd name="connsiteY96" fmla="*/ 430758 h 606722"/>
                  <a:gd name="connsiteX97" fmla="*/ 388422 w 607097"/>
                  <a:gd name="connsiteY97" fmla="*/ 401430 h 606722"/>
                  <a:gd name="connsiteX98" fmla="*/ 408625 w 607097"/>
                  <a:gd name="connsiteY98" fmla="*/ 386233 h 606722"/>
                  <a:gd name="connsiteX99" fmla="*/ 419661 w 607097"/>
                  <a:gd name="connsiteY99" fmla="*/ 384900 h 606722"/>
                  <a:gd name="connsiteX100" fmla="*/ 446094 w 607097"/>
                  <a:gd name="connsiteY100" fmla="*/ 392365 h 606722"/>
                  <a:gd name="connsiteX101" fmla="*/ 501987 w 607097"/>
                  <a:gd name="connsiteY101" fmla="*/ 431646 h 606722"/>
                  <a:gd name="connsiteX102" fmla="*/ 586894 w 607097"/>
                  <a:gd name="connsiteY102" fmla="*/ 252749 h 606722"/>
                  <a:gd name="connsiteX103" fmla="*/ 353978 w 607097"/>
                  <a:gd name="connsiteY103" fmla="*/ 20263 h 606722"/>
                  <a:gd name="connsiteX104" fmla="*/ 353978 w 607097"/>
                  <a:gd name="connsiteY104" fmla="*/ 0 h 606722"/>
                  <a:gd name="connsiteX105" fmla="*/ 607097 w 607097"/>
                  <a:gd name="connsiteY105" fmla="*/ 252749 h 606722"/>
                  <a:gd name="connsiteX106" fmla="*/ 517384 w 607097"/>
                  <a:gd name="connsiteY106" fmla="*/ 445421 h 606722"/>
                  <a:gd name="connsiteX107" fmla="*/ 540257 w 607097"/>
                  <a:gd name="connsiteY107" fmla="*/ 474215 h 606722"/>
                  <a:gd name="connsiteX108" fmla="*/ 531179 w 607097"/>
                  <a:gd name="connsiteY108" fmla="*/ 532870 h 606722"/>
                  <a:gd name="connsiteX109" fmla="*/ 505814 w 607097"/>
                  <a:gd name="connsiteY109" fmla="*/ 559176 h 606722"/>
                  <a:gd name="connsiteX110" fmla="*/ 401505 w 607097"/>
                  <a:gd name="connsiteY110" fmla="*/ 606722 h 606722"/>
                  <a:gd name="connsiteX111" fmla="*/ 318556 w 607097"/>
                  <a:gd name="connsiteY111" fmla="*/ 582460 h 606722"/>
                  <a:gd name="connsiteX112" fmla="*/ 268893 w 607097"/>
                  <a:gd name="connsiteY112" fmla="*/ 543979 h 606722"/>
                  <a:gd name="connsiteX113" fmla="*/ 61343 w 607097"/>
                  <a:gd name="connsiteY113" fmla="*/ 336732 h 606722"/>
                  <a:gd name="connsiteX114" fmla="*/ 16753 w 607097"/>
                  <a:gd name="connsiteY114" fmla="*/ 275056 h 606722"/>
                  <a:gd name="connsiteX115" fmla="*/ 48171 w 607097"/>
                  <a:gd name="connsiteY115" fmla="*/ 101135 h 606722"/>
                  <a:gd name="connsiteX116" fmla="*/ 73447 w 607097"/>
                  <a:gd name="connsiteY116" fmla="*/ 75807 h 606722"/>
                  <a:gd name="connsiteX117" fmla="*/ 132188 w 607097"/>
                  <a:gd name="connsiteY117" fmla="*/ 66742 h 606722"/>
                  <a:gd name="connsiteX118" fmla="*/ 160757 w 607097"/>
                  <a:gd name="connsiteY118" fmla="*/ 89315 h 606722"/>
                  <a:gd name="connsiteX119" fmla="*/ 353978 w 607097"/>
                  <a:gd name="connsiteY119" fmla="*/ 0 h 6067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</a:cxnLst>
                <a:rect l="l" t="t" r="r" b="b"/>
                <a:pathLst>
                  <a:path w="607097" h="606722">
                    <a:moveTo>
                      <a:pt x="482620" y="381169"/>
                    </a:moveTo>
                    <a:cubicBezTo>
                      <a:pt x="486624" y="377172"/>
                      <a:pt x="492675" y="377172"/>
                      <a:pt x="496768" y="381169"/>
                    </a:cubicBezTo>
                    <a:lnTo>
                      <a:pt x="510916" y="395381"/>
                    </a:lnTo>
                    <a:cubicBezTo>
                      <a:pt x="515009" y="399379"/>
                      <a:pt x="515009" y="405419"/>
                      <a:pt x="510916" y="409505"/>
                    </a:cubicBezTo>
                    <a:cubicBezTo>
                      <a:pt x="509937" y="412525"/>
                      <a:pt x="506912" y="412525"/>
                      <a:pt x="503887" y="412525"/>
                    </a:cubicBezTo>
                    <a:cubicBezTo>
                      <a:pt x="500861" y="412525"/>
                      <a:pt x="498815" y="411548"/>
                      <a:pt x="496768" y="409505"/>
                    </a:cubicBezTo>
                    <a:lnTo>
                      <a:pt x="482620" y="395381"/>
                    </a:lnTo>
                    <a:cubicBezTo>
                      <a:pt x="478527" y="391295"/>
                      <a:pt x="478527" y="385255"/>
                      <a:pt x="482620" y="381169"/>
                    </a:cubicBezTo>
                    <a:close/>
                    <a:moveTo>
                      <a:pt x="546398" y="242745"/>
                    </a:moveTo>
                    <a:lnTo>
                      <a:pt x="566606" y="242745"/>
                    </a:lnTo>
                    <a:cubicBezTo>
                      <a:pt x="572659" y="242745"/>
                      <a:pt x="576754" y="246732"/>
                      <a:pt x="576754" y="252756"/>
                    </a:cubicBezTo>
                    <a:cubicBezTo>
                      <a:pt x="576754" y="258869"/>
                      <a:pt x="572659" y="262856"/>
                      <a:pt x="566606" y="262856"/>
                    </a:cubicBezTo>
                    <a:lnTo>
                      <a:pt x="546398" y="262856"/>
                    </a:lnTo>
                    <a:cubicBezTo>
                      <a:pt x="540255" y="262856"/>
                      <a:pt x="536249" y="258869"/>
                      <a:pt x="536249" y="252756"/>
                    </a:cubicBezTo>
                    <a:cubicBezTo>
                      <a:pt x="536249" y="246732"/>
                      <a:pt x="540255" y="242745"/>
                      <a:pt x="546398" y="242745"/>
                    </a:cubicBezTo>
                    <a:close/>
                    <a:moveTo>
                      <a:pt x="353968" y="101120"/>
                    </a:moveTo>
                    <a:cubicBezTo>
                      <a:pt x="360022" y="101120"/>
                      <a:pt x="364118" y="105119"/>
                      <a:pt x="364118" y="111251"/>
                    </a:cubicBezTo>
                    <a:lnTo>
                      <a:pt x="364118" y="242683"/>
                    </a:lnTo>
                    <a:lnTo>
                      <a:pt x="424838" y="242683"/>
                    </a:lnTo>
                    <a:cubicBezTo>
                      <a:pt x="430893" y="242683"/>
                      <a:pt x="434988" y="246682"/>
                      <a:pt x="434988" y="252725"/>
                    </a:cubicBezTo>
                    <a:cubicBezTo>
                      <a:pt x="434988" y="258857"/>
                      <a:pt x="430893" y="262856"/>
                      <a:pt x="424838" y="262856"/>
                    </a:cubicBezTo>
                    <a:lnTo>
                      <a:pt x="353968" y="262856"/>
                    </a:lnTo>
                    <a:cubicBezTo>
                      <a:pt x="347825" y="262856"/>
                      <a:pt x="343818" y="258857"/>
                      <a:pt x="343818" y="252725"/>
                    </a:cubicBezTo>
                    <a:lnTo>
                      <a:pt x="343818" y="111251"/>
                    </a:lnTo>
                    <a:cubicBezTo>
                      <a:pt x="343818" y="105119"/>
                      <a:pt x="347825" y="101120"/>
                      <a:pt x="353968" y="101120"/>
                    </a:cubicBezTo>
                    <a:close/>
                    <a:moveTo>
                      <a:pt x="496768" y="96101"/>
                    </a:moveTo>
                    <a:cubicBezTo>
                      <a:pt x="500861" y="92017"/>
                      <a:pt x="506912" y="92017"/>
                      <a:pt x="510916" y="96101"/>
                    </a:cubicBezTo>
                    <a:cubicBezTo>
                      <a:pt x="515009" y="100096"/>
                      <a:pt x="515009" y="106222"/>
                      <a:pt x="510916" y="110217"/>
                    </a:cubicBezTo>
                    <a:lnTo>
                      <a:pt x="496768" y="124334"/>
                    </a:lnTo>
                    <a:cubicBezTo>
                      <a:pt x="494722" y="126376"/>
                      <a:pt x="492675" y="127441"/>
                      <a:pt x="489650" y="127441"/>
                    </a:cubicBezTo>
                    <a:cubicBezTo>
                      <a:pt x="486624" y="127441"/>
                      <a:pt x="484578" y="126376"/>
                      <a:pt x="482620" y="124334"/>
                    </a:cubicBezTo>
                    <a:cubicBezTo>
                      <a:pt x="478527" y="120338"/>
                      <a:pt x="478527" y="114301"/>
                      <a:pt x="482620" y="110217"/>
                    </a:cubicBezTo>
                    <a:close/>
                    <a:moveTo>
                      <a:pt x="196955" y="96101"/>
                    </a:moveTo>
                    <a:cubicBezTo>
                      <a:pt x="201050" y="92017"/>
                      <a:pt x="207104" y="92017"/>
                      <a:pt x="211110" y="96101"/>
                    </a:cubicBezTo>
                    <a:lnTo>
                      <a:pt x="225355" y="110217"/>
                    </a:lnTo>
                    <a:cubicBezTo>
                      <a:pt x="229361" y="114301"/>
                      <a:pt x="229361" y="120338"/>
                      <a:pt x="225355" y="124334"/>
                    </a:cubicBezTo>
                    <a:cubicBezTo>
                      <a:pt x="223307" y="126376"/>
                      <a:pt x="220280" y="127441"/>
                      <a:pt x="218233" y="127441"/>
                    </a:cubicBezTo>
                    <a:cubicBezTo>
                      <a:pt x="215206" y="127441"/>
                      <a:pt x="213158" y="126376"/>
                      <a:pt x="211110" y="124334"/>
                    </a:cubicBezTo>
                    <a:lnTo>
                      <a:pt x="196955" y="110217"/>
                    </a:lnTo>
                    <a:cubicBezTo>
                      <a:pt x="192949" y="106222"/>
                      <a:pt x="192949" y="100096"/>
                      <a:pt x="196955" y="96101"/>
                    </a:cubicBezTo>
                    <a:close/>
                    <a:moveTo>
                      <a:pt x="103963" y="81761"/>
                    </a:moveTo>
                    <a:cubicBezTo>
                      <a:pt x="98011" y="82650"/>
                      <a:pt x="92182" y="85449"/>
                      <a:pt x="87598" y="90026"/>
                    </a:cubicBezTo>
                    <a:lnTo>
                      <a:pt x="62322" y="115266"/>
                    </a:lnTo>
                    <a:cubicBezTo>
                      <a:pt x="17732" y="159790"/>
                      <a:pt x="8654" y="209291"/>
                      <a:pt x="34998" y="265902"/>
                    </a:cubicBezTo>
                    <a:cubicBezTo>
                      <a:pt x="44077" y="285187"/>
                      <a:pt x="57249" y="304383"/>
                      <a:pt x="75494" y="322602"/>
                    </a:cubicBezTo>
                    <a:lnTo>
                      <a:pt x="283044" y="530826"/>
                    </a:lnTo>
                    <a:cubicBezTo>
                      <a:pt x="297284" y="545046"/>
                      <a:pt x="312415" y="557132"/>
                      <a:pt x="327634" y="565219"/>
                    </a:cubicBezTo>
                    <a:cubicBezTo>
                      <a:pt x="389401" y="599612"/>
                      <a:pt x="443068" y="592503"/>
                      <a:pt x="490684" y="545046"/>
                    </a:cubicBezTo>
                    <a:lnTo>
                      <a:pt x="515960" y="519717"/>
                    </a:lnTo>
                    <a:cubicBezTo>
                      <a:pt x="525127" y="510653"/>
                      <a:pt x="527085" y="496433"/>
                      <a:pt x="521033" y="485324"/>
                    </a:cubicBezTo>
                    <a:cubicBezTo>
                      <a:pt x="503856" y="451998"/>
                      <a:pt x="434969" y="411561"/>
                      <a:pt x="434969" y="411561"/>
                    </a:cubicBezTo>
                    <a:cubicBezTo>
                      <a:pt x="427582" y="407829"/>
                      <a:pt x="420195" y="405874"/>
                      <a:pt x="414321" y="406318"/>
                    </a:cubicBezTo>
                    <a:cubicBezTo>
                      <a:pt x="414143" y="406318"/>
                      <a:pt x="413876" y="406407"/>
                      <a:pt x="413698" y="406496"/>
                    </a:cubicBezTo>
                    <a:cubicBezTo>
                      <a:pt x="409604" y="407473"/>
                      <a:pt x="407646" y="409517"/>
                      <a:pt x="405599" y="413605"/>
                    </a:cubicBezTo>
                    <a:lnTo>
                      <a:pt x="404620" y="414583"/>
                    </a:lnTo>
                    <a:cubicBezTo>
                      <a:pt x="397500" y="423648"/>
                      <a:pt x="380323" y="443910"/>
                      <a:pt x="373202" y="447910"/>
                    </a:cubicBezTo>
                    <a:cubicBezTo>
                      <a:pt x="365548" y="453242"/>
                      <a:pt x="357538" y="457152"/>
                      <a:pt x="349528" y="459552"/>
                    </a:cubicBezTo>
                    <a:cubicBezTo>
                      <a:pt x="365281" y="466839"/>
                      <a:pt x="384328" y="473149"/>
                      <a:pt x="405599" y="475282"/>
                    </a:cubicBezTo>
                    <a:cubicBezTo>
                      <a:pt x="410672" y="476259"/>
                      <a:pt x="414677" y="480259"/>
                      <a:pt x="414677" y="486391"/>
                    </a:cubicBezTo>
                    <a:cubicBezTo>
                      <a:pt x="413698" y="491456"/>
                      <a:pt x="409604" y="495456"/>
                      <a:pt x="404620" y="495456"/>
                    </a:cubicBezTo>
                    <a:lnTo>
                      <a:pt x="403552" y="495456"/>
                    </a:lnTo>
                    <a:cubicBezTo>
                      <a:pt x="333686" y="488346"/>
                      <a:pt x="288117" y="443910"/>
                      <a:pt x="287138" y="441866"/>
                    </a:cubicBezTo>
                    <a:cubicBezTo>
                      <a:pt x="286871" y="441600"/>
                      <a:pt x="286604" y="441333"/>
                      <a:pt x="286426" y="441067"/>
                    </a:cubicBezTo>
                    <a:cubicBezTo>
                      <a:pt x="285625" y="440356"/>
                      <a:pt x="284824" y="439645"/>
                      <a:pt x="284112" y="438845"/>
                    </a:cubicBezTo>
                    <a:lnTo>
                      <a:pt x="176777" y="331666"/>
                    </a:lnTo>
                    <a:cubicBezTo>
                      <a:pt x="174730" y="329622"/>
                      <a:pt x="119015" y="284120"/>
                      <a:pt x="111895" y="213379"/>
                    </a:cubicBezTo>
                    <a:cubicBezTo>
                      <a:pt x="110916" y="208314"/>
                      <a:pt x="115010" y="203248"/>
                      <a:pt x="121062" y="202270"/>
                    </a:cubicBezTo>
                    <a:cubicBezTo>
                      <a:pt x="127115" y="201204"/>
                      <a:pt x="131209" y="205292"/>
                      <a:pt x="132188" y="211335"/>
                    </a:cubicBezTo>
                    <a:cubicBezTo>
                      <a:pt x="133968" y="229109"/>
                      <a:pt x="139486" y="245284"/>
                      <a:pt x="146428" y="259325"/>
                    </a:cubicBezTo>
                    <a:cubicBezTo>
                      <a:pt x="148653" y="250794"/>
                      <a:pt x="152658" y="242262"/>
                      <a:pt x="158532" y="233553"/>
                    </a:cubicBezTo>
                    <a:cubicBezTo>
                      <a:pt x="162537" y="227510"/>
                      <a:pt x="183808" y="210358"/>
                      <a:pt x="191907" y="202270"/>
                    </a:cubicBezTo>
                    <a:lnTo>
                      <a:pt x="192975" y="201204"/>
                    </a:lnTo>
                    <a:cubicBezTo>
                      <a:pt x="196980" y="199160"/>
                      <a:pt x="199027" y="196138"/>
                      <a:pt x="200006" y="193117"/>
                    </a:cubicBezTo>
                    <a:cubicBezTo>
                      <a:pt x="202053" y="187073"/>
                      <a:pt x="200006" y="178986"/>
                      <a:pt x="194933" y="170899"/>
                    </a:cubicBezTo>
                    <a:cubicBezTo>
                      <a:pt x="194933" y="169832"/>
                      <a:pt x="154438" y="102113"/>
                      <a:pt x="121062" y="84961"/>
                    </a:cubicBezTo>
                    <a:cubicBezTo>
                      <a:pt x="115989" y="81895"/>
                      <a:pt x="109915" y="80873"/>
                      <a:pt x="103963" y="81761"/>
                    </a:cubicBezTo>
                    <a:close/>
                    <a:moveTo>
                      <a:pt x="353980" y="30273"/>
                    </a:moveTo>
                    <a:cubicBezTo>
                      <a:pt x="360041" y="30273"/>
                      <a:pt x="364141" y="34368"/>
                      <a:pt x="364141" y="40422"/>
                    </a:cubicBezTo>
                    <a:lnTo>
                      <a:pt x="364141" y="60719"/>
                    </a:lnTo>
                    <a:cubicBezTo>
                      <a:pt x="364141" y="66772"/>
                      <a:pt x="360041" y="70778"/>
                      <a:pt x="353980" y="70778"/>
                    </a:cubicBezTo>
                    <a:cubicBezTo>
                      <a:pt x="347829" y="70778"/>
                      <a:pt x="343818" y="66772"/>
                      <a:pt x="343818" y="60719"/>
                    </a:cubicBezTo>
                    <a:lnTo>
                      <a:pt x="343818" y="40422"/>
                    </a:lnTo>
                    <a:cubicBezTo>
                      <a:pt x="343818" y="34368"/>
                      <a:pt x="347829" y="30273"/>
                      <a:pt x="353980" y="30273"/>
                    </a:cubicBezTo>
                    <a:close/>
                    <a:moveTo>
                      <a:pt x="353978" y="20263"/>
                    </a:moveTo>
                    <a:cubicBezTo>
                      <a:pt x="284112" y="20263"/>
                      <a:pt x="219409" y="50479"/>
                      <a:pt x="174819" y="104957"/>
                    </a:cubicBezTo>
                    <a:cubicBezTo>
                      <a:pt x="196446" y="130818"/>
                      <a:pt x="212911" y="158901"/>
                      <a:pt x="214246" y="160768"/>
                    </a:cubicBezTo>
                    <a:cubicBezTo>
                      <a:pt x="221278" y="173920"/>
                      <a:pt x="224304" y="187073"/>
                      <a:pt x="221278" y="198182"/>
                    </a:cubicBezTo>
                    <a:cubicBezTo>
                      <a:pt x="220299" y="202093"/>
                      <a:pt x="218430" y="205736"/>
                      <a:pt x="215938" y="209025"/>
                    </a:cubicBezTo>
                    <a:cubicBezTo>
                      <a:pt x="214336" y="211335"/>
                      <a:pt x="212466" y="213379"/>
                      <a:pt x="210152" y="215157"/>
                    </a:cubicBezTo>
                    <a:cubicBezTo>
                      <a:pt x="208906" y="216312"/>
                      <a:pt x="207482" y="217378"/>
                      <a:pt x="206147" y="218445"/>
                    </a:cubicBezTo>
                    <a:cubicBezTo>
                      <a:pt x="193954" y="228487"/>
                      <a:pt x="179803" y="241640"/>
                      <a:pt x="176777" y="244662"/>
                    </a:cubicBezTo>
                    <a:cubicBezTo>
                      <a:pt x="160579" y="269012"/>
                      <a:pt x="162537" y="287142"/>
                      <a:pt x="182829" y="308382"/>
                    </a:cubicBezTo>
                    <a:lnTo>
                      <a:pt x="189504" y="315136"/>
                    </a:lnTo>
                    <a:cubicBezTo>
                      <a:pt x="189771" y="315403"/>
                      <a:pt x="189949" y="315492"/>
                      <a:pt x="189949" y="315492"/>
                    </a:cubicBezTo>
                    <a:cubicBezTo>
                      <a:pt x="190572" y="316025"/>
                      <a:pt x="191195" y="316647"/>
                      <a:pt x="191640" y="317269"/>
                    </a:cubicBezTo>
                    <a:lnTo>
                      <a:pt x="298263" y="424714"/>
                    </a:lnTo>
                    <a:cubicBezTo>
                      <a:pt x="318556" y="444888"/>
                      <a:pt x="337780" y="446932"/>
                      <a:pt x="362077" y="430758"/>
                    </a:cubicBezTo>
                    <a:cubicBezTo>
                      <a:pt x="365103" y="428713"/>
                      <a:pt x="378275" y="414583"/>
                      <a:pt x="388422" y="401430"/>
                    </a:cubicBezTo>
                    <a:cubicBezTo>
                      <a:pt x="393406" y="393343"/>
                      <a:pt x="400526" y="388277"/>
                      <a:pt x="408625" y="386233"/>
                    </a:cubicBezTo>
                    <a:cubicBezTo>
                      <a:pt x="412096" y="385344"/>
                      <a:pt x="415834" y="384900"/>
                      <a:pt x="419661" y="384900"/>
                    </a:cubicBezTo>
                    <a:cubicBezTo>
                      <a:pt x="428294" y="384989"/>
                      <a:pt x="437728" y="387477"/>
                      <a:pt x="446094" y="392365"/>
                    </a:cubicBezTo>
                    <a:cubicBezTo>
                      <a:pt x="447963" y="393609"/>
                      <a:pt x="476088" y="410051"/>
                      <a:pt x="501987" y="431646"/>
                    </a:cubicBezTo>
                    <a:cubicBezTo>
                      <a:pt x="556545" y="387122"/>
                      <a:pt x="586894" y="322513"/>
                      <a:pt x="586894" y="252749"/>
                    </a:cubicBezTo>
                    <a:cubicBezTo>
                      <a:pt x="586894" y="124330"/>
                      <a:pt x="482585" y="20263"/>
                      <a:pt x="353978" y="20263"/>
                    </a:cubicBezTo>
                    <a:close/>
                    <a:moveTo>
                      <a:pt x="353978" y="0"/>
                    </a:moveTo>
                    <a:cubicBezTo>
                      <a:pt x="493710" y="0"/>
                      <a:pt x="607097" y="113222"/>
                      <a:pt x="607097" y="252749"/>
                    </a:cubicBezTo>
                    <a:cubicBezTo>
                      <a:pt x="607097" y="327578"/>
                      <a:pt x="574345" y="397786"/>
                      <a:pt x="517384" y="445421"/>
                    </a:cubicBezTo>
                    <a:cubicBezTo>
                      <a:pt x="526907" y="454753"/>
                      <a:pt x="535184" y="464617"/>
                      <a:pt x="540257" y="474215"/>
                    </a:cubicBezTo>
                    <a:cubicBezTo>
                      <a:pt x="550403" y="493412"/>
                      <a:pt x="547377" y="517673"/>
                      <a:pt x="531179" y="532870"/>
                    </a:cubicBezTo>
                    <a:lnTo>
                      <a:pt x="505814" y="559176"/>
                    </a:lnTo>
                    <a:cubicBezTo>
                      <a:pt x="474486" y="590548"/>
                      <a:pt x="438974" y="606722"/>
                      <a:pt x="401505" y="606722"/>
                    </a:cubicBezTo>
                    <a:cubicBezTo>
                      <a:pt x="375249" y="606722"/>
                      <a:pt x="346858" y="598635"/>
                      <a:pt x="318556" y="582460"/>
                    </a:cubicBezTo>
                    <a:cubicBezTo>
                      <a:pt x="301289" y="573307"/>
                      <a:pt x="285091" y="560154"/>
                      <a:pt x="268893" y="543979"/>
                    </a:cubicBezTo>
                    <a:lnTo>
                      <a:pt x="61343" y="336732"/>
                    </a:lnTo>
                    <a:cubicBezTo>
                      <a:pt x="42030" y="317536"/>
                      <a:pt x="26899" y="296296"/>
                      <a:pt x="16753" y="275056"/>
                    </a:cubicBezTo>
                    <a:cubicBezTo>
                      <a:pt x="-13596" y="210358"/>
                      <a:pt x="-2471" y="151703"/>
                      <a:pt x="48171" y="101135"/>
                    </a:cubicBezTo>
                    <a:lnTo>
                      <a:pt x="73447" y="75807"/>
                    </a:lnTo>
                    <a:cubicBezTo>
                      <a:pt x="88666" y="60699"/>
                      <a:pt x="112963" y="56611"/>
                      <a:pt x="132188" y="66742"/>
                    </a:cubicBezTo>
                    <a:cubicBezTo>
                      <a:pt x="141711" y="71719"/>
                      <a:pt x="151412" y="79895"/>
                      <a:pt x="160757" y="89315"/>
                    </a:cubicBezTo>
                    <a:cubicBezTo>
                      <a:pt x="209173" y="32971"/>
                      <a:pt x="278772" y="0"/>
                      <a:pt x="353978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</p:grpSp>
        <p:grpSp>
          <p:nvGrpSpPr>
            <p:cNvPr id="249" name="íSlïdê">
              <a:extLst>
                <a:ext uri="{FF2B5EF4-FFF2-40B4-BE49-F238E27FC236}">
                  <a16:creationId xmlns:a16="http://schemas.microsoft.com/office/drawing/2014/main" id="{18B66BAB-C2B7-4D04-BECA-7F894C699A7F}"/>
                </a:ext>
              </a:extLst>
            </p:cNvPr>
            <p:cNvGrpSpPr/>
            <p:nvPr/>
          </p:nvGrpSpPr>
          <p:grpSpPr>
            <a:xfrm>
              <a:off x="8276155" y="3450845"/>
              <a:ext cx="2697833" cy="1274619"/>
              <a:chOff x="8276155" y="3189355"/>
              <a:chExt cx="2697833" cy="1274619"/>
            </a:xfrm>
          </p:grpSpPr>
          <p:sp>
            <p:nvSpPr>
              <p:cNvPr id="260" name="íṣlide">
                <a:extLst>
                  <a:ext uri="{FF2B5EF4-FFF2-40B4-BE49-F238E27FC236}">
                    <a16:creationId xmlns:a16="http://schemas.microsoft.com/office/drawing/2014/main" id="{C41E1DA6-390E-4DCA-92BD-1B86BFDA5271}"/>
                  </a:ext>
                </a:extLst>
              </p:cNvPr>
              <p:cNvSpPr txBox="1"/>
              <p:nvPr/>
            </p:nvSpPr>
            <p:spPr bwMode="auto">
              <a:xfrm>
                <a:off x="8865925" y="3189355"/>
                <a:ext cx="2108063" cy="127461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90000" tIns="46800" rIns="90000" bIns="46800" anchor="ctr">
                <a:normAutofit/>
              </a:bodyPr>
              <a:lstStyle/>
              <a:p>
                <a:r>
                  <a:rPr lang="zh-CN" altLang="en-US" sz="3200" b="1" dirty="0"/>
                  <a:t>活动和社交指导</a:t>
                </a:r>
              </a:p>
            </p:txBody>
          </p:sp>
          <p:sp>
            <p:nvSpPr>
              <p:cNvPr id="261" name="ïśliḋe">
                <a:extLst>
                  <a:ext uri="{FF2B5EF4-FFF2-40B4-BE49-F238E27FC236}">
                    <a16:creationId xmlns:a16="http://schemas.microsoft.com/office/drawing/2014/main" id="{C68F4EDA-C7EC-41DF-9CA1-00C70A2A2368}"/>
                  </a:ext>
                </a:extLst>
              </p:cNvPr>
              <p:cNvSpPr/>
              <p:nvPr/>
            </p:nvSpPr>
            <p:spPr bwMode="auto">
              <a:xfrm>
                <a:off x="8276155" y="3553892"/>
                <a:ext cx="400472" cy="461080"/>
              </a:xfrm>
              <a:custGeom>
                <a:avLst/>
                <a:gdLst>
                  <a:gd name="T0" fmla="*/ 5699 w 5931"/>
                  <a:gd name="T1" fmla="*/ 3199 h 6838"/>
                  <a:gd name="T2" fmla="*/ 5298 w 5931"/>
                  <a:gd name="T3" fmla="*/ 3024 h 6838"/>
                  <a:gd name="T4" fmla="*/ 5130 w 5931"/>
                  <a:gd name="T5" fmla="*/ 2630 h 6838"/>
                  <a:gd name="T6" fmla="*/ 4787 w 5931"/>
                  <a:gd name="T7" fmla="*/ 2457 h 6838"/>
                  <a:gd name="T8" fmla="*/ 4727 w 5931"/>
                  <a:gd name="T9" fmla="*/ 2453 h 6838"/>
                  <a:gd name="T10" fmla="*/ 4726 w 5931"/>
                  <a:gd name="T11" fmla="*/ 2400 h 6838"/>
                  <a:gd name="T12" fmla="*/ 4561 w 5931"/>
                  <a:gd name="T13" fmla="*/ 2061 h 6838"/>
                  <a:gd name="T14" fmla="*/ 4311 w 5931"/>
                  <a:gd name="T15" fmla="*/ 1910 h 6838"/>
                  <a:gd name="T16" fmla="*/ 5358 w 5931"/>
                  <a:gd name="T17" fmla="*/ 866 h 6838"/>
                  <a:gd name="T18" fmla="*/ 5301 w 5931"/>
                  <a:gd name="T19" fmla="*/ 182 h 6838"/>
                  <a:gd name="T20" fmla="*/ 4960 w 5931"/>
                  <a:gd name="T21" fmla="*/ 14 h 6838"/>
                  <a:gd name="T22" fmla="*/ 4617 w 5931"/>
                  <a:gd name="T23" fmla="*/ 125 h 6838"/>
                  <a:gd name="T24" fmla="*/ 3098 w 5931"/>
                  <a:gd name="T25" fmla="*/ 1641 h 6838"/>
                  <a:gd name="T26" fmla="*/ 2601 w 5931"/>
                  <a:gd name="T27" fmla="*/ 1014 h 6838"/>
                  <a:gd name="T28" fmla="*/ 2518 w 5931"/>
                  <a:gd name="T29" fmla="*/ 956 h 6838"/>
                  <a:gd name="T30" fmla="*/ 835 w 5931"/>
                  <a:gd name="T31" fmla="*/ 2640 h 6838"/>
                  <a:gd name="T32" fmla="*/ 0 w 5931"/>
                  <a:gd name="T33" fmla="*/ 4786 h 6838"/>
                  <a:gd name="T34" fmla="*/ 2052 w 5931"/>
                  <a:gd name="T35" fmla="*/ 6838 h 6838"/>
                  <a:gd name="T36" fmla="*/ 3175 w 5931"/>
                  <a:gd name="T37" fmla="*/ 6463 h 6838"/>
                  <a:gd name="T38" fmla="*/ 5760 w 5931"/>
                  <a:gd name="T39" fmla="*/ 3878 h 6838"/>
                  <a:gd name="T40" fmla="*/ 5699 w 5931"/>
                  <a:gd name="T41" fmla="*/ 3199 h 6838"/>
                  <a:gd name="T42" fmla="*/ 5589 w 5931"/>
                  <a:gd name="T43" fmla="*/ 3707 h 6838"/>
                  <a:gd name="T44" fmla="*/ 3044 w 5931"/>
                  <a:gd name="T45" fmla="*/ 6252 h 6838"/>
                  <a:gd name="T46" fmla="*/ 2118 w 5931"/>
                  <a:gd name="T47" fmla="*/ 6561 h 6838"/>
                  <a:gd name="T48" fmla="*/ 283 w 5931"/>
                  <a:gd name="T49" fmla="*/ 4726 h 6838"/>
                  <a:gd name="T50" fmla="*/ 1042 w 5931"/>
                  <a:gd name="T51" fmla="*/ 2775 h 6838"/>
                  <a:gd name="T52" fmla="*/ 2543 w 5931"/>
                  <a:gd name="T53" fmla="*/ 1274 h 6838"/>
                  <a:gd name="T54" fmla="*/ 2869 w 5931"/>
                  <a:gd name="T55" fmla="*/ 1739 h 6838"/>
                  <a:gd name="T56" fmla="*/ 2788 w 5931"/>
                  <a:gd name="T57" fmla="*/ 1939 h 6838"/>
                  <a:gd name="T58" fmla="*/ 2110 w 5931"/>
                  <a:gd name="T59" fmla="*/ 2627 h 6838"/>
                  <a:gd name="T60" fmla="*/ 2281 w 5931"/>
                  <a:gd name="T61" fmla="*/ 2798 h 6838"/>
                  <a:gd name="T62" fmla="*/ 4789 w 5931"/>
                  <a:gd name="T63" fmla="*/ 297 h 6838"/>
                  <a:gd name="T64" fmla="*/ 4934 w 5931"/>
                  <a:gd name="T65" fmla="*/ 255 h 6838"/>
                  <a:gd name="T66" fmla="*/ 5130 w 5931"/>
                  <a:gd name="T67" fmla="*/ 354 h 6838"/>
                  <a:gd name="T68" fmla="*/ 5187 w 5931"/>
                  <a:gd name="T69" fmla="*/ 694 h 6838"/>
                  <a:gd name="T70" fmla="*/ 3477 w 5931"/>
                  <a:gd name="T71" fmla="*/ 2400 h 6838"/>
                  <a:gd name="T72" fmla="*/ 3648 w 5931"/>
                  <a:gd name="T73" fmla="*/ 2571 h 6838"/>
                  <a:gd name="T74" fmla="*/ 4049 w 5931"/>
                  <a:gd name="T75" fmla="*/ 2175 h 6838"/>
                  <a:gd name="T76" fmla="*/ 4194 w 5931"/>
                  <a:gd name="T77" fmla="*/ 2133 h 6838"/>
                  <a:gd name="T78" fmla="*/ 4390 w 5931"/>
                  <a:gd name="T79" fmla="*/ 2232 h 6838"/>
                  <a:gd name="T80" fmla="*/ 4484 w 5931"/>
                  <a:gd name="T81" fmla="*/ 2421 h 6838"/>
                  <a:gd name="T82" fmla="*/ 4439 w 5931"/>
                  <a:gd name="T83" fmla="*/ 2565 h 6838"/>
                  <a:gd name="T84" fmla="*/ 3983 w 5931"/>
                  <a:gd name="T85" fmla="*/ 3020 h 6838"/>
                  <a:gd name="T86" fmla="*/ 4155 w 5931"/>
                  <a:gd name="T87" fmla="*/ 3191 h 6838"/>
                  <a:gd name="T88" fmla="*/ 4610 w 5931"/>
                  <a:gd name="T89" fmla="*/ 2736 h 6838"/>
                  <a:gd name="T90" fmla="*/ 4757 w 5931"/>
                  <a:gd name="T91" fmla="*/ 2697 h 6838"/>
                  <a:gd name="T92" fmla="*/ 4959 w 5931"/>
                  <a:gd name="T93" fmla="*/ 2801 h 6838"/>
                  <a:gd name="T94" fmla="*/ 5008 w 5931"/>
                  <a:gd name="T95" fmla="*/ 3133 h 6838"/>
                  <a:gd name="T96" fmla="*/ 5008 w 5931"/>
                  <a:gd name="T97" fmla="*/ 3133 h 6838"/>
                  <a:gd name="T98" fmla="*/ 4552 w 5931"/>
                  <a:gd name="T99" fmla="*/ 3589 h 6838"/>
                  <a:gd name="T100" fmla="*/ 4724 w 5931"/>
                  <a:gd name="T101" fmla="*/ 3760 h 6838"/>
                  <a:gd name="T102" fmla="*/ 5179 w 5931"/>
                  <a:gd name="T103" fmla="*/ 3305 h 6838"/>
                  <a:gd name="T104" fmla="*/ 5528 w 5931"/>
                  <a:gd name="T105" fmla="*/ 3370 h 6838"/>
                  <a:gd name="T106" fmla="*/ 5589 w 5931"/>
                  <a:gd name="T107" fmla="*/ 3707 h 68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5931" h="6838">
                    <a:moveTo>
                      <a:pt x="5699" y="3199"/>
                    </a:moveTo>
                    <a:cubicBezTo>
                      <a:pt x="5585" y="3085"/>
                      <a:pt x="5436" y="3025"/>
                      <a:pt x="5298" y="3024"/>
                    </a:cubicBezTo>
                    <a:cubicBezTo>
                      <a:pt x="5301" y="2888"/>
                      <a:pt x="5245" y="2744"/>
                      <a:pt x="5130" y="2630"/>
                    </a:cubicBezTo>
                    <a:cubicBezTo>
                      <a:pt x="5035" y="2534"/>
                      <a:pt x="4913" y="2473"/>
                      <a:pt x="4787" y="2457"/>
                    </a:cubicBezTo>
                    <a:cubicBezTo>
                      <a:pt x="4767" y="2455"/>
                      <a:pt x="4747" y="2453"/>
                      <a:pt x="4727" y="2453"/>
                    </a:cubicBezTo>
                    <a:cubicBezTo>
                      <a:pt x="4728" y="2436"/>
                      <a:pt x="4727" y="2418"/>
                      <a:pt x="4726" y="2400"/>
                    </a:cubicBezTo>
                    <a:cubicBezTo>
                      <a:pt x="4715" y="2276"/>
                      <a:pt x="4656" y="2156"/>
                      <a:pt x="4561" y="2061"/>
                    </a:cubicBezTo>
                    <a:cubicBezTo>
                      <a:pt x="4489" y="1989"/>
                      <a:pt x="4403" y="1937"/>
                      <a:pt x="4311" y="1910"/>
                    </a:cubicBezTo>
                    <a:lnTo>
                      <a:pt x="5358" y="866"/>
                    </a:lnTo>
                    <a:cubicBezTo>
                      <a:pt x="5530" y="693"/>
                      <a:pt x="5505" y="386"/>
                      <a:pt x="5301" y="182"/>
                    </a:cubicBezTo>
                    <a:cubicBezTo>
                      <a:pt x="5206" y="87"/>
                      <a:pt x="5085" y="27"/>
                      <a:pt x="4960" y="14"/>
                    </a:cubicBezTo>
                    <a:cubicBezTo>
                      <a:pt x="4827" y="0"/>
                      <a:pt x="4703" y="40"/>
                      <a:pt x="4617" y="125"/>
                    </a:cubicBezTo>
                    <a:lnTo>
                      <a:pt x="3098" y="1641"/>
                    </a:lnTo>
                    <a:cubicBezTo>
                      <a:pt x="3019" y="1312"/>
                      <a:pt x="2647" y="1045"/>
                      <a:pt x="2601" y="1014"/>
                    </a:cubicBezTo>
                    <a:lnTo>
                      <a:pt x="2518" y="956"/>
                    </a:lnTo>
                    <a:lnTo>
                      <a:pt x="835" y="2640"/>
                    </a:lnTo>
                    <a:lnTo>
                      <a:pt x="0" y="4786"/>
                    </a:lnTo>
                    <a:lnTo>
                      <a:pt x="2052" y="6838"/>
                    </a:lnTo>
                    <a:lnTo>
                      <a:pt x="3175" y="6463"/>
                    </a:lnTo>
                    <a:lnTo>
                      <a:pt x="5760" y="3878"/>
                    </a:lnTo>
                    <a:cubicBezTo>
                      <a:pt x="5931" y="3708"/>
                      <a:pt x="5903" y="3403"/>
                      <a:pt x="5699" y="3199"/>
                    </a:cubicBezTo>
                    <a:close/>
                    <a:moveTo>
                      <a:pt x="5589" y="3707"/>
                    </a:moveTo>
                    <a:lnTo>
                      <a:pt x="3044" y="6252"/>
                    </a:lnTo>
                    <a:lnTo>
                      <a:pt x="2118" y="6561"/>
                    </a:lnTo>
                    <a:lnTo>
                      <a:pt x="283" y="4726"/>
                    </a:lnTo>
                    <a:lnTo>
                      <a:pt x="1042" y="2775"/>
                    </a:lnTo>
                    <a:lnTo>
                      <a:pt x="2543" y="1274"/>
                    </a:lnTo>
                    <a:cubicBezTo>
                      <a:pt x="2670" y="1380"/>
                      <a:pt x="2854" y="1568"/>
                      <a:pt x="2869" y="1739"/>
                    </a:cubicBezTo>
                    <a:cubicBezTo>
                      <a:pt x="2876" y="1813"/>
                      <a:pt x="2850" y="1876"/>
                      <a:pt x="2788" y="1939"/>
                    </a:cubicBezTo>
                    <a:lnTo>
                      <a:pt x="2110" y="2627"/>
                    </a:lnTo>
                    <a:lnTo>
                      <a:pt x="2281" y="2798"/>
                    </a:lnTo>
                    <a:lnTo>
                      <a:pt x="4789" y="297"/>
                    </a:lnTo>
                    <a:cubicBezTo>
                      <a:pt x="4822" y="263"/>
                      <a:pt x="4874" y="248"/>
                      <a:pt x="4934" y="255"/>
                    </a:cubicBezTo>
                    <a:cubicBezTo>
                      <a:pt x="5003" y="262"/>
                      <a:pt x="5074" y="298"/>
                      <a:pt x="5130" y="354"/>
                    </a:cubicBezTo>
                    <a:cubicBezTo>
                      <a:pt x="5236" y="459"/>
                      <a:pt x="5262" y="619"/>
                      <a:pt x="5187" y="694"/>
                    </a:cubicBezTo>
                    <a:lnTo>
                      <a:pt x="3477" y="2400"/>
                    </a:lnTo>
                    <a:lnTo>
                      <a:pt x="3648" y="2571"/>
                    </a:lnTo>
                    <a:lnTo>
                      <a:pt x="4049" y="2175"/>
                    </a:lnTo>
                    <a:cubicBezTo>
                      <a:pt x="4082" y="2141"/>
                      <a:pt x="4134" y="2126"/>
                      <a:pt x="4194" y="2133"/>
                    </a:cubicBezTo>
                    <a:cubicBezTo>
                      <a:pt x="4263" y="2140"/>
                      <a:pt x="4334" y="2176"/>
                      <a:pt x="4390" y="2232"/>
                    </a:cubicBezTo>
                    <a:cubicBezTo>
                      <a:pt x="4445" y="2287"/>
                      <a:pt x="4479" y="2354"/>
                      <a:pt x="4484" y="2421"/>
                    </a:cubicBezTo>
                    <a:cubicBezTo>
                      <a:pt x="4490" y="2479"/>
                      <a:pt x="4473" y="2530"/>
                      <a:pt x="4439" y="2565"/>
                    </a:cubicBezTo>
                    <a:lnTo>
                      <a:pt x="3983" y="3020"/>
                    </a:lnTo>
                    <a:lnTo>
                      <a:pt x="4155" y="3191"/>
                    </a:lnTo>
                    <a:lnTo>
                      <a:pt x="4610" y="2736"/>
                    </a:lnTo>
                    <a:cubicBezTo>
                      <a:pt x="4642" y="2704"/>
                      <a:pt x="4695" y="2690"/>
                      <a:pt x="4757" y="2697"/>
                    </a:cubicBezTo>
                    <a:cubicBezTo>
                      <a:pt x="4829" y="2707"/>
                      <a:pt x="4902" y="2744"/>
                      <a:pt x="4959" y="2801"/>
                    </a:cubicBezTo>
                    <a:cubicBezTo>
                      <a:pt x="5064" y="2906"/>
                      <a:pt x="5086" y="3055"/>
                      <a:pt x="5008" y="3133"/>
                    </a:cubicBezTo>
                    <a:lnTo>
                      <a:pt x="5008" y="3133"/>
                    </a:lnTo>
                    <a:lnTo>
                      <a:pt x="4552" y="3589"/>
                    </a:lnTo>
                    <a:lnTo>
                      <a:pt x="4724" y="3760"/>
                    </a:lnTo>
                    <a:lnTo>
                      <a:pt x="5179" y="3305"/>
                    </a:lnTo>
                    <a:cubicBezTo>
                      <a:pt x="5246" y="3238"/>
                      <a:pt x="5410" y="3252"/>
                      <a:pt x="5528" y="3370"/>
                    </a:cubicBezTo>
                    <a:cubicBezTo>
                      <a:pt x="5636" y="3478"/>
                      <a:pt x="5664" y="3632"/>
                      <a:pt x="5589" y="3707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</p:grpSp>
        <p:grpSp>
          <p:nvGrpSpPr>
            <p:cNvPr id="250" name="íṡliḍè">
              <a:extLst>
                <a:ext uri="{FF2B5EF4-FFF2-40B4-BE49-F238E27FC236}">
                  <a16:creationId xmlns:a16="http://schemas.microsoft.com/office/drawing/2014/main" id="{4BDB4B82-E22D-422F-8C64-E9D89BF06608}"/>
                </a:ext>
              </a:extLst>
            </p:cNvPr>
            <p:cNvGrpSpPr/>
            <p:nvPr/>
          </p:nvGrpSpPr>
          <p:grpSpPr>
            <a:xfrm>
              <a:off x="8245851" y="4638783"/>
              <a:ext cx="2746610" cy="1274619"/>
              <a:chOff x="8245851" y="4638783"/>
              <a:chExt cx="2746610" cy="1274619"/>
            </a:xfrm>
          </p:grpSpPr>
          <p:sp>
            <p:nvSpPr>
              <p:cNvPr id="257" name="î$ḻîḋé">
                <a:extLst>
                  <a:ext uri="{FF2B5EF4-FFF2-40B4-BE49-F238E27FC236}">
                    <a16:creationId xmlns:a16="http://schemas.microsoft.com/office/drawing/2014/main" id="{1FB7FCD3-AFAC-4D8E-94CB-D8D6DCDDB045}"/>
                  </a:ext>
                </a:extLst>
              </p:cNvPr>
              <p:cNvSpPr txBox="1"/>
              <p:nvPr/>
            </p:nvSpPr>
            <p:spPr bwMode="auto">
              <a:xfrm>
                <a:off x="8884398" y="4638783"/>
                <a:ext cx="2108063" cy="127461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90000" tIns="46800" rIns="90000" bIns="46800" anchor="ctr">
                <a:normAutofit/>
              </a:bodyPr>
              <a:lstStyle/>
              <a:p>
                <a:r>
                  <a:rPr lang="zh-CN" altLang="en-US" sz="3200" b="1" dirty="0"/>
                  <a:t>复 查</a:t>
                </a:r>
              </a:p>
            </p:txBody>
          </p:sp>
          <p:sp>
            <p:nvSpPr>
              <p:cNvPr id="258" name="íšḷîḑé">
                <a:extLst>
                  <a:ext uri="{FF2B5EF4-FFF2-40B4-BE49-F238E27FC236}">
                    <a16:creationId xmlns:a16="http://schemas.microsoft.com/office/drawing/2014/main" id="{11F59FAA-787D-4B1A-BB43-89849E3A0919}"/>
                  </a:ext>
                </a:extLst>
              </p:cNvPr>
              <p:cNvSpPr/>
              <p:nvPr/>
            </p:nvSpPr>
            <p:spPr bwMode="auto">
              <a:xfrm>
                <a:off x="8245851" y="5031375"/>
                <a:ext cx="461080" cy="460387"/>
              </a:xfrm>
              <a:custGeom>
                <a:avLst/>
                <a:gdLst>
                  <a:gd name="T0" fmla="*/ 6794 w 6860"/>
                  <a:gd name="T1" fmla="*/ 3307 h 6860"/>
                  <a:gd name="T2" fmla="*/ 5828 w 6860"/>
                  <a:gd name="T3" fmla="*/ 2341 h 6860"/>
                  <a:gd name="T4" fmla="*/ 5586 w 6860"/>
                  <a:gd name="T5" fmla="*/ 2341 h 6860"/>
                  <a:gd name="T6" fmla="*/ 5586 w 6860"/>
                  <a:gd name="T7" fmla="*/ 2582 h 6860"/>
                  <a:gd name="T8" fmla="*/ 6261 w 6860"/>
                  <a:gd name="T9" fmla="*/ 3257 h 6860"/>
                  <a:gd name="T10" fmla="*/ 3601 w 6860"/>
                  <a:gd name="T11" fmla="*/ 3257 h 6860"/>
                  <a:gd name="T12" fmla="*/ 3601 w 6860"/>
                  <a:gd name="T13" fmla="*/ 600 h 6860"/>
                  <a:gd name="T14" fmla="*/ 4276 w 6860"/>
                  <a:gd name="T15" fmla="*/ 1275 h 6860"/>
                  <a:gd name="T16" fmla="*/ 4517 w 6860"/>
                  <a:gd name="T17" fmla="*/ 1275 h 6860"/>
                  <a:gd name="T18" fmla="*/ 4517 w 6860"/>
                  <a:gd name="T19" fmla="*/ 1033 h 6860"/>
                  <a:gd name="T20" fmla="*/ 3551 w 6860"/>
                  <a:gd name="T21" fmla="*/ 67 h 6860"/>
                  <a:gd name="T22" fmla="*/ 3310 w 6860"/>
                  <a:gd name="T23" fmla="*/ 67 h 6860"/>
                  <a:gd name="T24" fmla="*/ 2343 w 6860"/>
                  <a:gd name="T25" fmla="*/ 1033 h 6860"/>
                  <a:gd name="T26" fmla="*/ 2343 w 6860"/>
                  <a:gd name="T27" fmla="*/ 1275 h 6860"/>
                  <a:gd name="T28" fmla="*/ 2585 w 6860"/>
                  <a:gd name="T29" fmla="*/ 1275 h 6860"/>
                  <a:gd name="T30" fmla="*/ 3260 w 6860"/>
                  <a:gd name="T31" fmla="*/ 600 h 6860"/>
                  <a:gd name="T32" fmla="*/ 3260 w 6860"/>
                  <a:gd name="T33" fmla="*/ 3257 h 6860"/>
                  <a:gd name="T34" fmla="*/ 600 w 6860"/>
                  <a:gd name="T35" fmla="*/ 3257 h 6860"/>
                  <a:gd name="T36" fmla="*/ 1275 w 6860"/>
                  <a:gd name="T37" fmla="*/ 2583 h 6860"/>
                  <a:gd name="T38" fmla="*/ 1275 w 6860"/>
                  <a:gd name="T39" fmla="*/ 2341 h 6860"/>
                  <a:gd name="T40" fmla="*/ 1033 w 6860"/>
                  <a:gd name="T41" fmla="*/ 2341 h 6860"/>
                  <a:gd name="T42" fmla="*/ 67 w 6860"/>
                  <a:gd name="T43" fmla="*/ 3307 h 6860"/>
                  <a:gd name="T44" fmla="*/ 67 w 6860"/>
                  <a:gd name="T45" fmla="*/ 3549 h 6860"/>
                  <a:gd name="T46" fmla="*/ 1033 w 6860"/>
                  <a:gd name="T47" fmla="*/ 4515 h 6860"/>
                  <a:gd name="T48" fmla="*/ 1275 w 6860"/>
                  <a:gd name="T49" fmla="*/ 4515 h 6860"/>
                  <a:gd name="T50" fmla="*/ 1275 w 6860"/>
                  <a:gd name="T51" fmla="*/ 4273 h 6860"/>
                  <a:gd name="T52" fmla="*/ 600 w 6860"/>
                  <a:gd name="T53" fmla="*/ 3599 h 6860"/>
                  <a:gd name="T54" fmla="*/ 3260 w 6860"/>
                  <a:gd name="T55" fmla="*/ 3599 h 6860"/>
                  <a:gd name="T56" fmla="*/ 3260 w 6860"/>
                  <a:gd name="T57" fmla="*/ 6261 h 6860"/>
                  <a:gd name="T58" fmla="*/ 2585 w 6860"/>
                  <a:gd name="T59" fmla="*/ 5586 h 6860"/>
                  <a:gd name="T60" fmla="*/ 2344 w 6860"/>
                  <a:gd name="T61" fmla="*/ 5586 h 6860"/>
                  <a:gd name="T62" fmla="*/ 2344 w 6860"/>
                  <a:gd name="T63" fmla="*/ 5827 h 6860"/>
                  <a:gd name="T64" fmla="*/ 3310 w 6860"/>
                  <a:gd name="T65" fmla="*/ 6794 h 6860"/>
                  <a:gd name="T66" fmla="*/ 3551 w 6860"/>
                  <a:gd name="T67" fmla="*/ 6794 h 6860"/>
                  <a:gd name="T68" fmla="*/ 4517 w 6860"/>
                  <a:gd name="T69" fmla="*/ 5828 h 6860"/>
                  <a:gd name="T70" fmla="*/ 4517 w 6860"/>
                  <a:gd name="T71" fmla="*/ 5586 h 6860"/>
                  <a:gd name="T72" fmla="*/ 4276 w 6860"/>
                  <a:gd name="T73" fmla="*/ 5586 h 6860"/>
                  <a:gd name="T74" fmla="*/ 3601 w 6860"/>
                  <a:gd name="T75" fmla="*/ 6261 h 6860"/>
                  <a:gd name="T76" fmla="*/ 3601 w 6860"/>
                  <a:gd name="T77" fmla="*/ 3599 h 6860"/>
                  <a:gd name="T78" fmla="*/ 6261 w 6860"/>
                  <a:gd name="T79" fmla="*/ 3599 h 6860"/>
                  <a:gd name="T80" fmla="*/ 5586 w 6860"/>
                  <a:gd name="T81" fmla="*/ 4273 h 6860"/>
                  <a:gd name="T82" fmla="*/ 5586 w 6860"/>
                  <a:gd name="T83" fmla="*/ 4515 h 6860"/>
                  <a:gd name="T84" fmla="*/ 5828 w 6860"/>
                  <a:gd name="T85" fmla="*/ 4515 h 6860"/>
                  <a:gd name="T86" fmla="*/ 6794 w 6860"/>
                  <a:gd name="T87" fmla="*/ 3549 h 6860"/>
                  <a:gd name="T88" fmla="*/ 6794 w 6860"/>
                  <a:gd name="T89" fmla="*/ 3307 h 68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6860" h="6860">
                    <a:moveTo>
                      <a:pt x="6794" y="3307"/>
                    </a:moveTo>
                    <a:lnTo>
                      <a:pt x="5828" y="2341"/>
                    </a:lnTo>
                    <a:cubicBezTo>
                      <a:pt x="5761" y="2274"/>
                      <a:pt x="5653" y="2274"/>
                      <a:pt x="5586" y="2341"/>
                    </a:cubicBezTo>
                    <a:cubicBezTo>
                      <a:pt x="5519" y="2408"/>
                      <a:pt x="5519" y="2516"/>
                      <a:pt x="5586" y="2582"/>
                    </a:cubicBezTo>
                    <a:lnTo>
                      <a:pt x="6261" y="3257"/>
                    </a:lnTo>
                    <a:lnTo>
                      <a:pt x="3601" y="3257"/>
                    </a:lnTo>
                    <a:lnTo>
                      <a:pt x="3601" y="600"/>
                    </a:lnTo>
                    <a:lnTo>
                      <a:pt x="4276" y="1275"/>
                    </a:lnTo>
                    <a:cubicBezTo>
                      <a:pt x="4343" y="1342"/>
                      <a:pt x="4450" y="1342"/>
                      <a:pt x="4517" y="1275"/>
                    </a:cubicBezTo>
                    <a:cubicBezTo>
                      <a:pt x="4584" y="1208"/>
                      <a:pt x="4584" y="1100"/>
                      <a:pt x="4517" y="1033"/>
                    </a:cubicBezTo>
                    <a:lnTo>
                      <a:pt x="3551" y="67"/>
                    </a:lnTo>
                    <a:cubicBezTo>
                      <a:pt x="3484" y="0"/>
                      <a:pt x="3376" y="0"/>
                      <a:pt x="3310" y="67"/>
                    </a:cubicBezTo>
                    <a:lnTo>
                      <a:pt x="2343" y="1033"/>
                    </a:lnTo>
                    <a:cubicBezTo>
                      <a:pt x="2277" y="1100"/>
                      <a:pt x="2277" y="1208"/>
                      <a:pt x="2343" y="1275"/>
                    </a:cubicBezTo>
                    <a:cubicBezTo>
                      <a:pt x="2410" y="1342"/>
                      <a:pt x="2518" y="1342"/>
                      <a:pt x="2585" y="1275"/>
                    </a:cubicBezTo>
                    <a:lnTo>
                      <a:pt x="3260" y="600"/>
                    </a:lnTo>
                    <a:lnTo>
                      <a:pt x="3260" y="3257"/>
                    </a:lnTo>
                    <a:lnTo>
                      <a:pt x="600" y="3257"/>
                    </a:lnTo>
                    <a:lnTo>
                      <a:pt x="1275" y="2583"/>
                    </a:lnTo>
                    <a:cubicBezTo>
                      <a:pt x="1342" y="2516"/>
                      <a:pt x="1342" y="2408"/>
                      <a:pt x="1275" y="2341"/>
                    </a:cubicBezTo>
                    <a:cubicBezTo>
                      <a:pt x="1208" y="2274"/>
                      <a:pt x="1100" y="2274"/>
                      <a:pt x="1033" y="2341"/>
                    </a:cubicBezTo>
                    <a:lnTo>
                      <a:pt x="67" y="3307"/>
                    </a:lnTo>
                    <a:cubicBezTo>
                      <a:pt x="0" y="3374"/>
                      <a:pt x="0" y="3482"/>
                      <a:pt x="67" y="3549"/>
                    </a:cubicBezTo>
                    <a:lnTo>
                      <a:pt x="1033" y="4515"/>
                    </a:lnTo>
                    <a:cubicBezTo>
                      <a:pt x="1100" y="4582"/>
                      <a:pt x="1208" y="4582"/>
                      <a:pt x="1275" y="4515"/>
                    </a:cubicBezTo>
                    <a:cubicBezTo>
                      <a:pt x="1342" y="4448"/>
                      <a:pt x="1342" y="4340"/>
                      <a:pt x="1275" y="4273"/>
                    </a:cubicBezTo>
                    <a:lnTo>
                      <a:pt x="600" y="3599"/>
                    </a:lnTo>
                    <a:lnTo>
                      <a:pt x="3260" y="3599"/>
                    </a:lnTo>
                    <a:lnTo>
                      <a:pt x="3260" y="6261"/>
                    </a:lnTo>
                    <a:lnTo>
                      <a:pt x="2585" y="5586"/>
                    </a:lnTo>
                    <a:cubicBezTo>
                      <a:pt x="2518" y="5519"/>
                      <a:pt x="2410" y="5519"/>
                      <a:pt x="2344" y="5586"/>
                    </a:cubicBezTo>
                    <a:cubicBezTo>
                      <a:pt x="2277" y="5653"/>
                      <a:pt x="2277" y="5761"/>
                      <a:pt x="2344" y="5827"/>
                    </a:cubicBezTo>
                    <a:lnTo>
                      <a:pt x="3310" y="6794"/>
                    </a:lnTo>
                    <a:cubicBezTo>
                      <a:pt x="3376" y="6860"/>
                      <a:pt x="3484" y="6860"/>
                      <a:pt x="3551" y="6794"/>
                    </a:cubicBezTo>
                    <a:lnTo>
                      <a:pt x="4517" y="5828"/>
                    </a:lnTo>
                    <a:cubicBezTo>
                      <a:pt x="4584" y="5761"/>
                      <a:pt x="4584" y="5653"/>
                      <a:pt x="4517" y="5586"/>
                    </a:cubicBezTo>
                    <a:cubicBezTo>
                      <a:pt x="4451" y="5519"/>
                      <a:pt x="4343" y="5519"/>
                      <a:pt x="4276" y="5586"/>
                    </a:cubicBezTo>
                    <a:lnTo>
                      <a:pt x="3601" y="6261"/>
                    </a:lnTo>
                    <a:lnTo>
                      <a:pt x="3601" y="3599"/>
                    </a:lnTo>
                    <a:lnTo>
                      <a:pt x="6261" y="3599"/>
                    </a:lnTo>
                    <a:lnTo>
                      <a:pt x="5586" y="4273"/>
                    </a:lnTo>
                    <a:cubicBezTo>
                      <a:pt x="5519" y="4340"/>
                      <a:pt x="5519" y="4448"/>
                      <a:pt x="5586" y="4515"/>
                    </a:cubicBezTo>
                    <a:cubicBezTo>
                      <a:pt x="5653" y="4582"/>
                      <a:pt x="5761" y="4582"/>
                      <a:pt x="5828" y="4515"/>
                    </a:cubicBezTo>
                    <a:lnTo>
                      <a:pt x="6794" y="3549"/>
                    </a:lnTo>
                    <a:cubicBezTo>
                      <a:pt x="6860" y="3482"/>
                      <a:pt x="6860" y="3374"/>
                      <a:pt x="6794" y="3307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</p:grpSp>
        <p:cxnSp>
          <p:nvCxnSpPr>
            <p:cNvPr id="251" name="直接连接符 250">
              <a:extLst>
                <a:ext uri="{FF2B5EF4-FFF2-40B4-BE49-F238E27FC236}">
                  <a16:creationId xmlns:a16="http://schemas.microsoft.com/office/drawing/2014/main" id="{0D9A1A10-2601-4992-9DCA-16796216580B}"/>
                </a:ext>
              </a:extLst>
            </p:cNvPr>
            <p:cNvCxnSpPr/>
            <p:nvPr/>
          </p:nvCxnSpPr>
          <p:spPr>
            <a:xfrm>
              <a:off x="8245851" y="3604223"/>
              <a:ext cx="2746610" cy="0"/>
            </a:xfrm>
            <a:prstGeom prst="line">
              <a:avLst/>
            </a:prstGeom>
            <a:ln w="3175" cap="rnd">
              <a:solidFill>
                <a:schemeClr val="bg1">
                  <a:lumMod val="85000"/>
                </a:schemeClr>
              </a:solidFill>
              <a:round/>
              <a:headEnd type="none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2" name="直接连接符 251">
              <a:extLst>
                <a:ext uri="{FF2B5EF4-FFF2-40B4-BE49-F238E27FC236}">
                  <a16:creationId xmlns:a16="http://schemas.microsoft.com/office/drawing/2014/main" id="{A58F907B-7DEF-4C52-8C4E-C2D0F30030D1}"/>
                </a:ext>
              </a:extLst>
            </p:cNvPr>
            <p:cNvCxnSpPr/>
            <p:nvPr/>
          </p:nvCxnSpPr>
          <p:spPr>
            <a:xfrm>
              <a:off x="8245851" y="4819872"/>
              <a:ext cx="2746610" cy="0"/>
            </a:xfrm>
            <a:prstGeom prst="line">
              <a:avLst/>
            </a:prstGeom>
            <a:ln w="3175" cap="rnd">
              <a:solidFill>
                <a:schemeClr val="bg1">
                  <a:lumMod val="85000"/>
                </a:schemeClr>
              </a:solidFill>
              <a:round/>
              <a:headEnd type="none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06692307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 2">
            <a:extLst>
              <a:ext uri="{FF2B5EF4-FFF2-40B4-BE49-F238E27FC236}">
                <a16:creationId xmlns:a16="http://schemas.microsoft.com/office/drawing/2014/main" id="{289B36EA-6D21-4353-8C9E-4A9A187A2134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2508"/>
          <a:stretch/>
        </p:blipFill>
        <p:spPr>
          <a:xfrm>
            <a:off x="1456735" y="1396114"/>
            <a:ext cx="9302631" cy="3241235"/>
          </a:xfrm>
          <a:prstGeom prst="rect">
            <a:avLst/>
          </a:prstGeom>
        </p:spPr>
      </p:pic>
      <p:pic>
        <p:nvPicPr>
          <p:cNvPr id="4" name="图片 3">
            <a:extLst>
              <a:ext uri="{FF2B5EF4-FFF2-40B4-BE49-F238E27FC236}">
                <a16:creationId xmlns:a16="http://schemas.microsoft.com/office/drawing/2014/main" id="{19271F5D-12FA-44BD-8F3D-ADD32D675EE6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b="29832"/>
          <a:stretch/>
        </p:blipFill>
        <p:spPr>
          <a:xfrm>
            <a:off x="1437571" y="4593265"/>
            <a:ext cx="9059784" cy="1988289"/>
          </a:xfrm>
          <a:prstGeom prst="rect">
            <a:avLst/>
          </a:prstGeom>
        </p:spPr>
      </p:pic>
      <p:sp>
        <p:nvSpPr>
          <p:cNvPr id="5" name="文本框 4">
            <a:extLst>
              <a:ext uri="{FF2B5EF4-FFF2-40B4-BE49-F238E27FC236}">
                <a16:creationId xmlns:a16="http://schemas.microsoft.com/office/drawing/2014/main" id="{A31871B4-EC0A-4045-AC0A-24EF05EAF54C}"/>
              </a:ext>
            </a:extLst>
          </p:cNvPr>
          <p:cNvSpPr txBox="1"/>
          <p:nvPr/>
        </p:nvSpPr>
        <p:spPr>
          <a:xfrm>
            <a:off x="669925" y="539603"/>
            <a:ext cx="5454503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4000" b="1" dirty="0"/>
              <a:t>临床表现</a:t>
            </a:r>
          </a:p>
        </p:txBody>
      </p:sp>
    </p:spTree>
    <p:extLst>
      <p:ext uri="{BB962C8B-B14F-4D97-AF65-F5344CB8AC3E}">
        <p14:creationId xmlns:p14="http://schemas.microsoft.com/office/powerpoint/2010/main" val="35179359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A6A819F1-33AF-45D7-8BF6-2B0A9769CAD4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0969869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7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A6A819F1-33AF-45D7-8BF6-2B0A9769CA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FF51F16D-1BAD-46EE-A6F4-B8B94C9DF628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标题 4"/>
          <p:cNvSpPr>
            <a:spLocks noGrp="1"/>
          </p:cNvSpPr>
          <p:nvPr>
            <p:ph type="ctrTitle"/>
          </p:nvPr>
        </p:nvSpPr>
        <p:spPr>
          <a:xfrm>
            <a:off x="5924258" y="1734575"/>
            <a:ext cx="5596230" cy="2622847"/>
          </a:xfrm>
        </p:spPr>
        <p:txBody>
          <a:bodyPr/>
          <a:lstStyle/>
          <a:p>
            <a:r>
              <a:rPr lang="en-US" altLang="zh-CN" sz="9600" dirty="0"/>
              <a:t>Thanks</a:t>
            </a:r>
            <a:br>
              <a:rPr lang="en-US" altLang="zh-CN" dirty="0"/>
            </a:br>
            <a:r>
              <a:rPr lang="zh-CN" altLang="en-US" sz="8800" dirty="0"/>
              <a:t>谢谢聆听</a:t>
            </a:r>
            <a:endParaRPr lang="zh-CN" altLang="en-US" dirty="0"/>
          </a:p>
        </p:txBody>
      </p:sp>
      <p:pic>
        <p:nvPicPr>
          <p:cNvPr id="11" name="图片 10">
            <a:extLst>
              <a:ext uri="{FF2B5EF4-FFF2-40B4-BE49-F238E27FC236}">
                <a16:creationId xmlns:a16="http://schemas.microsoft.com/office/drawing/2014/main" id="{D53244C7-30BC-458A-AD08-15898E433729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904303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1">
            <a:extLst>
              <a:ext uri="{FF2B5EF4-FFF2-40B4-BE49-F238E27FC236}">
                <a16:creationId xmlns:a16="http://schemas.microsoft.com/office/drawing/2014/main" id="{00163FA2-BE10-4B14-8CF4-B369EBC60C9C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488" t="3025" r="7886" b="3046"/>
          <a:stretch/>
        </p:blipFill>
        <p:spPr>
          <a:xfrm>
            <a:off x="1382233" y="1775637"/>
            <a:ext cx="9441711" cy="4361638"/>
          </a:xfrm>
          <a:prstGeom prst="rect">
            <a:avLst/>
          </a:prstGeom>
        </p:spPr>
      </p:pic>
      <p:sp>
        <p:nvSpPr>
          <p:cNvPr id="3" name="文本框 2">
            <a:extLst>
              <a:ext uri="{FF2B5EF4-FFF2-40B4-BE49-F238E27FC236}">
                <a16:creationId xmlns:a16="http://schemas.microsoft.com/office/drawing/2014/main" id="{9B60BF93-EA8A-46AD-9628-FAD9C828F3E8}"/>
              </a:ext>
            </a:extLst>
          </p:cNvPr>
          <p:cNvSpPr txBox="1"/>
          <p:nvPr/>
        </p:nvSpPr>
        <p:spPr>
          <a:xfrm>
            <a:off x="669925" y="422414"/>
            <a:ext cx="5454503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4000" b="1" dirty="0"/>
              <a:t>辅助检查</a:t>
            </a:r>
          </a:p>
        </p:txBody>
      </p:sp>
    </p:spTree>
    <p:extLst>
      <p:ext uri="{BB962C8B-B14F-4D97-AF65-F5344CB8AC3E}">
        <p14:creationId xmlns:p14="http://schemas.microsoft.com/office/powerpoint/2010/main" val="81477025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>
            <a:extLst>
              <a:ext uri="{FF2B5EF4-FFF2-40B4-BE49-F238E27FC236}">
                <a16:creationId xmlns:a16="http://schemas.microsoft.com/office/drawing/2014/main" id="{429882B7-549D-4F71-B66B-5D0C741E0E04}"/>
              </a:ext>
            </a:extLst>
          </p:cNvPr>
          <p:cNvSpPr txBox="1"/>
          <p:nvPr/>
        </p:nvSpPr>
        <p:spPr>
          <a:xfrm>
            <a:off x="669925" y="422414"/>
            <a:ext cx="5454503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4000" b="1" dirty="0"/>
              <a:t>处理原则</a:t>
            </a:r>
          </a:p>
        </p:txBody>
      </p:sp>
      <p:pic>
        <p:nvPicPr>
          <p:cNvPr id="3" name="图片 2">
            <a:extLst>
              <a:ext uri="{FF2B5EF4-FFF2-40B4-BE49-F238E27FC236}">
                <a16:creationId xmlns:a16="http://schemas.microsoft.com/office/drawing/2014/main" id="{051DF958-3E57-4CE6-8CED-BDA5DCA6643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2230" y="1077153"/>
            <a:ext cx="8940748" cy="2983879"/>
          </a:xfrm>
          <a:prstGeom prst="rect">
            <a:avLst/>
          </a:prstGeom>
        </p:spPr>
      </p:pic>
      <p:pic>
        <p:nvPicPr>
          <p:cNvPr id="4" name="图片 3">
            <a:extLst>
              <a:ext uri="{FF2B5EF4-FFF2-40B4-BE49-F238E27FC236}">
                <a16:creationId xmlns:a16="http://schemas.microsoft.com/office/drawing/2014/main" id="{0546C813-9A04-4586-A465-3A85AF6E8ED1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" r="1175"/>
          <a:stretch/>
        </p:blipFill>
        <p:spPr>
          <a:xfrm>
            <a:off x="2536965" y="4116955"/>
            <a:ext cx="6910174" cy="2645352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16420520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框 2">
            <a:extLst>
              <a:ext uri="{FF2B5EF4-FFF2-40B4-BE49-F238E27FC236}">
                <a16:creationId xmlns:a16="http://schemas.microsoft.com/office/drawing/2014/main" id="{9B60BF93-EA8A-46AD-9628-FAD9C828F3E8}"/>
              </a:ext>
            </a:extLst>
          </p:cNvPr>
          <p:cNvSpPr txBox="1"/>
          <p:nvPr/>
        </p:nvSpPr>
        <p:spPr>
          <a:xfrm>
            <a:off x="669925" y="422414"/>
            <a:ext cx="5454503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4000" b="1" dirty="0"/>
              <a:t>处理原则</a:t>
            </a:r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9B09AEDA-80F4-4286-A119-D7DD89D21192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3552"/>
          <a:stretch/>
        </p:blipFill>
        <p:spPr>
          <a:xfrm>
            <a:off x="606127" y="1130300"/>
            <a:ext cx="9526701" cy="3579925"/>
          </a:xfrm>
          <a:prstGeom prst="rect">
            <a:avLst/>
          </a:prstGeom>
        </p:spPr>
      </p:pic>
      <p:pic>
        <p:nvPicPr>
          <p:cNvPr id="5" name="图片 4">
            <a:extLst>
              <a:ext uri="{FF2B5EF4-FFF2-40B4-BE49-F238E27FC236}">
                <a16:creationId xmlns:a16="http://schemas.microsoft.com/office/drawing/2014/main" id="{4FAD3E4F-1E79-460E-B462-931DA7B8000A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877" r="1422"/>
          <a:stretch/>
        </p:blipFill>
        <p:spPr>
          <a:xfrm>
            <a:off x="5890437" y="2806707"/>
            <a:ext cx="5922335" cy="3806743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6" name="文本框 5">
            <a:extLst>
              <a:ext uri="{FF2B5EF4-FFF2-40B4-BE49-F238E27FC236}">
                <a16:creationId xmlns:a16="http://schemas.microsoft.com/office/drawing/2014/main" id="{E43BC879-3B61-4C85-8CA0-70044287DBF2}"/>
              </a:ext>
            </a:extLst>
          </p:cNvPr>
          <p:cNvSpPr txBox="1"/>
          <p:nvPr/>
        </p:nvSpPr>
        <p:spPr>
          <a:xfrm>
            <a:off x="6638335" y="6273225"/>
            <a:ext cx="545450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3200" b="1" dirty="0"/>
              <a:t>吻合器痔上粘膜环切术</a:t>
            </a:r>
          </a:p>
        </p:txBody>
      </p:sp>
    </p:spTree>
    <p:extLst>
      <p:ext uri="{BB962C8B-B14F-4D97-AF65-F5344CB8AC3E}">
        <p14:creationId xmlns:p14="http://schemas.microsoft.com/office/powerpoint/2010/main" val="132102568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框 2">
            <a:extLst>
              <a:ext uri="{FF2B5EF4-FFF2-40B4-BE49-F238E27FC236}">
                <a16:creationId xmlns:a16="http://schemas.microsoft.com/office/drawing/2014/main" id="{9B60BF93-EA8A-46AD-9628-FAD9C828F3E8}"/>
              </a:ext>
            </a:extLst>
          </p:cNvPr>
          <p:cNvSpPr txBox="1"/>
          <p:nvPr/>
        </p:nvSpPr>
        <p:spPr>
          <a:xfrm>
            <a:off x="669925" y="422414"/>
            <a:ext cx="5454503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4000" b="1" dirty="0"/>
              <a:t>常见护理诊断</a:t>
            </a:r>
            <a:r>
              <a:rPr lang="en-US" altLang="zh-CN" sz="4000" b="1" dirty="0"/>
              <a:t>/</a:t>
            </a:r>
            <a:r>
              <a:rPr lang="zh-CN" altLang="en-US" sz="4000" b="1" dirty="0"/>
              <a:t>问题</a:t>
            </a:r>
          </a:p>
        </p:txBody>
      </p:sp>
      <p:grpSp>
        <p:nvGrpSpPr>
          <p:cNvPr id="4" name="264745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2C6DE7A8-C6BA-4018-9390-7DA3D38B37D9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-251489" y="2094616"/>
            <a:ext cx="12443489" cy="3113439"/>
            <a:chOff x="660400" y="2701926"/>
            <a:chExt cx="10858500" cy="2716866"/>
          </a:xfrm>
        </p:grpSpPr>
        <p:sp>
          <p:nvSpPr>
            <p:cNvPr id="6" name="i$ľîḋê">
              <a:extLst>
                <a:ext uri="{FF2B5EF4-FFF2-40B4-BE49-F238E27FC236}">
                  <a16:creationId xmlns:a16="http://schemas.microsoft.com/office/drawing/2014/main" id="{D8F2F157-5237-4FC6-8706-FC9F24371330}"/>
                </a:ext>
              </a:extLst>
            </p:cNvPr>
            <p:cNvSpPr/>
            <p:nvPr/>
          </p:nvSpPr>
          <p:spPr>
            <a:xfrm>
              <a:off x="660400" y="3201766"/>
              <a:ext cx="10858500" cy="950392"/>
            </a:xfrm>
            <a:custGeom>
              <a:avLst/>
              <a:gdLst>
                <a:gd name="connsiteX0" fmla="*/ 0 w 8496300"/>
                <a:gd name="connsiteY0" fmla="*/ 185121 h 885655"/>
                <a:gd name="connsiteX1" fmla="*/ 1562100 w 8496300"/>
                <a:gd name="connsiteY1" fmla="*/ 4146 h 885655"/>
                <a:gd name="connsiteX2" fmla="*/ 2714625 w 8496300"/>
                <a:gd name="connsiteY2" fmla="*/ 70821 h 885655"/>
                <a:gd name="connsiteX3" fmla="*/ 3533775 w 8496300"/>
                <a:gd name="connsiteY3" fmla="*/ 213696 h 885655"/>
                <a:gd name="connsiteX4" fmla="*/ 4886325 w 8496300"/>
                <a:gd name="connsiteY4" fmla="*/ 632796 h 885655"/>
                <a:gd name="connsiteX5" fmla="*/ 5381625 w 8496300"/>
                <a:gd name="connsiteY5" fmla="*/ 756621 h 885655"/>
                <a:gd name="connsiteX6" fmla="*/ 5981700 w 8496300"/>
                <a:gd name="connsiteY6" fmla="*/ 880446 h 885655"/>
                <a:gd name="connsiteX7" fmla="*/ 7038975 w 8496300"/>
                <a:gd name="connsiteY7" fmla="*/ 842346 h 885655"/>
                <a:gd name="connsiteX8" fmla="*/ 7762875 w 8496300"/>
                <a:gd name="connsiteY8" fmla="*/ 661371 h 885655"/>
                <a:gd name="connsiteX9" fmla="*/ 8496300 w 8496300"/>
                <a:gd name="connsiteY9" fmla="*/ 394671 h 885655"/>
                <a:gd name="connsiteX0" fmla="*/ 0 w 8496300"/>
                <a:gd name="connsiteY0" fmla="*/ 187954 h 888488"/>
                <a:gd name="connsiteX1" fmla="*/ 1562100 w 8496300"/>
                <a:gd name="connsiteY1" fmla="*/ 6979 h 888488"/>
                <a:gd name="connsiteX2" fmla="*/ 2724150 w 8496300"/>
                <a:gd name="connsiteY2" fmla="*/ 54604 h 888488"/>
                <a:gd name="connsiteX3" fmla="*/ 3533775 w 8496300"/>
                <a:gd name="connsiteY3" fmla="*/ 216529 h 888488"/>
                <a:gd name="connsiteX4" fmla="*/ 4886325 w 8496300"/>
                <a:gd name="connsiteY4" fmla="*/ 635629 h 888488"/>
                <a:gd name="connsiteX5" fmla="*/ 5381625 w 8496300"/>
                <a:gd name="connsiteY5" fmla="*/ 759454 h 888488"/>
                <a:gd name="connsiteX6" fmla="*/ 5981700 w 8496300"/>
                <a:gd name="connsiteY6" fmla="*/ 883279 h 888488"/>
                <a:gd name="connsiteX7" fmla="*/ 7038975 w 8496300"/>
                <a:gd name="connsiteY7" fmla="*/ 845179 h 888488"/>
                <a:gd name="connsiteX8" fmla="*/ 7762875 w 8496300"/>
                <a:gd name="connsiteY8" fmla="*/ 664204 h 888488"/>
                <a:gd name="connsiteX9" fmla="*/ 8496300 w 8496300"/>
                <a:gd name="connsiteY9" fmla="*/ 397504 h 888488"/>
                <a:gd name="connsiteX0" fmla="*/ 0 w 8496300"/>
                <a:gd name="connsiteY0" fmla="*/ 187954 h 885882"/>
                <a:gd name="connsiteX1" fmla="*/ 1562100 w 8496300"/>
                <a:gd name="connsiteY1" fmla="*/ 6979 h 885882"/>
                <a:gd name="connsiteX2" fmla="*/ 2724150 w 8496300"/>
                <a:gd name="connsiteY2" fmla="*/ 54604 h 885882"/>
                <a:gd name="connsiteX3" fmla="*/ 3533775 w 8496300"/>
                <a:gd name="connsiteY3" fmla="*/ 216529 h 885882"/>
                <a:gd name="connsiteX4" fmla="*/ 4886325 w 8496300"/>
                <a:gd name="connsiteY4" fmla="*/ 635629 h 885882"/>
                <a:gd name="connsiteX5" fmla="*/ 5372100 w 8496300"/>
                <a:gd name="connsiteY5" fmla="*/ 797554 h 885882"/>
                <a:gd name="connsiteX6" fmla="*/ 5981700 w 8496300"/>
                <a:gd name="connsiteY6" fmla="*/ 883279 h 885882"/>
                <a:gd name="connsiteX7" fmla="*/ 7038975 w 8496300"/>
                <a:gd name="connsiteY7" fmla="*/ 845179 h 885882"/>
                <a:gd name="connsiteX8" fmla="*/ 7762875 w 8496300"/>
                <a:gd name="connsiteY8" fmla="*/ 664204 h 885882"/>
                <a:gd name="connsiteX9" fmla="*/ 8496300 w 8496300"/>
                <a:gd name="connsiteY9" fmla="*/ 397504 h 885882"/>
                <a:gd name="connsiteX0" fmla="*/ 0 w 8496300"/>
                <a:gd name="connsiteY0" fmla="*/ 187954 h 885882"/>
                <a:gd name="connsiteX1" fmla="*/ 1562100 w 8496300"/>
                <a:gd name="connsiteY1" fmla="*/ 6979 h 885882"/>
                <a:gd name="connsiteX2" fmla="*/ 2724150 w 8496300"/>
                <a:gd name="connsiteY2" fmla="*/ 54604 h 885882"/>
                <a:gd name="connsiteX3" fmla="*/ 3533775 w 8496300"/>
                <a:gd name="connsiteY3" fmla="*/ 216529 h 885882"/>
                <a:gd name="connsiteX4" fmla="*/ 4886325 w 8496300"/>
                <a:gd name="connsiteY4" fmla="*/ 635629 h 885882"/>
                <a:gd name="connsiteX5" fmla="*/ 5372100 w 8496300"/>
                <a:gd name="connsiteY5" fmla="*/ 797554 h 885882"/>
                <a:gd name="connsiteX6" fmla="*/ 6334125 w 8496300"/>
                <a:gd name="connsiteY6" fmla="*/ 883279 h 885882"/>
                <a:gd name="connsiteX7" fmla="*/ 7038975 w 8496300"/>
                <a:gd name="connsiteY7" fmla="*/ 845179 h 885882"/>
                <a:gd name="connsiteX8" fmla="*/ 7762875 w 8496300"/>
                <a:gd name="connsiteY8" fmla="*/ 664204 h 885882"/>
                <a:gd name="connsiteX9" fmla="*/ 8496300 w 8496300"/>
                <a:gd name="connsiteY9" fmla="*/ 397504 h 885882"/>
                <a:gd name="connsiteX0" fmla="*/ 0 w 8496300"/>
                <a:gd name="connsiteY0" fmla="*/ 187954 h 885882"/>
                <a:gd name="connsiteX1" fmla="*/ 1562100 w 8496300"/>
                <a:gd name="connsiteY1" fmla="*/ 6979 h 885882"/>
                <a:gd name="connsiteX2" fmla="*/ 2724150 w 8496300"/>
                <a:gd name="connsiteY2" fmla="*/ 54604 h 885882"/>
                <a:gd name="connsiteX3" fmla="*/ 3533775 w 8496300"/>
                <a:gd name="connsiteY3" fmla="*/ 216529 h 885882"/>
                <a:gd name="connsiteX4" fmla="*/ 4886325 w 8496300"/>
                <a:gd name="connsiteY4" fmla="*/ 635629 h 885882"/>
                <a:gd name="connsiteX5" fmla="*/ 5372100 w 8496300"/>
                <a:gd name="connsiteY5" fmla="*/ 797554 h 885882"/>
                <a:gd name="connsiteX6" fmla="*/ 6334125 w 8496300"/>
                <a:gd name="connsiteY6" fmla="*/ 883279 h 885882"/>
                <a:gd name="connsiteX7" fmla="*/ 7038975 w 8496300"/>
                <a:gd name="connsiteY7" fmla="*/ 845179 h 885882"/>
                <a:gd name="connsiteX8" fmla="*/ 7762875 w 8496300"/>
                <a:gd name="connsiteY8" fmla="*/ 664204 h 885882"/>
                <a:gd name="connsiteX9" fmla="*/ 8496300 w 8496300"/>
                <a:gd name="connsiteY9" fmla="*/ 397504 h 885882"/>
                <a:gd name="connsiteX0" fmla="*/ 0 w 8496300"/>
                <a:gd name="connsiteY0" fmla="*/ 187954 h 885882"/>
                <a:gd name="connsiteX1" fmla="*/ 1562100 w 8496300"/>
                <a:gd name="connsiteY1" fmla="*/ 6979 h 885882"/>
                <a:gd name="connsiteX2" fmla="*/ 2724150 w 8496300"/>
                <a:gd name="connsiteY2" fmla="*/ 54604 h 885882"/>
                <a:gd name="connsiteX3" fmla="*/ 3533775 w 8496300"/>
                <a:gd name="connsiteY3" fmla="*/ 216529 h 885882"/>
                <a:gd name="connsiteX4" fmla="*/ 4410075 w 8496300"/>
                <a:gd name="connsiteY4" fmla="*/ 483229 h 885882"/>
                <a:gd name="connsiteX5" fmla="*/ 5372100 w 8496300"/>
                <a:gd name="connsiteY5" fmla="*/ 797554 h 885882"/>
                <a:gd name="connsiteX6" fmla="*/ 6334125 w 8496300"/>
                <a:gd name="connsiteY6" fmla="*/ 883279 h 885882"/>
                <a:gd name="connsiteX7" fmla="*/ 7038975 w 8496300"/>
                <a:gd name="connsiteY7" fmla="*/ 845179 h 885882"/>
                <a:gd name="connsiteX8" fmla="*/ 7762875 w 8496300"/>
                <a:gd name="connsiteY8" fmla="*/ 664204 h 885882"/>
                <a:gd name="connsiteX9" fmla="*/ 8496300 w 8496300"/>
                <a:gd name="connsiteY9" fmla="*/ 397504 h 885882"/>
                <a:gd name="connsiteX0" fmla="*/ 0 w 8496300"/>
                <a:gd name="connsiteY0" fmla="*/ 187954 h 885882"/>
                <a:gd name="connsiteX1" fmla="*/ 1562100 w 8496300"/>
                <a:gd name="connsiteY1" fmla="*/ 6979 h 885882"/>
                <a:gd name="connsiteX2" fmla="*/ 2724150 w 8496300"/>
                <a:gd name="connsiteY2" fmla="*/ 54604 h 885882"/>
                <a:gd name="connsiteX3" fmla="*/ 3533775 w 8496300"/>
                <a:gd name="connsiteY3" fmla="*/ 216529 h 885882"/>
                <a:gd name="connsiteX4" fmla="*/ 5372100 w 8496300"/>
                <a:gd name="connsiteY4" fmla="*/ 797554 h 885882"/>
                <a:gd name="connsiteX5" fmla="*/ 6334125 w 8496300"/>
                <a:gd name="connsiteY5" fmla="*/ 883279 h 885882"/>
                <a:gd name="connsiteX6" fmla="*/ 7038975 w 8496300"/>
                <a:gd name="connsiteY6" fmla="*/ 845179 h 885882"/>
                <a:gd name="connsiteX7" fmla="*/ 7762875 w 8496300"/>
                <a:gd name="connsiteY7" fmla="*/ 664204 h 885882"/>
                <a:gd name="connsiteX8" fmla="*/ 8496300 w 8496300"/>
                <a:gd name="connsiteY8" fmla="*/ 397504 h 885882"/>
                <a:gd name="connsiteX0" fmla="*/ 0 w 8496300"/>
                <a:gd name="connsiteY0" fmla="*/ 187954 h 895642"/>
                <a:gd name="connsiteX1" fmla="*/ 1562100 w 8496300"/>
                <a:gd name="connsiteY1" fmla="*/ 6979 h 895642"/>
                <a:gd name="connsiteX2" fmla="*/ 2724150 w 8496300"/>
                <a:gd name="connsiteY2" fmla="*/ 54604 h 895642"/>
                <a:gd name="connsiteX3" fmla="*/ 3533775 w 8496300"/>
                <a:gd name="connsiteY3" fmla="*/ 216529 h 895642"/>
                <a:gd name="connsiteX4" fmla="*/ 5372100 w 8496300"/>
                <a:gd name="connsiteY4" fmla="*/ 797554 h 895642"/>
                <a:gd name="connsiteX5" fmla="*/ 6334125 w 8496300"/>
                <a:gd name="connsiteY5" fmla="*/ 883279 h 895642"/>
                <a:gd name="connsiteX6" fmla="*/ 7762875 w 8496300"/>
                <a:gd name="connsiteY6" fmla="*/ 664204 h 895642"/>
                <a:gd name="connsiteX7" fmla="*/ 8496300 w 8496300"/>
                <a:gd name="connsiteY7" fmla="*/ 397504 h 895642"/>
                <a:gd name="connsiteX0" fmla="*/ 0 w 8496300"/>
                <a:gd name="connsiteY0" fmla="*/ 187954 h 895642"/>
                <a:gd name="connsiteX1" fmla="*/ 1562100 w 8496300"/>
                <a:gd name="connsiteY1" fmla="*/ 6979 h 895642"/>
                <a:gd name="connsiteX2" fmla="*/ 2724150 w 8496300"/>
                <a:gd name="connsiteY2" fmla="*/ 54604 h 895642"/>
                <a:gd name="connsiteX3" fmla="*/ 3533775 w 8496300"/>
                <a:gd name="connsiteY3" fmla="*/ 216529 h 895642"/>
                <a:gd name="connsiteX4" fmla="*/ 5372100 w 8496300"/>
                <a:gd name="connsiteY4" fmla="*/ 797554 h 895642"/>
                <a:gd name="connsiteX5" fmla="*/ 6334125 w 8496300"/>
                <a:gd name="connsiteY5" fmla="*/ 883279 h 895642"/>
                <a:gd name="connsiteX6" fmla="*/ 7762875 w 8496300"/>
                <a:gd name="connsiteY6" fmla="*/ 664204 h 895642"/>
                <a:gd name="connsiteX7" fmla="*/ 8496300 w 8496300"/>
                <a:gd name="connsiteY7" fmla="*/ 397504 h 895642"/>
                <a:gd name="connsiteX0" fmla="*/ 0 w 8496300"/>
                <a:gd name="connsiteY0" fmla="*/ 187954 h 928315"/>
                <a:gd name="connsiteX1" fmla="*/ 1562100 w 8496300"/>
                <a:gd name="connsiteY1" fmla="*/ 6979 h 928315"/>
                <a:gd name="connsiteX2" fmla="*/ 2724150 w 8496300"/>
                <a:gd name="connsiteY2" fmla="*/ 54604 h 928315"/>
                <a:gd name="connsiteX3" fmla="*/ 3533775 w 8496300"/>
                <a:gd name="connsiteY3" fmla="*/ 216529 h 928315"/>
                <a:gd name="connsiteX4" fmla="*/ 5372100 w 8496300"/>
                <a:gd name="connsiteY4" fmla="*/ 797554 h 928315"/>
                <a:gd name="connsiteX5" fmla="*/ 6334125 w 8496300"/>
                <a:gd name="connsiteY5" fmla="*/ 921379 h 928315"/>
                <a:gd name="connsiteX6" fmla="*/ 7762875 w 8496300"/>
                <a:gd name="connsiteY6" fmla="*/ 664204 h 928315"/>
                <a:gd name="connsiteX7" fmla="*/ 8496300 w 8496300"/>
                <a:gd name="connsiteY7" fmla="*/ 397504 h 928315"/>
                <a:gd name="connsiteX0" fmla="*/ 0 w 8496300"/>
                <a:gd name="connsiteY0" fmla="*/ 187954 h 924775"/>
                <a:gd name="connsiteX1" fmla="*/ 1562100 w 8496300"/>
                <a:gd name="connsiteY1" fmla="*/ 6979 h 924775"/>
                <a:gd name="connsiteX2" fmla="*/ 2724150 w 8496300"/>
                <a:gd name="connsiteY2" fmla="*/ 54604 h 924775"/>
                <a:gd name="connsiteX3" fmla="*/ 3533775 w 8496300"/>
                <a:gd name="connsiteY3" fmla="*/ 216529 h 924775"/>
                <a:gd name="connsiteX4" fmla="*/ 5372100 w 8496300"/>
                <a:gd name="connsiteY4" fmla="*/ 797554 h 924775"/>
                <a:gd name="connsiteX5" fmla="*/ 6334125 w 8496300"/>
                <a:gd name="connsiteY5" fmla="*/ 921379 h 924775"/>
                <a:gd name="connsiteX6" fmla="*/ 7762875 w 8496300"/>
                <a:gd name="connsiteY6" fmla="*/ 664204 h 924775"/>
                <a:gd name="connsiteX7" fmla="*/ 8496300 w 8496300"/>
                <a:gd name="connsiteY7" fmla="*/ 397504 h 924775"/>
                <a:gd name="connsiteX0" fmla="*/ 0 w 8496300"/>
                <a:gd name="connsiteY0" fmla="*/ 187954 h 924775"/>
                <a:gd name="connsiteX1" fmla="*/ 1562100 w 8496300"/>
                <a:gd name="connsiteY1" fmla="*/ 6979 h 924775"/>
                <a:gd name="connsiteX2" fmla="*/ 2724150 w 8496300"/>
                <a:gd name="connsiteY2" fmla="*/ 54604 h 924775"/>
                <a:gd name="connsiteX3" fmla="*/ 3533775 w 8496300"/>
                <a:gd name="connsiteY3" fmla="*/ 216529 h 924775"/>
                <a:gd name="connsiteX4" fmla="*/ 5372100 w 8496300"/>
                <a:gd name="connsiteY4" fmla="*/ 797554 h 924775"/>
                <a:gd name="connsiteX5" fmla="*/ 6334125 w 8496300"/>
                <a:gd name="connsiteY5" fmla="*/ 921379 h 924775"/>
                <a:gd name="connsiteX6" fmla="*/ 7762875 w 8496300"/>
                <a:gd name="connsiteY6" fmla="*/ 664204 h 924775"/>
                <a:gd name="connsiteX7" fmla="*/ 8496300 w 8496300"/>
                <a:gd name="connsiteY7" fmla="*/ 397504 h 924775"/>
                <a:gd name="connsiteX0" fmla="*/ 0 w 8496300"/>
                <a:gd name="connsiteY0" fmla="*/ 187954 h 915968"/>
                <a:gd name="connsiteX1" fmla="*/ 1562100 w 8496300"/>
                <a:gd name="connsiteY1" fmla="*/ 6979 h 915968"/>
                <a:gd name="connsiteX2" fmla="*/ 2724150 w 8496300"/>
                <a:gd name="connsiteY2" fmla="*/ 54604 h 915968"/>
                <a:gd name="connsiteX3" fmla="*/ 3533775 w 8496300"/>
                <a:gd name="connsiteY3" fmla="*/ 216529 h 915968"/>
                <a:gd name="connsiteX4" fmla="*/ 5372100 w 8496300"/>
                <a:gd name="connsiteY4" fmla="*/ 797554 h 915968"/>
                <a:gd name="connsiteX5" fmla="*/ 6238875 w 8496300"/>
                <a:gd name="connsiteY5" fmla="*/ 911854 h 915968"/>
                <a:gd name="connsiteX6" fmla="*/ 7762875 w 8496300"/>
                <a:gd name="connsiteY6" fmla="*/ 664204 h 915968"/>
                <a:gd name="connsiteX7" fmla="*/ 8496300 w 8496300"/>
                <a:gd name="connsiteY7" fmla="*/ 397504 h 915968"/>
                <a:gd name="connsiteX0" fmla="*/ 0 w 8496300"/>
                <a:gd name="connsiteY0" fmla="*/ 187954 h 952096"/>
                <a:gd name="connsiteX1" fmla="*/ 1562100 w 8496300"/>
                <a:gd name="connsiteY1" fmla="*/ 6979 h 952096"/>
                <a:gd name="connsiteX2" fmla="*/ 2724150 w 8496300"/>
                <a:gd name="connsiteY2" fmla="*/ 54604 h 952096"/>
                <a:gd name="connsiteX3" fmla="*/ 3533775 w 8496300"/>
                <a:gd name="connsiteY3" fmla="*/ 216529 h 952096"/>
                <a:gd name="connsiteX4" fmla="*/ 5372100 w 8496300"/>
                <a:gd name="connsiteY4" fmla="*/ 797554 h 952096"/>
                <a:gd name="connsiteX5" fmla="*/ 6210300 w 8496300"/>
                <a:gd name="connsiteY5" fmla="*/ 949954 h 952096"/>
                <a:gd name="connsiteX6" fmla="*/ 7762875 w 8496300"/>
                <a:gd name="connsiteY6" fmla="*/ 664204 h 952096"/>
                <a:gd name="connsiteX7" fmla="*/ 8496300 w 8496300"/>
                <a:gd name="connsiteY7" fmla="*/ 397504 h 952096"/>
                <a:gd name="connsiteX0" fmla="*/ 0 w 8496300"/>
                <a:gd name="connsiteY0" fmla="*/ 187954 h 952096"/>
                <a:gd name="connsiteX1" fmla="*/ 1562100 w 8496300"/>
                <a:gd name="connsiteY1" fmla="*/ 6979 h 952096"/>
                <a:gd name="connsiteX2" fmla="*/ 2724150 w 8496300"/>
                <a:gd name="connsiteY2" fmla="*/ 54604 h 952096"/>
                <a:gd name="connsiteX3" fmla="*/ 3533775 w 8496300"/>
                <a:gd name="connsiteY3" fmla="*/ 216529 h 952096"/>
                <a:gd name="connsiteX4" fmla="*/ 5372100 w 8496300"/>
                <a:gd name="connsiteY4" fmla="*/ 797554 h 952096"/>
                <a:gd name="connsiteX5" fmla="*/ 6210300 w 8496300"/>
                <a:gd name="connsiteY5" fmla="*/ 949954 h 952096"/>
                <a:gd name="connsiteX6" fmla="*/ 7762875 w 8496300"/>
                <a:gd name="connsiteY6" fmla="*/ 664204 h 952096"/>
                <a:gd name="connsiteX7" fmla="*/ 8496300 w 8496300"/>
                <a:gd name="connsiteY7" fmla="*/ 397504 h 952096"/>
                <a:gd name="connsiteX0" fmla="*/ 0 w 8496300"/>
                <a:gd name="connsiteY0" fmla="*/ 187954 h 942885"/>
                <a:gd name="connsiteX1" fmla="*/ 1562100 w 8496300"/>
                <a:gd name="connsiteY1" fmla="*/ 6979 h 942885"/>
                <a:gd name="connsiteX2" fmla="*/ 2724150 w 8496300"/>
                <a:gd name="connsiteY2" fmla="*/ 54604 h 942885"/>
                <a:gd name="connsiteX3" fmla="*/ 3533775 w 8496300"/>
                <a:gd name="connsiteY3" fmla="*/ 216529 h 942885"/>
                <a:gd name="connsiteX4" fmla="*/ 5372100 w 8496300"/>
                <a:gd name="connsiteY4" fmla="*/ 797554 h 942885"/>
                <a:gd name="connsiteX5" fmla="*/ 6276975 w 8496300"/>
                <a:gd name="connsiteY5" fmla="*/ 940429 h 942885"/>
                <a:gd name="connsiteX6" fmla="*/ 7762875 w 8496300"/>
                <a:gd name="connsiteY6" fmla="*/ 664204 h 942885"/>
                <a:gd name="connsiteX7" fmla="*/ 8496300 w 8496300"/>
                <a:gd name="connsiteY7" fmla="*/ 397504 h 942885"/>
                <a:gd name="connsiteX0" fmla="*/ 0 w 8496300"/>
                <a:gd name="connsiteY0" fmla="*/ 187954 h 944816"/>
                <a:gd name="connsiteX1" fmla="*/ 1562100 w 8496300"/>
                <a:gd name="connsiteY1" fmla="*/ 6979 h 944816"/>
                <a:gd name="connsiteX2" fmla="*/ 2724150 w 8496300"/>
                <a:gd name="connsiteY2" fmla="*/ 54604 h 944816"/>
                <a:gd name="connsiteX3" fmla="*/ 3533775 w 8496300"/>
                <a:gd name="connsiteY3" fmla="*/ 216529 h 944816"/>
                <a:gd name="connsiteX4" fmla="*/ 5229225 w 8496300"/>
                <a:gd name="connsiteY4" fmla="*/ 788029 h 944816"/>
                <a:gd name="connsiteX5" fmla="*/ 6276975 w 8496300"/>
                <a:gd name="connsiteY5" fmla="*/ 940429 h 944816"/>
                <a:gd name="connsiteX6" fmla="*/ 7762875 w 8496300"/>
                <a:gd name="connsiteY6" fmla="*/ 664204 h 944816"/>
                <a:gd name="connsiteX7" fmla="*/ 8496300 w 8496300"/>
                <a:gd name="connsiteY7" fmla="*/ 397504 h 944816"/>
                <a:gd name="connsiteX0" fmla="*/ 0 w 8496300"/>
                <a:gd name="connsiteY0" fmla="*/ 187954 h 952022"/>
                <a:gd name="connsiteX1" fmla="*/ 1562100 w 8496300"/>
                <a:gd name="connsiteY1" fmla="*/ 6979 h 952022"/>
                <a:gd name="connsiteX2" fmla="*/ 2724150 w 8496300"/>
                <a:gd name="connsiteY2" fmla="*/ 54604 h 952022"/>
                <a:gd name="connsiteX3" fmla="*/ 3533775 w 8496300"/>
                <a:gd name="connsiteY3" fmla="*/ 216529 h 952022"/>
                <a:gd name="connsiteX4" fmla="*/ 5229225 w 8496300"/>
                <a:gd name="connsiteY4" fmla="*/ 788029 h 952022"/>
                <a:gd name="connsiteX5" fmla="*/ 6276975 w 8496300"/>
                <a:gd name="connsiteY5" fmla="*/ 940429 h 952022"/>
                <a:gd name="connsiteX6" fmla="*/ 7762875 w 8496300"/>
                <a:gd name="connsiteY6" fmla="*/ 664204 h 952022"/>
                <a:gd name="connsiteX7" fmla="*/ 8496300 w 8496300"/>
                <a:gd name="connsiteY7" fmla="*/ 397504 h 952022"/>
                <a:gd name="connsiteX0" fmla="*/ 0 w 8496300"/>
                <a:gd name="connsiteY0" fmla="*/ 187954 h 950392"/>
                <a:gd name="connsiteX1" fmla="*/ 1562100 w 8496300"/>
                <a:gd name="connsiteY1" fmla="*/ 6979 h 950392"/>
                <a:gd name="connsiteX2" fmla="*/ 2724150 w 8496300"/>
                <a:gd name="connsiteY2" fmla="*/ 54604 h 950392"/>
                <a:gd name="connsiteX3" fmla="*/ 3533775 w 8496300"/>
                <a:gd name="connsiteY3" fmla="*/ 216529 h 950392"/>
                <a:gd name="connsiteX4" fmla="*/ 5229225 w 8496300"/>
                <a:gd name="connsiteY4" fmla="*/ 788029 h 950392"/>
                <a:gd name="connsiteX5" fmla="*/ 6276975 w 8496300"/>
                <a:gd name="connsiteY5" fmla="*/ 940429 h 950392"/>
                <a:gd name="connsiteX6" fmla="*/ 7762875 w 8496300"/>
                <a:gd name="connsiteY6" fmla="*/ 664204 h 950392"/>
                <a:gd name="connsiteX7" fmla="*/ 8496300 w 8496300"/>
                <a:gd name="connsiteY7" fmla="*/ 397504 h 9503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496300" h="950392">
                  <a:moveTo>
                    <a:pt x="0" y="187954"/>
                  </a:moveTo>
                  <a:cubicBezTo>
                    <a:pt x="554831" y="106991"/>
                    <a:pt x="1108075" y="29204"/>
                    <a:pt x="1562100" y="6979"/>
                  </a:cubicBezTo>
                  <a:cubicBezTo>
                    <a:pt x="2016125" y="-15246"/>
                    <a:pt x="2395538" y="19679"/>
                    <a:pt x="2724150" y="54604"/>
                  </a:cubicBezTo>
                  <a:cubicBezTo>
                    <a:pt x="3052763" y="89529"/>
                    <a:pt x="3116263" y="94292"/>
                    <a:pt x="3533775" y="216529"/>
                  </a:cubicBezTo>
                  <a:cubicBezTo>
                    <a:pt x="3951288" y="338767"/>
                    <a:pt x="4648200" y="610229"/>
                    <a:pt x="5229225" y="788029"/>
                  </a:cubicBezTo>
                  <a:cubicBezTo>
                    <a:pt x="5810250" y="965829"/>
                    <a:pt x="5854700" y="961067"/>
                    <a:pt x="6276975" y="940429"/>
                  </a:cubicBezTo>
                  <a:cubicBezTo>
                    <a:pt x="6699250" y="919791"/>
                    <a:pt x="7392988" y="754692"/>
                    <a:pt x="7762875" y="664204"/>
                  </a:cubicBezTo>
                  <a:cubicBezTo>
                    <a:pt x="8132763" y="573717"/>
                    <a:pt x="8251031" y="493548"/>
                    <a:pt x="8496300" y="397504"/>
                  </a:cubicBez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dash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endParaRPr lang="zh-CN" altLang="en-US" dirty="0">
                <a:solidFill>
                  <a:schemeClr val="tx1"/>
                </a:solidFill>
              </a:endParaRPr>
            </a:p>
          </p:txBody>
        </p:sp>
        <p:grpSp>
          <p:nvGrpSpPr>
            <p:cNvPr id="7" name="iṡḷiḋê">
              <a:extLst>
                <a:ext uri="{FF2B5EF4-FFF2-40B4-BE49-F238E27FC236}">
                  <a16:creationId xmlns:a16="http://schemas.microsoft.com/office/drawing/2014/main" id="{E700D7CF-8A93-47FF-B2A1-251EE1E1D40C}"/>
                </a:ext>
              </a:extLst>
            </p:cNvPr>
            <p:cNvGrpSpPr/>
            <p:nvPr/>
          </p:nvGrpSpPr>
          <p:grpSpPr>
            <a:xfrm>
              <a:off x="1376950" y="2701926"/>
              <a:ext cx="2188634" cy="1827813"/>
              <a:chOff x="977327" y="2785197"/>
              <a:chExt cx="2188634" cy="1827813"/>
            </a:xfrm>
          </p:grpSpPr>
          <p:sp>
            <p:nvSpPr>
              <p:cNvPr id="34" name="işlïḑé">
                <a:extLst>
                  <a:ext uri="{FF2B5EF4-FFF2-40B4-BE49-F238E27FC236}">
                    <a16:creationId xmlns:a16="http://schemas.microsoft.com/office/drawing/2014/main" id="{9006EF6A-510D-4371-9BF2-24A2D30ED6A1}"/>
                  </a:ext>
                </a:extLst>
              </p:cNvPr>
              <p:cNvSpPr txBox="1"/>
              <p:nvPr/>
            </p:nvSpPr>
            <p:spPr bwMode="auto">
              <a:xfrm>
                <a:off x="977327" y="3623496"/>
                <a:ext cx="2188634" cy="98951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 eaLnBrk="1" hangingPunct="1">
                  <a:lnSpc>
                    <a:spcPct val="100000"/>
                  </a:lnSpc>
                  <a:spcBef>
                    <a:spcPct val="0"/>
                  </a:spcBef>
                  <a:buFontTx/>
                  <a:buNone/>
                </a:pPr>
                <a:r>
                  <a:rPr lang="zh-CN" altLang="en-US" sz="3200" b="1" dirty="0"/>
                  <a:t>便 秘</a:t>
                </a:r>
                <a:endParaRPr lang="en-US" altLang="zh-CN" sz="3200" b="1" dirty="0"/>
              </a:p>
            </p:txBody>
          </p:sp>
          <p:grpSp>
            <p:nvGrpSpPr>
              <p:cNvPr id="30" name="ïṡḻiḍè">
                <a:extLst>
                  <a:ext uri="{FF2B5EF4-FFF2-40B4-BE49-F238E27FC236}">
                    <a16:creationId xmlns:a16="http://schemas.microsoft.com/office/drawing/2014/main" id="{1273077D-DECE-47FB-8F79-E7301DEF530F}"/>
                  </a:ext>
                </a:extLst>
              </p:cNvPr>
              <p:cNvGrpSpPr/>
              <p:nvPr/>
            </p:nvGrpSpPr>
            <p:grpSpPr>
              <a:xfrm>
                <a:off x="1618023" y="2785197"/>
                <a:ext cx="850898" cy="986404"/>
                <a:chOff x="1618023" y="2785197"/>
                <a:chExt cx="850898" cy="986404"/>
              </a:xfrm>
            </p:grpSpPr>
            <p:sp>
              <p:nvSpPr>
                <p:cNvPr id="31" name="ïsļiḍe">
                  <a:extLst>
                    <a:ext uri="{FF2B5EF4-FFF2-40B4-BE49-F238E27FC236}">
                      <a16:creationId xmlns:a16="http://schemas.microsoft.com/office/drawing/2014/main" id="{EAD59F2F-4AC0-482B-B7CB-7EFAA845B1DA}"/>
                    </a:ext>
                  </a:extLst>
                </p:cNvPr>
                <p:cNvSpPr/>
                <p:nvPr/>
              </p:nvSpPr>
              <p:spPr bwMode="auto">
                <a:xfrm>
                  <a:off x="1618023" y="2785197"/>
                  <a:ext cx="850898" cy="986404"/>
                </a:xfrm>
                <a:custGeom>
                  <a:avLst/>
                  <a:gdLst>
                    <a:gd name="T0" fmla="*/ 427 w 854"/>
                    <a:gd name="T1" fmla="*/ 990 h 990"/>
                    <a:gd name="T2" fmla="*/ 0 w 854"/>
                    <a:gd name="T3" fmla="*/ 776 h 990"/>
                    <a:gd name="T4" fmla="*/ 0 w 854"/>
                    <a:gd name="T5" fmla="*/ 213 h 990"/>
                    <a:gd name="T6" fmla="*/ 427 w 854"/>
                    <a:gd name="T7" fmla="*/ 0 h 990"/>
                    <a:gd name="T8" fmla="*/ 854 w 854"/>
                    <a:gd name="T9" fmla="*/ 213 h 990"/>
                    <a:gd name="T10" fmla="*/ 854 w 854"/>
                    <a:gd name="T11" fmla="*/ 776 h 990"/>
                    <a:gd name="T12" fmla="*/ 427 w 854"/>
                    <a:gd name="T13" fmla="*/ 990 h 99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854" h="990">
                      <a:moveTo>
                        <a:pt x="427" y="990"/>
                      </a:moveTo>
                      <a:lnTo>
                        <a:pt x="0" y="776"/>
                      </a:lnTo>
                      <a:lnTo>
                        <a:pt x="0" y="213"/>
                      </a:lnTo>
                      <a:lnTo>
                        <a:pt x="427" y="0"/>
                      </a:lnTo>
                      <a:lnTo>
                        <a:pt x="854" y="213"/>
                      </a:lnTo>
                      <a:lnTo>
                        <a:pt x="854" y="776"/>
                      </a:lnTo>
                      <a:lnTo>
                        <a:pt x="427" y="990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 w="3175" cap="rnd">
                  <a:noFill/>
                  <a:prstDash val="solid"/>
                  <a:round/>
                  <a:headEnd/>
                  <a:tailEnd/>
                </a:ln>
                <a:effectLst>
                  <a:outerShdw blurRad="381000" sx="102000" sy="102000" algn="ctr" rotWithShape="0">
                    <a:prstClr val="black">
                      <a:alpha val="1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9pPr>
                </a:lstStyle>
                <a:p>
                  <a:pPr algn="ctr" defTabSz="914354"/>
                  <a:endParaRPr lang="zh-CN" altLang="en-US" sz="2000" b="1" i="1" dirty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32" name="ïşḷïḓê">
                  <a:extLst>
                    <a:ext uri="{FF2B5EF4-FFF2-40B4-BE49-F238E27FC236}">
                      <a16:creationId xmlns:a16="http://schemas.microsoft.com/office/drawing/2014/main" id="{8D8D1FCB-1696-4BCB-82E2-917E59A1E330}"/>
                    </a:ext>
                  </a:extLst>
                </p:cNvPr>
                <p:cNvSpPr/>
                <p:nvPr/>
              </p:nvSpPr>
              <p:spPr>
                <a:xfrm>
                  <a:off x="1838617" y="3112328"/>
                  <a:ext cx="409708" cy="332140"/>
                </a:xfrm>
                <a:custGeom>
                  <a:avLst/>
                  <a:gdLst>
                    <a:gd name="connsiteX0" fmla="*/ 493872 w 604195"/>
                    <a:gd name="connsiteY0" fmla="*/ 437764 h 489806"/>
                    <a:gd name="connsiteX1" fmla="*/ 478290 w 604195"/>
                    <a:gd name="connsiteY1" fmla="*/ 453330 h 489806"/>
                    <a:gd name="connsiteX2" fmla="*/ 493872 w 604195"/>
                    <a:gd name="connsiteY2" fmla="*/ 469024 h 489806"/>
                    <a:gd name="connsiteX3" fmla="*/ 509582 w 604195"/>
                    <a:gd name="connsiteY3" fmla="*/ 453330 h 489806"/>
                    <a:gd name="connsiteX4" fmla="*/ 493872 w 604195"/>
                    <a:gd name="connsiteY4" fmla="*/ 437764 h 489806"/>
                    <a:gd name="connsiteX5" fmla="*/ 304116 w 604195"/>
                    <a:gd name="connsiteY5" fmla="*/ 437764 h 489806"/>
                    <a:gd name="connsiteX6" fmla="*/ 288403 w 604195"/>
                    <a:gd name="connsiteY6" fmla="*/ 453330 h 489806"/>
                    <a:gd name="connsiteX7" fmla="*/ 304116 w 604195"/>
                    <a:gd name="connsiteY7" fmla="*/ 469024 h 489806"/>
                    <a:gd name="connsiteX8" fmla="*/ 319700 w 604195"/>
                    <a:gd name="connsiteY8" fmla="*/ 453330 h 489806"/>
                    <a:gd name="connsiteX9" fmla="*/ 304116 w 604195"/>
                    <a:gd name="connsiteY9" fmla="*/ 437764 h 489806"/>
                    <a:gd name="connsiteX10" fmla="*/ 493872 w 604195"/>
                    <a:gd name="connsiteY10" fmla="*/ 417476 h 489806"/>
                    <a:gd name="connsiteX11" fmla="*/ 529889 w 604195"/>
                    <a:gd name="connsiteY11" fmla="*/ 453330 h 489806"/>
                    <a:gd name="connsiteX12" fmla="*/ 493872 w 604195"/>
                    <a:gd name="connsiteY12" fmla="*/ 489312 h 489806"/>
                    <a:gd name="connsiteX13" fmla="*/ 457983 w 604195"/>
                    <a:gd name="connsiteY13" fmla="*/ 453330 h 489806"/>
                    <a:gd name="connsiteX14" fmla="*/ 493872 w 604195"/>
                    <a:gd name="connsiteY14" fmla="*/ 417476 h 489806"/>
                    <a:gd name="connsiteX15" fmla="*/ 304116 w 604195"/>
                    <a:gd name="connsiteY15" fmla="*/ 417476 h 489806"/>
                    <a:gd name="connsiteX16" fmla="*/ 340139 w 604195"/>
                    <a:gd name="connsiteY16" fmla="*/ 453330 h 489806"/>
                    <a:gd name="connsiteX17" fmla="*/ 304116 w 604195"/>
                    <a:gd name="connsiteY17" fmla="*/ 489312 h 489806"/>
                    <a:gd name="connsiteX18" fmla="*/ 268092 w 604195"/>
                    <a:gd name="connsiteY18" fmla="*/ 453330 h 489806"/>
                    <a:gd name="connsiteX19" fmla="*/ 304116 w 604195"/>
                    <a:gd name="connsiteY19" fmla="*/ 417476 h 489806"/>
                    <a:gd name="connsiteX20" fmla="*/ 464381 w 604195"/>
                    <a:gd name="connsiteY20" fmla="*/ 306093 h 489806"/>
                    <a:gd name="connsiteX21" fmla="*/ 464381 w 604195"/>
                    <a:gd name="connsiteY21" fmla="*/ 358791 h 489806"/>
                    <a:gd name="connsiteX22" fmla="*/ 529815 w 604195"/>
                    <a:gd name="connsiteY22" fmla="*/ 358791 h 489806"/>
                    <a:gd name="connsiteX23" fmla="*/ 526109 w 604195"/>
                    <a:gd name="connsiteY23" fmla="*/ 353432 h 489806"/>
                    <a:gd name="connsiteX24" fmla="*/ 510645 w 604195"/>
                    <a:gd name="connsiteY24" fmla="*/ 322170 h 489806"/>
                    <a:gd name="connsiteX25" fmla="*/ 484062 w 604195"/>
                    <a:gd name="connsiteY25" fmla="*/ 306093 h 489806"/>
                    <a:gd name="connsiteX26" fmla="*/ 276769 w 604195"/>
                    <a:gd name="connsiteY26" fmla="*/ 273555 h 489806"/>
                    <a:gd name="connsiteX27" fmla="*/ 263733 w 604195"/>
                    <a:gd name="connsiteY27" fmla="*/ 286698 h 489806"/>
                    <a:gd name="connsiteX28" fmla="*/ 263733 w 604195"/>
                    <a:gd name="connsiteY28" fmla="*/ 369509 h 489806"/>
                    <a:gd name="connsiteX29" fmla="*/ 276769 w 604195"/>
                    <a:gd name="connsiteY29" fmla="*/ 382524 h 489806"/>
                    <a:gd name="connsiteX30" fmla="*/ 404442 w 604195"/>
                    <a:gd name="connsiteY30" fmla="*/ 382524 h 489806"/>
                    <a:gd name="connsiteX31" fmla="*/ 417605 w 604195"/>
                    <a:gd name="connsiteY31" fmla="*/ 369509 h 489806"/>
                    <a:gd name="connsiteX32" fmla="*/ 417605 w 604195"/>
                    <a:gd name="connsiteY32" fmla="*/ 286698 h 489806"/>
                    <a:gd name="connsiteX33" fmla="*/ 404442 w 604195"/>
                    <a:gd name="connsiteY33" fmla="*/ 273555 h 489806"/>
                    <a:gd name="connsiteX34" fmla="*/ 242774 w 604195"/>
                    <a:gd name="connsiteY34" fmla="*/ 238593 h 489806"/>
                    <a:gd name="connsiteX35" fmla="*/ 443677 w 604195"/>
                    <a:gd name="connsiteY35" fmla="*/ 238593 h 489806"/>
                    <a:gd name="connsiteX36" fmla="*/ 464381 w 604195"/>
                    <a:gd name="connsiteY36" fmla="*/ 259264 h 489806"/>
                    <a:gd name="connsiteX37" fmla="*/ 464381 w 604195"/>
                    <a:gd name="connsiteY37" fmla="*/ 291802 h 489806"/>
                    <a:gd name="connsiteX38" fmla="*/ 491347 w 604195"/>
                    <a:gd name="connsiteY38" fmla="*/ 291802 h 489806"/>
                    <a:gd name="connsiteX39" fmla="*/ 521252 w 604195"/>
                    <a:gd name="connsiteY39" fmla="*/ 309921 h 489806"/>
                    <a:gd name="connsiteX40" fmla="*/ 538505 w 604195"/>
                    <a:gd name="connsiteY40" fmla="*/ 345010 h 489806"/>
                    <a:gd name="connsiteX41" fmla="*/ 564449 w 604195"/>
                    <a:gd name="connsiteY41" fmla="*/ 360577 h 489806"/>
                    <a:gd name="connsiteX42" fmla="*/ 604195 w 604195"/>
                    <a:gd name="connsiteY42" fmla="*/ 396178 h 489806"/>
                    <a:gd name="connsiteX43" fmla="*/ 604195 w 604195"/>
                    <a:gd name="connsiteY43" fmla="*/ 435095 h 489806"/>
                    <a:gd name="connsiteX44" fmla="*/ 583619 w 604195"/>
                    <a:gd name="connsiteY44" fmla="*/ 455511 h 489806"/>
                    <a:gd name="connsiteX45" fmla="*/ 540806 w 604195"/>
                    <a:gd name="connsiteY45" fmla="*/ 455511 h 489806"/>
                    <a:gd name="connsiteX46" fmla="*/ 540806 w 604195"/>
                    <a:gd name="connsiteY46" fmla="*/ 453342 h 489806"/>
                    <a:gd name="connsiteX47" fmla="*/ 493903 w 604195"/>
                    <a:gd name="connsiteY47" fmla="*/ 406513 h 489806"/>
                    <a:gd name="connsiteX48" fmla="*/ 447000 w 604195"/>
                    <a:gd name="connsiteY48" fmla="*/ 453342 h 489806"/>
                    <a:gd name="connsiteX49" fmla="*/ 447127 w 604195"/>
                    <a:gd name="connsiteY49" fmla="*/ 455256 h 489806"/>
                    <a:gd name="connsiteX50" fmla="*/ 443677 w 604195"/>
                    <a:gd name="connsiteY50" fmla="*/ 455511 h 489806"/>
                    <a:gd name="connsiteX51" fmla="*/ 351021 w 604195"/>
                    <a:gd name="connsiteY51" fmla="*/ 455511 h 489806"/>
                    <a:gd name="connsiteX52" fmla="*/ 351021 w 604195"/>
                    <a:gd name="connsiteY52" fmla="*/ 453342 h 489806"/>
                    <a:gd name="connsiteX53" fmla="*/ 304118 w 604195"/>
                    <a:gd name="connsiteY53" fmla="*/ 406513 h 489806"/>
                    <a:gd name="connsiteX54" fmla="*/ 257215 w 604195"/>
                    <a:gd name="connsiteY54" fmla="*/ 453342 h 489806"/>
                    <a:gd name="connsiteX55" fmla="*/ 257215 w 604195"/>
                    <a:gd name="connsiteY55" fmla="*/ 455511 h 489806"/>
                    <a:gd name="connsiteX56" fmla="*/ 242774 w 604195"/>
                    <a:gd name="connsiteY56" fmla="*/ 455511 h 489806"/>
                    <a:gd name="connsiteX57" fmla="*/ 221942 w 604195"/>
                    <a:gd name="connsiteY57" fmla="*/ 434840 h 489806"/>
                    <a:gd name="connsiteX58" fmla="*/ 221942 w 604195"/>
                    <a:gd name="connsiteY58" fmla="*/ 259264 h 489806"/>
                    <a:gd name="connsiteX59" fmla="*/ 242774 w 604195"/>
                    <a:gd name="connsiteY59" fmla="*/ 238593 h 489806"/>
                    <a:gd name="connsiteX60" fmla="*/ 251051 w 604195"/>
                    <a:gd name="connsiteY60" fmla="*/ 0 h 489806"/>
                    <a:gd name="connsiteX61" fmla="*/ 280121 w 604195"/>
                    <a:gd name="connsiteY61" fmla="*/ 9283 h 489806"/>
                    <a:gd name="connsiteX62" fmla="*/ 452627 w 604195"/>
                    <a:gd name="connsiteY62" fmla="*/ 143896 h 489806"/>
                    <a:gd name="connsiteX63" fmla="*/ 454416 w 604195"/>
                    <a:gd name="connsiteY63" fmla="*/ 145299 h 489806"/>
                    <a:gd name="connsiteX64" fmla="*/ 492112 w 604195"/>
                    <a:gd name="connsiteY64" fmla="*/ 174646 h 489806"/>
                    <a:gd name="connsiteX65" fmla="*/ 484190 w 604195"/>
                    <a:gd name="connsiteY65" fmla="*/ 214201 h 489806"/>
                    <a:gd name="connsiteX66" fmla="*/ 462083 w 604195"/>
                    <a:gd name="connsiteY66" fmla="*/ 214201 h 489806"/>
                    <a:gd name="connsiteX67" fmla="*/ 212652 w 604195"/>
                    <a:gd name="connsiteY67" fmla="*/ 214201 h 489806"/>
                    <a:gd name="connsiteX68" fmla="*/ 190545 w 604195"/>
                    <a:gd name="connsiteY68" fmla="*/ 236274 h 489806"/>
                    <a:gd name="connsiteX69" fmla="*/ 190545 w 604195"/>
                    <a:gd name="connsiteY69" fmla="*/ 466711 h 489806"/>
                    <a:gd name="connsiteX70" fmla="*/ 169845 w 604195"/>
                    <a:gd name="connsiteY70" fmla="*/ 489806 h 489806"/>
                    <a:gd name="connsiteX71" fmla="*/ 62124 w 604195"/>
                    <a:gd name="connsiteY71" fmla="*/ 489806 h 489806"/>
                    <a:gd name="connsiteX72" fmla="*/ 40018 w 604195"/>
                    <a:gd name="connsiteY72" fmla="*/ 467732 h 489806"/>
                    <a:gd name="connsiteX73" fmla="*/ 40018 w 604195"/>
                    <a:gd name="connsiteY73" fmla="*/ 214201 h 489806"/>
                    <a:gd name="connsiteX74" fmla="*/ 17911 w 604195"/>
                    <a:gd name="connsiteY74" fmla="*/ 214201 h 489806"/>
                    <a:gd name="connsiteX75" fmla="*/ 9989 w 604195"/>
                    <a:gd name="connsiteY75" fmla="*/ 174646 h 489806"/>
                    <a:gd name="connsiteX76" fmla="*/ 47685 w 604195"/>
                    <a:gd name="connsiteY76" fmla="*/ 145299 h 489806"/>
                    <a:gd name="connsiteX77" fmla="*/ 49474 w 604195"/>
                    <a:gd name="connsiteY77" fmla="*/ 143896 h 489806"/>
                    <a:gd name="connsiteX78" fmla="*/ 221980 w 604195"/>
                    <a:gd name="connsiteY78" fmla="*/ 9283 h 489806"/>
                    <a:gd name="connsiteX79" fmla="*/ 251051 w 604195"/>
                    <a:gd name="connsiteY79" fmla="*/ 0 h 4898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</a:cxnLst>
                  <a:rect l="l" t="t" r="r" b="b"/>
                  <a:pathLst>
                    <a:path w="604195" h="489806">
                      <a:moveTo>
                        <a:pt x="493872" y="437764"/>
                      </a:moveTo>
                      <a:cubicBezTo>
                        <a:pt x="485315" y="437764"/>
                        <a:pt x="478290" y="444654"/>
                        <a:pt x="478290" y="453330"/>
                      </a:cubicBezTo>
                      <a:cubicBezTo>
                        <a:pt x="478290" y="462007"/>
                        <a:pt x="485315" y="469024"/>
                        <a:pt x="493872" y="469024"/>
                      </a:cubicBezTo>
                      <a:cubicBezTo>
                        <a:pt x="502557" y="469024"/>
                        <a:pt x="509582" y="462007"/>
                        <a:pt x="509582" y="453330"/>
                      </a:cubicBezTo>
                      <a:cubicBezTo>
                        <a:pt x="509582" y="444654"/>
                        <a:pt x="502557" y="437764"/>
                        <a:pt x="493872" y="437764"/>
                      </a:cubicBezTo>
                      <a:close/>
                      <a:moveTo>
                        <a:pt x="304116" y="437764"/>
                      </a:moveTo>
                      <a:cubicBezTo>
                        <a:pt x="295429" y="437764"/>
                        <a:pt x="288403" y="444654"/>
                        <a:pt x="288403" y="453330"/>
                      </a:cubicBezTo>
                      <a:cubicBezTo>
                        <a:pt x="288403" y="462007"/>
                        <a:pt x="295429" y="469024"/>
                        <a:pt x="304116" y="469024"/>
                      </a:cubicBezTo>
                      <a:cubicBezTo>
                        <a:pt x="312674" y="469024"/>
                        <a:pt x="319700" y="462007"/>
                        <a:pt x="319700" y="453330"/>
                      </a:cubicBezTo>
                      <a:cubicBezTo>
                        <a:pt x="319700" y="444654"/>
                        <a:pt x="312674" y="437764"/>
                        <a:pt x="304116" y="437764"/>
                      </a:cubicBezTo>
                      <a:close/>
                      <a:moveTo>
                        <a:pt x="493872" y="417476"/>
                      </a:moveTo>
                      <a:cubicBezTo>
                        <a:pt x="513796" y="417476"/>
                        <a:pt x="529889" y="433553"/>
                        <a:pt x="529889" y="453330"/>
                      </a:cubicBezTo>
                      <a:cubicBezTo>
                        <a:pt x="529889" y="473235"/>
                        <a:pt x="513796" y="489312"/>
                        <a:pt x="493872" y="489312"/>
                      </a:cubicBezTo>
                      <a:cubicBezTo>
                        <a:pt x="474076" y="489312"/>
                        <a:pt x="457983" y="473235"/>
                        <a:pt x="457983" y="453330"/>
                      </a:cubicBezTo>
                      <a:cubicBezTo>
                        <a:pt x="457983" y="433553"/>
                        <a:pt x="474076" y="417476"/>
                        <a:pt x="493872" y="417476"/>
                      </a:cubicBezTo>
                      <a:close/>
                      <a:moveTo>
                        <a:pt x="304116" y="417476"/>
                      </a:moveTo>
                      <a:cubicBezTo>
                        <a:pt x="323916" y="417476"/>
                        <a:pt x="340139" y="433553"/>
                        <a:pt x="340139" y="453330"/>
                      </a:cubicBezTo>
                      <a:cubicBezTo>
                        <a:pt x="340139" y="473235"/>
                        <a:pt x="324043" y="489312"/>
                        <a:pt x="304116" y="489312"/>
                      </a:cubicBezTo>
                      <a:cubicBezTo>
                        <a:pt x="284188" y="489312"/>
                        <a:pt x="268092" y="473235"/>
                        <a:pt x="268092" y="453330"/>
                      </a:cubicBezTo>
                      <a:cubicBezTo>
                        <a:pt x="268092" y="433553"/>
                        <a:pt x="284188" y="417476"/>
                        <a:pt x="304116" y="417476"/>
                      </a:cubicBezTo>
                      <a:close/>
                      <a:moveTo>
                        <a:pt x="464381" y="306093"/>
                      </a:moveTo>
                      <a:lnTo>
                        <a:pt x="464381" y="358791"/>
                      </a:lnTo>
                      <a:lnTo>
                        <a:pt x="529815" y="358791"/>
                      </a:lnTo>
                      <a:cubicBezTo>
                        <a:pt x="528409" y="357260"/>
                        <a:pt x="527131" y="355601"/>
                        <a:pt x="526109" y="353432"/>
                      </a:cubicBezTo>
                      <a:lnTo>
                        <a:pt x="510645" y="322170"/>
                      </a:lnTo>
                      <a:cubicBezTo>
                        <a:pt x="506044" y="313366"/>
                        <a:pt x="494030" y="306093"/>
                        <a:pt x="484062" y="306093"/>
                      </a:cubicBezTo>
                      <a:close/>
                      <a:moveTo>
                        <a:pt x="276769" y="273555"/>
                      </a:moveTo>
                      <a:cubicBezTo>
                        <a:pt x="269612" y="273555"/>
                        <a:pt x="263733" y="279552"/>
                        <a:pt x="263733" y="286698"/>
                      </a:cubicBezTo>
                      <a:lnTo>
                        <a:pt x="263733" y="369509"/>
                      </a:lnTo>
                      <a:cubicBezTo>
                        <a:pt x="263733" y="376655"/>
                        <a:pt x="269612" y="382524"/>
                        <a:pt x="276769" y="382524"/>
                      </a:cubicBezTo>
                      <a:lnTo>
                        <a:pt x="404442" y="382524"/>
                      </a:lnTo>
                      <a:cubicBezTo>
                        <a:pt x="411727" y="382524"/>
                        <a:pt x="417605" y="376655"/>
                        <a:pt x="417605" y="369509"/>
                      </a:cubicBezTo>
                      <a:lnTo>
                        <a:pt x="417605" y="286698"/>
                      </a:lnTo>
                      <a:cubicBezTo>
                        <a:pt x="417605" y="279552"/>
                        <a:pt x="411727" y="273555"/>
                        <a:pt x="404442" y="273555"/>
                      </a:cubicBezTo>
                      <a:close/>
                      <a:moveTo>
                        <a:pt x="242774" y="238593"/>
                      </a:moveTo>
                      <a:lnTo>
                        <a:pt x="443677" y="238593"/>
                      </a:lnTo>
                      <a:cubicBezTo>
                        <a:pt x="455051" y="238593"/>
                        <a:pt x="464381" y="247908"/>
                        <a:pt x="464381" y="259264"/>
                      </a:cubicBezTo>
                      <a:lnTo>
                        <a:pt x="464381" y="291802"/>
                      </a:lnTo>
                      <a:lnTo>
                        <a:pt x="491347" y="291802"/>
                      </a:lnTo>
                      <a:cubicBezTo>
                        <a:pt x="502593" y="291802"/>
                        <a:pt x="516012" y="299968"/>
                        <a:pt x="521252" y="309921"/>
                      </a:cubicBezTo>
                      <a:lnTo>
                        <a:pt x="538505" y="345010"/>
                      </a:lnTo>
                      <a:cubicBezTo>
                        <a:pt x="543745" y="354963"/>
                        <a:pt x="551285" y="357132"/>
                        <a:pt x="564449" y="360577"/>
                      </a:cubicBezTo>
                      <a:cubicBezTo>
                        <a:pt x="575440" y="363385"/>
                        <a:pt x="604195" y="363385"/>
                        <a:pt x="604195" y="396178"/>
                      </a:cubicBezTo>
                      <a:lnTo>
                        <a:pt x="604195" y="435095"/>
                      </a:lnTo>
                      <a:cubicBezTo>
                        <a:pt x="604195" y="446324"/>
                        <a:pt x="594866" y="455511"/>
                        <a:pt x="583619" y="455511"/>
                      </a:cubicBezTo>
                      <a:lnTo>
                        <a:pt x="540806" y="455511"/>
                      </a:lnTo>
                      <a:cubicBezTo>
                        <a:pt x="540806" y="454873"/>
                        <a:pt x="540806" y="454107"/>
                        <a:pt x="540806" y="453342"/>
                      </a:cubicBezTo>
                      <a:cubicBezTo>
                        <a:pt x="540806" y="427567"/>
                        <a:pt x="519846" y="406513"/>
                        <a:pt x="493903" y="406513"/>
                      </a:cubicBezTo>
                      <a:cubicBezTo>
                        <a:pt x="468087" y="406513"/>
                        <a:pt x="447000" y="427567"/>
                        <a:pt x="447000" y="453342"/>
                      </a:cubicBezTo>
                      <a:cubicBezTo>
                        <a:pt x="447000" y="453980"/>
                        <a:pt x="447000" y="454618"/>
                        <a:pt x="447127" y="455256"/>
                      </a:cubicBezTo>
                      <a:cubicBezTo>
                        <a:pt x="445977" y="455383"/>
                        <a:pt x="444827" y="455511"/>
                        <a:pt x="443677" y="455511"/>
                      </a:cubicBezTo>
                      <a:lnTo>
                        <a:pt x="351021" y="455511"/>
                      </a:lnTo>
                      <a:cubicBezTo>
                        <a:pt x="351021" y="454873"/>
                        <a:pt x="351021" y="454107"/>
                        <a:pt x="351021" y="453342"/>
                      </a:cubicBezTo>
                      <a:cubicBezTo>
                        <a:pt x="351021" y="427567"/>
                        <a:pt x="329934" y="406513"/>
                        <a:pt x="304118" y="406513"/>
                      </a:cubicBezTo>
                      <a:cubicBezTo>
                        <a:pt x="278174" y="406513"/>
                        <a:pt x="257215" y="427567"/>
                        <a:pt x="257215" y="453342"/>
                      </a:cubicBezTo>
                      <a:cubicBezTo>
                        <a:pt x="257215" y="454107"/>
                        <a:pt x="257215" y="454873"/>
                        <a:pt x="257215" y="455511"/>
                      </a:cubicBezTo>
                      <a:lnTo>
                        <a:pt x="242774" y="455511"/>
                      </a:lnTo>
                      <a:cubicBezTo>
                        <a:pt x="231399" y="455511"/>
                        <a:pt x="221942" y="446196"/>
                        <a:pt x="221942" y="434840"/>
                      </a:cubicBezTo>
                      <a:lnTo>
                        <a:pt x="221942" y="259264"/>
                      </a:lnTo>
                      <a:cubicBezTo>
                        <a:pt x="221942" y="247908"/>
                        <a:pt x="231399" y="238593"/>
                        <a:pt x="242774" y="238593"/>
                      </a:cubicBezTo>
                      <a:close/>
                      <a:moveTo>
                        <a:pt x="251051" y="0"/>
                      </a:moveTo>
                      <a:cubicBezTo>
                        <a:pt x="261593" y="0"/>
                        <a:pt x="272135" y="3095"/>
                        <a:pt x="280121" y="9283"/>
                      </a:cubicBezTo>
                      <a:lnTo>
                        <a:pt x="452627" y="143896"/>
                      </a:lnTo>
                      <a:cubicBezTo>
                        <a:pt x="453266" y="144406"/>
                        <a:pt x="453777" y="144789"/>
                        <a:pt x="454416" y="145299"/>
                      </a:cubicBezTo>
                      <a:lnTo>
                        <a:pt x="492112" y="174646"/>
                      </a:lnTo>
                      <a:cubicBezTo>
                        <a:pt x="508085" y="187150"/>
                        <a:pt x="504507" y="214201"/>
                        <a:pt x="484190" y="214201"/>
                      </a:cubicBezTo>
                      <a:lnTo>
                        <a:pt x="462083" y="214201"/>
                      </a:lnTo>
                      <a:lnTo>
                        <a:pt x="212652" y="214201"/>
                      </a:lnTo>
                      <a:cubicBezTo>
                        <a:pt x="200513" y="214201"/>
                        <a:pt x="190545" y="224153"/>
                        <a:pt x="190545" y="236274"/>
                      </a:cubicBezTo>
                      <a:cubicBezTo>
                        <a:pt x="190545" y="236274"/>
                        <a:pt x="190545" y="460587"/>
                        <a:pt x="190545" y="466711"/>
                      </a:cubicBezTo>
                      <a:cubicBezTo>
                        <a:pt x="190545" y="480492"/>
                        <a:pt x="183645" y="489806"/>
                        <a:pt x="169845" y="489806"/>
                      </a:cubicBezTo>
                      <a:lnTo>
                        <a:pt x="62124" y="489806"/>
                      </a:lnTo>
                      <a:cubicBezTo>
                        <a:pt x="49985" y="489806"/>
                        <a:pt x="40018" y="479854"/>
                        <a:pt x="40018" y="467732"/>
                      </a:cubicBezTo>
                      <a:lnTo>
                        <a:pt x="40018" y="214201"/>
                      </a:lnTo>
                      <a:lnTo>
                        <a:pt x="17911" y="214201"/>
                      </a:lnTo>
                      <a:cubicBezTo>
                        <a:pt x="-2406" y="214201"/>
                        <a:pt x="-5984" y="187150"/>
                        <a:pt x="9989" y="174646"/>
                      </a:cubicBezTo>
                      <a:lnTo>
                        <a:pt x="47685" y="145299"/>
                      </a:lnTo>
                      <a:cubicBezTo>
                        <a:pt x="48324" y="144789"/>
                        <a:pt x="48835" y="144406"/>
                        <a:pt x="49474" y="143896"/>
                      </a:cubicBezTo>
                      <a:lnTo>
                        <a:pt x="221980" y="9283"/>
                      </a:lnTo>
                      <a:cubicBezTo>
                        <a:pt x="229967" y="3095"/>
                        <a:pt x="240509" y="0"/>
                        <a:pt x="251051" y="0"/>
                      </a:cubicBezTo>
                      <a:close/>
                    </a:path>
                  </a:pathLst>
                </a:custGeom>
                <a:solidFill>
                  <a:schemeClr val="accent1"/>
                </a:solidFill>
                <a:ln w="3175" cap="rnd">
                  <a:noFill/>
                  <a:prstDash val="solid"/>
                  <a:round/>
                  <a:headEnd/>
                  <a:tailEnd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rmAutofit fontScale="92500" lnSpcReduction="10000"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9pPr>
                </a:lstStyle>
                <a:p>
                  <a:pPr algn="ctr" defTabSz="914354"/>
                  <a:endParaRPr lang="zh-CN" altLang="en-US" sz="2000" b="1" i="1">
                    <a:solidFill>
                      <a:schemeClr val="tx1"/>
                    </a:solidFill>
                  </a:endParaRPr>
                </a:p>
              </p:txBody>
            </p:sp>
          </p:grpSp>
        </p:grpSp>
        <p:grpSp>
          <p:nvGrpSpPr>
            <p:cNvPr id="8" name="ïş1íḋé">
              <a:extLst>
                <a:ext uri="{FF2B5EF4-FFF2-40B4-BE49-F238E27FC236}">
                  <a16:creationId xmlns:a16="http://schemas.microsoft.com/office/drawing/2014/main" id="{A64EDAD0-0FA4-4965-928C-CF28EDEFB72A}"/>
                </a:ext>
              </a:extLst>
            </p:cNvPr>
            <p:cNvGrpSpPr/>
            <p:nvPr/>
          </p:nvGrpSpPr>
          <p:grpSpPr>
            <a:xfrm>
              <a:off x="3807987" y="2997201"/>
              <a:ext cx="2188634" cy="1827813"/>
              <a:chOff x="977327" y="2785197"/>
              <a:chExt cx="2188634" cy="1827813"/>
            </a:xfrm>
          </p:grpSpPr>
          <p:sp>
            <p:nvSpPr>
              <p:cNvPr id="28" name="iŝļïde">
                <a:extLst>
                  <a:ext uri="{FF2B5EF4-FFF2-40B4-BE49-F238E27FC236}">
                    <a16:creationId xmlns:a16="http://schemas.microsoft.com/office/drawing/2014/main" id="{CB922DDA-7816-4536-9523-E84620D15DCF}"/>
                  </a:ext>
                </a:extLst>
              </p:cNvPr>
              <p:cNvSpPr txBox="1"/>
              <p:nvPr/>
            </p:nvSpPr>
            <p:spPr bwMode="auto">
              <a:xfrm>
                <a:off x="977327" y="3623496"/>
                <a:ext cx="2188634" cy="98951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 eaLnBrk="1" hangingPunct="1">
                  <a:lnSpc>
                    <a:spcPct val="100000"/>
                  </a:lnSpc>
                  <a:spcBef>
                    <a:spcPct val="0"/>
                  </a:spcBef>
                  <a:buFontTx/>
                  <a:buNone/>
                </a:pPr>
                <a:r>
                  <a:rPr lang="zh-CN" altLang="en-US" sz="3200" b="1" dirty="0"/>
                  <a:t>疼 痛</a:t>
                </a:r>
                <a:endParaRPr lang="en-US" altLang="zh-CN" sz="3200" b="1" dirty="0"/>
              </a:p>
            </p:txBody>
          </p:sp>
          <p:grpSp>
            <p:nvGrpSpPr>
              <p:cNvPr id="24" name="ïṣļïḑè">
                <a:extLst>
                  <a:ext uri="{FF2B5EF4-FFF2-40B4-BE49-F238E27FC236}">
                    <a16:creationId xmlns:a16="http://schemas.microsoft.com/office/drawing/2014/main" id="{4850CF75-E85C-422B-A2EC-3CFB468131D0}"/>
                  </a:ext>
                </a:extLst>
              </p:cNvPr>
              <p:cNvGrpSpPr/>
              <p:nvPr/>
            </p:nvGrpSpPr>
            <p:grpSpPr>
              <a:xfrm>
                <a:off x="1618023" y="2785197"/>
                <a:ext cx="850898" cy="986404"/>
                <a:chOff x="1618023" y="2785197"/>
                <a:chExt cx="850898" cy="986404"/>
              </a:xfrm>
            </p:grpSpPr>
            <p:sp>
              <p:nvSpPr>
                <p:cNvPr id="25" name="îṧḷiḑê">
                  <a:extLst>
                    <a:ext uri="{FF2B5EF4-FFF2-40B4-BE49-F238E27FC236}">
                      <a16:creationId xmlns:a16="http://schemas.microsoft.com/office/drawing/2014/main" id="{F01517F7-0265-4138-B249-2A33DB1964D5}"/>
                    </a:ext>
                  </a:extLst>
                </p:cNvPr>
                <p:cNvSpPr/>
                <p:nvPr/>
              </p:nvSpPr>
              <p:spPr bwMode="auto">
                <a:xfrm>
                  <a:off x="1618023" y="2785197"/>
                  <a:ext cx="850898" cy="986404"/>
                </a:xfrm>
                <a:custGeom>
                  <a:avLst/>
                  <a:gdLst>
                    <a:gd name="T0" fmla="*/ 427 w 854"/>
                    <a:gd name="T1" fmla="*/ 990 h 990"/>
                    <a:gd name="T2" fmla="*/ 0 w 854"/>
                    <a:gd name="T3" fmla="*/ 776 h 990"/>
                    <a:gd name="T4" fmla="*/ 0 w 854"/>
                    <a:gd name="T5" fmla="*/ 213 h 990"/>
                    <a:gd name="T6" fmla="*/ 427 w 854"/>
                    <a:gd name="T7" fmla="*/ 0 h 990"/>
                    <a:gd name="T8" fmla="*/ 854 w 854"/>
                    <a:gd name="T9" fmla="*/ 213 h 990"/>
                    <a:gd name="T10" fmla="*/ 854 w 854"/>
                    <a:gd name="T11" fmla="*/ 776 h 990"/>
                    <a:gd name="T12" fmla="*/ 427 w 854"/>
                    <a:gd name="T13" fmla="*/ 990 h 99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854" h="990">
                      <a:moveTo>
                        <a:pt x="427" y="990"/>
                      </a:moveTo>
                      <a:lnTo>
                        <a:pt x="0" y="776"/>
                      </a:lnTo>
                      <a:lnTo>
                        <a:pt x="0" y="213"/>
                      </a:lnTo>
                      <a:lnTo>
                        <a:pt x="427" y="0"/>
                      </a:lnTo>
                      <a:lnTo>
                        <a:pt x="854" y="213"/>
                      </a:lnTo>
                      <a:lnTo>
                        <a:pt x="854" y="776"/>
                      </a:lnTo>
                      <a:lnTo>
                        <a:pt x="427" y="990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 w="3175" cap="rnd">
                  <a:noFill/>
                  <a:prstDash val="solid"/>
                  <a:round/>
                  <a:headEnd/>
                  <a:tailEnd/>
                </a:ln>
                <a:effectLst>
                  <a:outerShdw blurRad="381000" sx="102000" sy="102000" algn="ctr" rotWithShape="0">
                    <a:prstClr val="black">
                      <a:alpha val="1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9pPr>
                </a:lstStyle>
                <a:p>
                  <a:pPr algn="ctr" defTabSz="914354"/>
                  <a:endParaRPr lang="zh-CN" altLang="en-US" sz="2000" b="1" i="1" dirty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6" name="íṡ1íďe">
                  <a:extLst>
                    <a:ext uri="{FF2B5EF4-FFF2-40B4-BE49-F238E27FC236}">
                      <a16:creationId xmlns:a16="http://schemas.microsoft.com/office/drawing/2014/main" id="{D04C356D-4089-47F5-85CA-CB7AED387775}"/>
                    </a:ext>
                  </a:extLst>
                </p:cNvPr>
                <p:cNvSpPr/>
                <p:nvPr/>
              </p:nvSpPr>
              <p:spPr>
                <a:xfrm>
                  <a:off x="1838617" y="3112328"/>
                  <a:ext cx="409708" cy="332140"/>
                </a:xfrm>
                <a:custGeom>
                  <a:avLst/>
                  <a:gdLst>
                    <a:gd name="connsiteX0" fmla="*/ 493872 w 604195"/>
                    <a:gd name="connsiteY0" fmla="*/ 437764 h 489806"/>
                    <a:gd name="connsiteX1" fmla="*/ 478290 w 604195"/>
                    <a:gd name="connsiteY1" fmla="*/ 453330 h 489806"/>
                    <a:gd name="connsiteX2" fmla="*/ 493872 w 604195"/>
                    <a:gd name="connsiteY2" fmla="*/ 469024 h 489806"/>
                    <a:gd name="connsiteX3" fmla="*/ 509582 w 604195"/>
                    <a:gd name="connsiteY3" fmla="*/ 453330 h 489806"/>
                    <a:gd name="connsiteX4" fmla="*/ 493872 w 604195"/>
                    <a:gd name="connsiteY4" fmla="*/ 437764 h 489806"/>
                    <a:gd name="connsiteX5" fmla="*/ 304116 w 604195"/>
                    <a:gd name="connsiteY5" fmla="*/ 437764 h 489806"/>
                    <a:gd name="connsiteX6" fmla="*/ 288403 w 604195"/>
                    <a:gd name="connsiteY6" fmla="*/ 453330 h 489806"/>
                    <a:gd name="connsiteX7" fmla="*/ 304116 w 604195"/>
                    <a:gd name="connsiteY7" fmla="*/ 469024 h 489806"/>
                    <a:gd name="connsiteX8" fmla="*/ 319700 w 604195"/>
                    <a:gd name="connsiteY8" fmla="*/ 453330 h 489806"/>
                    <a:gd name="connsiteX9" fmla="*/ 304116 w 604195"/>
                    <a:gd name="connsiteY9" fmla="*/ 437764 h 489806"/>
                    <a:gd name="connsiteX10" fmla="*/ 493872 w 604195"/>
                    <a:gd name="connsiteY10" fmla="*/ 417476 h 489806"/>
                    <a:gd name="connsiteX11" fmla="*/ 529889 w 604195"/>
                    <a:gd name="connsiteY11" fmla="*/ 453330 h 489806"/>
                    <a:gd name="connsiteX12" fmla="*/ 493872 w 604195"/>
                    <a:gd name="connsiteY12" fmla="*/ 489312 h 489806"/>
                    <a:gd name="connsiteX13" fmla="*/ 457983 w 604195"/>
                    <a:gd name="connsiteY13" fmla="*/ 453330 h 489806"/>
                    <a:gd name="connsiteX14" fmla="*/ 493872 w 604195"/>
                    <a:gd name="connsiteY14" fmla="*/ 417476 h 489806"/>
                    <a:gd name="connsiteX15" fmla="*/ 304116 w 604195"/>
                    <a:gd name="connsiteY15" fmla="*/ 417476 h 489806"/>
                    <a:gd name="connsiteX16" fmla="*/ 340139 w 604195"/>
                    <a:gd name="connsiteY16" fmla="*/ 453330 h 489806"/>
                    <a:gd name="connsiteX17" fmla="*/ 304116 w 604195"/>
                    <a:gd name="connsiteY17" fmla="*/ 489312 h 489806"/>
                    <a:gd name="connsiteX18" fmla="*/ 268092 w 604195"/>
                    <a:gd name="connsiteY18" fmla="*/ 453330 h 489806"/>
                    <a:gd name="connsiteX19" fmla="*/ 304116 w 604195"/>
                    <a:gd name="connsiteY19" fmla="*/ 417476 h 489806"/>
                    <a:gd name="connsiteX20" fmla="*/ 464381 w 604195"/>
                    <a:gd name="connsiteY20" fmla="*/ 306093 h 489806"/>
                    <a:gd name="connsiteX21" fmla="*/ 464381 w 604195"/>
                    <a:gd name="connsiteY21" fmla="*/ 358791 h 489806"/>
                    <a:gd name="connsiteX22" fmla="*/ 529815 w 604195"/>
                    <a:gd name="connsiteY22" fmla="*/ 358791 h 489806"/>
                    <a:gd name="connsiteX23" fmla="*/ 526109 w 604195"/>
                    <a:gd name="connsiteY23" fmla="*/ 353432 h 489806"/>
                    <a:gd name="connsiteX24" fmla="*/ 510645 w 604195"/>
                    <a:gd name="connsiteY24" fmla="*/ 322170 h 489806"/>
                    <a:gd name="connsiteX25" fmla="*/ 484062 w 604195"/>
                    <a:gd name="connsiteY25" fmla="*/ 306093 h 489806"/>
                    <a:gd name="connsiteX26" fmla="*/ 276769 w 604195"/>
                    <a:gd name="connsiteY26" fmla="*/ 273555 h 489806"/>
                    <a:gd name="connsiteX27" fmla="*/ 263733 w 604195"/>
                    <a:gd name="connsiteY27" fmla="*/ 286698 h 489806"/>
                    <a:gd name="connsiteX28" fmla="*/ 263733 w 604195"/>
                    <a:gd name="connsiteY28" fmla="*/ 369509 h 489806"/>
                    <a:gd name="connsiteX29" fmla="*/ 276769 w 604195"/>
                    <a:gd name="connsiteY29" fmla="*/ 382524 h 489806"/>
                    <a:gd name="connsiteX30" fmla="*/ 404442 w 604195"/>
                    <a:gd name="connsiteY30" fmla="*/ 382524 h 489806"/>
                    <a:gd name="connsiteX31" fmla="*/ 417605 w 604195"/>
                    <a:gd name="connsiteY31" fmla="*/ 369509 h 489806"/>
                    <a:gd name="connsiteX32" fmla="*/ 417605 w 604195"/>
                    <a:gd name="connsiteY32" fmla="*/ 286698 h 489806"/>
                    <a:gd name="connsiteX33" fmla="*/ 404442 w 604195"/>
                    <a:gd name="connsiteY33" fmla="*/ 273555 h 489806"/>
                    <a:gd name="connsiteX34" fmla="*/ 242774 w 604195"/>
                    <a:gd name="connsiteY34" fmla="*/ 238593 h 489806"/>
                    <a:gd name="connsiteX35" fmla="*/ 443677 w 604195"/>
                    <a:gd name="connsiteY35" fmla="*/ 238593 h 489806"/>
                    <a:gd name="connsiteX36" fmla="*/ 464381 w 604195"/>
                    <a:gd name="connsiteY36" fmla="*/ 259264 h 489806"/>
                    <a:gd name="connsiteX37" fmla="*/ 464381 w 604195"/>
                    <a:gd name="connsiteY37" fmla="*/ 291802 h 489806"/>
                    <a:gd name="connsiteX38" fmla="*/ 491347 w 604195"/>
                    <a:gd name="connsiteY38" fmla="*/ 291802 h 489806"/>
                    <a:gd name="connsiteX39" fmla="*/ 521252 w 604195"/>
                    <a:gd name="connsiteY39" fmla="*/ 309921 h 489806"/>
                    <a:gd name="connsiteX40" fmla="*/ 538505 w 604195"/>
                    <a:gd name="connsiteY40" fmla="*/ 345010 h 489806"/>
                    <a:gd name="connsiteX41" fmla="*/ 564449 w 604195"/>
                    <a:gd name="connsiteY41" fmla="*/ 360577 h 489806"/>
                    <a:gd name="connsiteX42" fmla="*/ 604195 w 604195"/>
                    <a:gd name="connsiteY42" fmla="*/ 396178 h 489806"/>
                    <a:gd name="connsiteX43" fmla="*/ 604195 w 604195"/>
                    <a:gd name="connsiteY43" fmla="*/ 435095 h 489806"/>
                    <a:gd name="connsiteX44" fmla="*/ 583619 w 604195"/>
                    <a:gd name="connsiteY44" fmla="*/ 455511 h 489806"/>
                    <a:gd name="connsiteX45" fmla="*/ 540806 w 604195"/>
                    <a:gd name="connsiteY45" fmla="*/ 455511 h 489806"/>
                    <a:gd name="connsiteX46" fmla="*/ 540806 w 604195"/>
                    <a:gd name="connsiteY46" fmla="*/ 453342 h 489806"/>
                    <a:gd name="connsiteX47" fmla="*/ 493903 w 604195"/>
                    <a:gd name="connsiteY47" fmla="*/ 406513 h 489806"/>
                    <a:gd name="connsiteX48" fmla="*/ 447000 w 604195"/>
                    <a:gd name="connsiteY48" fmla="*/ 453342 h 489806"/>
                    <a:gd name="connsiteX49" fmla="*/ 447127 w 604195"/>
                    <a:gd name="connsiteY49" fmla="*/ 455256 h 489806"/>
                    <a:gd name="connsiteX50" fmla="*/ 443677 w 604195"/>
                    <a:gd name="connsiteY50" fmla="*/ 455511 h 489806"/>
                    <a:gd name="connsiteX51" fmla="*/ 351021 w 604195"/>
                    <a:gd name="connsiteY51" fmla="*/ 455511 h 489806"/>
                    <a:gd name="connsiteX52" fmla="*/ 351021 w 604195"/>
                    <a:gd name="connsiteY52" fmla="*/ 453342 h 489806"/>
                    <a:gd name="connsiteX53" fmla="*/ 304118 w 604195"/>
                    <a:gd name="connsiteY53" fmla="*/ 406513 h 489806"/>
                    <a:gd name="connsiteX54" fmla="*/ 257215 w 604195"/>
                    <a:gd name="connsiteY54" fmla="*/ 453342 h 489806"/>
                    <a:gd name="connsiteX55" fmla="*/ 257215 w 604195"/>
                    <a:gd name="connsiteY55" fmla="*/ 455511 h 489806"/>
                    <a:gd name="connsiteX56" fmla="*/ 242774 w 604195"/>
                    <a:gd name="connsiteY56" fmla="*/ 455511 h 489806"/>
                    <a:gd name="connsiteX57" fmla="*/ 221942 w 604195"/>
                    <a:gd name="connsiteY57" fmla="*/ 434840 h 489806"/>
                    <a:gd name="connsiteX58" fmla="*/ 221942 w 604195"/>
                    <a:gd name="connsiteY58" fmla="*/ 259264 h 489806"/>
                    <a:gd name="connsiteX59" fmla="*/ 242774 w 604195"/>
                    <a:gd name="connsiteY59" fmla="*/ 238593 h 489806"/>
                    <a:gd name="connsiteX60" fmla="*/ 251051 w 604195"/>
                    <a:gd name="connsiteY60" fmla="*/ 0 h 489806"/>
                    <a:gd name="connsiteX61" fmla="*/ 280121 w 604195"/>
                    <a:gd name="connsiteY61" fmla="*/ 9283 h 489806"/>
                    <a:gd name="connsiteX62" fmla="*/ 452627 w 604195"/>
                    <a:gd name="connsiteY62" fmla="*/ 143896 h 489806"/>
                    <a:gd name="connsiteX63" fmla="*/ 454416 w 604195"/>
                    <a:gd name="connsiteY63" fmla="*/ 145299 h 489806"/>
                    <a:gd name="connsiteX64" fmla="*/ 492112 w 604195"/>
                    <a:gd name="connsiteY64" fmla="*/ 174646 h 489806"/>
                    <a:gd name="connsiteX65" fmla="*/ 484190 w 604195"/>
                    <a:gd name="connsiteY65" fmla="*/ 214201 h 489806"/>
                    <a:gd name="connsiteX66" fmla="*/ 462083 w 604195"/>
                    <a:gd name="connsiteY66" fmla="*/ 214201 h 489806"/>
                    <a:gd name="connsiteX67" fmla="*/ 212652 w 604195"/>
                    <a:gd name="connsiteY67" fmla="*/ 214201 h 489806"/>
                    <a:gd name="connsiteX68" fmla="*/ 190545 w 604195"/>
                    <a:gd name="connsiteY68" fmla="*/ 236274 h 489806"/>
                    <a:gd name="connsiteX69" fmla="*/ 190545 w 604195"/>
                    <a:gd name="connsiteY69" fmla="*/ 466711 h 489806"/>
                    <a:gd name="connsiteX70" fmla="*/ 169845 w 604195"/>
                    <a:gd name="connsiteY70" fmla="*/ 489806 h 489806"/>
                    <a:gd name="connsiteX71" fmla="*/ 62124 w 604195"/>
                    <a:gd name="connsiteY71" fmla="*/ 489806 h 489806"/>
                    <a:gd name="connsiteX72" fmla="*/ 40018 w 604195"/>
                    <a:gd name="connsiteY72" fmla="*/ 467732 h 489806"/>
                    <a:gd name="connsiteX73" fmla="*/ 40018 w 604195"/>
                    <a:gd name="connsiteY73" fmla="*/ 214201 h 489806"/>
                    <a:gd name="connsiteX74" fmla="*/ 17911 w 604195"/>
                    <a:gd name="connsiteY74" fmla="*/ 214201 h 489806"/>
                    <a:gd name="connsiteX75" fmla="*/ 9989 w 604195"/>
                    <a:gd name="connsiteY75" fmla="*/ 174646 h 489806"/>
                    <a:gd name="connsiteX76" fmla="*/ 47685 w 604195"/>
                    <a:gd name="connsiteY76" fmla="*/ 145299 h 489806"/>
                    <a:gd name="connsiteX77" fmla="*/ 49474 w 604195"/>
                    <a:gd name="connsiteY77" fmla="*/ 143896 h 489806"/>
                    <a:gd name="connsiteX78" fmla="*/ 221980 w 604195"/>
                    <a:gd name="connsiteY78" fmla="*/ 9283 h 489806"/>
                    <a:gd name="connsiteX79" fmla="*/ 251051 w 604195"/>
                    <a:gd name="connsiteY79" fmla="*/ 0 h 4898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</a:cxnLst>
                  <a:rect l="l" t="t" r="r" b="b"/>
                  <a:pathLst>
                    <a:path w="604195" h="489806">
                      <a:moveTo>
                        <a:pt x="493872" y="437764"/>
                      </a:moveTo>
                      <a:cubicBezTo>
                        <a:pt x="485315" y="437764"/>
                        <a:pt x="478290" y="444654"/>
                        <a:pt x="478290" y="453330"/>
                      </a:cubicBezTo>
                      <a:cubicBezTo>
                        <a:pt x="478290" y="462007"/>
                        <a:pt x="485315" y="469024"/>
                        <a:pt x="493872" y="469024"/>
                      </a:cubicBezTo>
                      <a:cubicBezTo>
                        <a:pt x="502557" y="469024"/>
                        <a:pt x="509582" y="462007"/>
                        <a:pt x="509582" y="453330"/>
                      </a:cubicBezTo>
                      <a:cubicBezTo>
                        <a:pt x="509582" y="444654"/>
                        <a:pt x="502557" y="437764"/>
                        <a:pt x="493872" y="437764"/>
                      </a:cubicBezTo>
                      <a:close/>
                      <a:moveTo>
                        <a:pt x="304116" y="437764"/>
                      </a:moveTo>
                      <a:cubicBezTo>
                        <a:pt x="295429" y="437764"/>
                        <a:pt x="288403" y="444654"/>
                        <a:pt x="288403" y="453330"/>
                      </a:cubicBezTo>
                      <a:cubicBezTo>
                        <a:pt x="288403" y="462007"/>
                        <a:pt x="295429" y="469024"/>
                        <a:pt x="304116" y="469024"/>
                      </a:cubicBezTo>
                      <a:cubicBezTo>
                        <a:pt x="312674" y="469024"/>
                        <a:pt x="319700" y="462007"/>
                        <a:pt x="319700" y="453330"/>
                      </a:cubicBezTo>
                      <a:cubicBezTo>
                        <a:pt x="319700" y="444654"/>
                        <a:pt x="312674" y="437764"/>
                        <a:pt x="304116" y="437764"/>
                      </a:cubicBezTo>
                      <a:close/>
                      <a:moveTo>
                        <a:pt x="493872" y="417476"/>
                      </a:moveTo>
                      <a:cubicBezTo>
                        <a:pt x="513796" y="417476"/>
                        <a:pt x="529889" y="433553"/>
                        <a:pt x="529889" y="453330"/>
                      </a:cubicBezTo>
                      <a:cubicBezTo>
                        <a:pt x="529889" y="473235"/>
                        <a:pt x="513796" y="489312"/>
                        <a:pt x="493872" y="489312"/>
                      </a:cubicBezTo>
                      <a:cubicBezTo>
                        <a:pt x="474076" y="489312"/>
                        <a:pt x="457983" y="473235"/>
                        <a:pt x="457983" y="453330"/>
                      </a:cubicBezTo>
                      <a:cubicBezTo>
                        <a:pt x="457983" y="433553"/>
                        <a:pt x="474076" y="417476"/>
                        <a:pt x="493872" y="417476"/>
                      </a:cubicBezTo>
                      <a:close/>
                      <a:moveTo>
                        <a:pt x="304116" y="417476"/>
                      </a:moveTo>
                      <a:cubicBezTo>
                        <a:pt x="323916" y="417476"/>
                        <a:pt x="340139" y="433553"/>
                        <a:pt x="340139" y="453330"/>
                      </a:cubicBezTo>
                      <a:cubicBezTo>
                        <a:pt x="340139" y="473235"/>
                        <a:pt x="324043" y="489312"/>
                        <a:pt x="304116" y="489312"/>
                      </a:cubicBezTo>
                      <a:cubicBezTo>
                        <a:pt x="284188" y="489312"/>
                        <a:pt x="268092" y="473235"/>
                        <a:pt x="268092" y="453330"/>
                      </a:cubicBezTo>
                      <a:cubicBezTo>
                        <a:pt x="268092" y="433553"/>
                        <a:pt x="284188" y="417476"/>
                        <a:pt x="304116" y="417476"/>
                      </a:cubicBezTo>
                      <a:close/>
                      <a:moveTo>
                        <a:pt x="464381" y="306093"/>
                      </a:moveTo>
                      <a:lnTo>
                        <a:pt x="464381" y="358791"/>
                      </a:lnTo>
                      <a:lnTo>
                        <a:pt x="529815" y="358791"/>
                      </a:lnTo>
                      <a:cubicBezTo>
                        <a:pt x="528409" y="357260"/>
                        <a:pt x="527131" y="355601"/>
                        <a:pt x="526109" y="353432"/>
                      </a:cubicBezTo>
                      <a:lnTo>
                        <a:pt x="510645" y="322170"/>
                      </a:lnTo>
                      <a:cubicBezTo>
                        <a:pt x="506044" y="313366"/>
                        <a:pt x="494030" y="306093"/>
                        <a:pt x="484062" y="306093"/>
                      </a:cubicBezTo>
                      <a:close/>
                      <a:moveTo>
                        <a:pt x="276769" y="273555"/>
                      </a:moveTo>
                      <a:cubicBezTo>
                        <a:pt x="269612" y="273555"/>
                        <a:pt x="263733" y="279552"/>
                        <a:pt x="263733" y="286698"/>
                      </a:cubicBezTo>
                      <a:lnTo>
                        <a:pt x="263733" y="369509"/>
                      </a:lnTo>
                      <a:cubicBezTo>
                        <a:pt x="263733" y="376655"/>
                        <a:pt x="269612" y="382524"/>
                        <a:pt x="276769" y="382524"/>
                      </a:cubicBezTo>
                      <a:lnTo>
                        <a:pt x="404442" y="382524"/>
                      </a:lnTo>
                      <a:cubicBezTo>
                        <a:pt x="411727" y="382524"/>
                        <a:pt x="417605" y="376655"/>
                        <a:pt x="417605" y="369509"/>
                      </a:cubicBezTo>
                      <a:lnTo>
                        <a:pt x="417605" y="286698"/>
                      </a:lnTo>
                      <a:cubicBezTo>
                        <a:pt x="417605" y="279552"/>
                        <a:pt x="411727" y="273555"/>
                        <a:pt x="404442" y="273555"/>
                      </a:cubicBezTo>
                      <a:close/>
                      <a:moveTo>
                        <a:pt x="242774" y="238593"/>
                      </a:moveTo>
                      <a:lnTo>
                        <a:pt x="443677" y="238593"/>
                      </a:lnTo>
                      <a:cubicBezTo>
                        <a:pt x="455051" y="238593"/>
                        <a:pt x="464381" y="247908"/>
                        <a:pt x="464381" y="259264"/>
                      </a:cubicBezTo>
                      <a:lnTo>
                        <a:pt x="464381" y="291802"/>
                      </a:lnTo>
                      <a:lnTo>
                        <a:pt x="491347" y="291802"/>
                      </a:lnTo>
                      <a:cubicBezTo>
                        <a:pt x="502593" y="291802"/>
                        <a:pt x="516012" y="299968"/>
                        <a:pt x="521252" y="309921"/>
                      </a:cubicBezTo>
                      <a:lnTo>
                        <a:pt x="538505" y="345010"/>
                      </a:lnTo>
                      <a:cubicBezTo>
                        <a:pt x="543745" y="354963"/>
                        <a:pt x="551285" y="357132"/>
                        <a:pt x="564449" y="360577"/>
                      </a:cubicBezTo>
                      <a:cubicBezTo>
                        <a:pt x="575440" y="363385"/>
                        <a:pt x="604195" y="363385"/>
                        <a:pt x="604195" y="396178"/>
                      </a:cubicBezTo>
                      <a:lnTo>
                        <a:pt x="604195" y="435095"/>
                      </a:lnTo>
                      <a:cubicBezTo>
                        <a:pt x="604195" y="446324"/>
                        <a:pt x="594866" y="455511"/>
                        <a:pt x="583619" y="455511"/>
                      </a:cubicBezTo>
                      <a:lnTo>
                        <a:pt x="540806" y="455511"/>
                      </a:lnTo>
                      <a:cubicBezTo>
                        <a:pt x="540806" y="454873"/>
                        <a:pt x="540806" y="454107"/>
                        <a:pt x="540806" y="453342"/>
                      </a:cubicBezTo>
                      <a:cubicBezTo>
                        <a:pt x="540806" y="427567"/>
                        <a:pt x="519846" y="406513"/>
                        <a:pt x="493903" y="406513"/>
                      </a:cubicBezTo>
                      <a:cubicBezTo>
                        <a:pt x="468087" y="406513"/>
                        <a:pt x="447000" y="427567"/>
                        <a:pt x="447000" y="453342"/>
                      </a:cubicBezTo>
                      <a:cubicBezTo>
                        <a:pt x="447000" y="453980"/>
                        <a:pt x="447000" y="454618"/>
                        <a:pt x="447127" y="455256"/>
                      </a:cubicBezTo>
                      <a:cubicBezTo>
                        <a:pt x="445977" y="455383"/>
                        <a:pt x="444827" y="455511"/>
                        <a:pt x="443677" y="455511"/>
                      </a:cubicBezTo>
                      <a:lnTo>
                        <a:pt x="351021" y="455511"/>
                      </a:lnTo>
                      <a:cubicBezTo>
                        <a:pt x="351021" y="454873"/>
                        <a:pt x="351021" y="454107"/>
                        <a:pt x="351021" y="453342"/>
                      </a:cubicBezTo>
                      <a:cubicBezTo>
                        <a:pt x="351021" y="427567"/>
                        <a:pt x="329934" y="406513"/>
                        <a:pt x="304118" y="406513"/>
                      </a:cubicBezTo>
                      <a:cubicBezTo>
                        <a:pt x="278174" y="406513"/>
                        <a:pt x="257215" y="427567"/>
                        <a:pt x="257215" y="453342"/>
                      </a:cubicBezTo>
                      <a:cubicBezTo>
                        <a:pt x="257215" y="454107"/>
                        <a:pt x="257215" y="454873"/>
                        <a:pt x="257215" y="455511"/>
                      </a:cubicBezTo>
                      <a:lnTo>
                        <a:pt x="242774" y="455511"/>
                      </a:lnTo>
                      <a:cubicBezTo>
                        <a:pt x="231399" y="455511"/>
                        <a:pt x="221942" y="446196"/>
                        <a:pt x="221942" y="434840"/>
                      </a:cubicBezTo>
                      <a:lnTo>
                        <a:pt x="221942" y="259264"/>
                      </a:lnTo>
                      <a:cubicBezTo>
                        <a:pt x="221942" y="247908"/>
                        <a:pt x="231399" y="238593"/>
                        <a:pt x="242774" y="238593"/>
                      </a:cubicBezTo>
                      <a:close/>
                      <a:moveTo>
                        <a:pt x="251051" y="0"/>
                      </a:moveTo>
                      <a:cubicBezTo>
                        <a:pt x="261593" y="0"/>
                        <a:pt x="272135" y="3095"/>
                        <a:pt x="280121" y="9283"/>
                      </a:cubicBezTo>
                      <a:lnTo>
                        <a:pt x="452627" y="143896"/>
                      </a:lnTo>
                      <a:cubicBezTo>
                        <a:pt x="453266" y="144406"/>
                        <a:pt x="453777" y="144789"/>
                        <a:pt x="454416" y="145299"/>
                      </a:cubicBezTo>
                      <a:lnTo>
                        <a:pt x="492112" y="174646"/>
                      </a:lnTo>
                      <a:cubicBezTo>
                        <a:pt x="508085" y="187150"/>
                        <a:pt x="504507" y="214201"/>
                        <a:pt x="484190" y="214201"/>
                      </a:cubicBezTo>
                      <a:lnTo>
                        <a:pt x="462083" y="214201"/>
                      </a:lnTo>
                      <a:lnTo>
                        <a:pt x="212652" y="214201"/>
                      </a:lnTo>
                      <a:cubicBezTo>
                        <a:pt x="200513" y="214201"/>
                        <a:pt x="190545" y="224153"/>
                        <a:pt x="190545" y="236274"/>
                      </a:cubicBezTo>
                      <a:cubicBezTo>
                        <a:pt x="190545" y="236274"/>
                        <a:pt x="190545" y="460587"/>
                        <a:pt x="190545" y="466711"/>
                      </a:cubicBezTo>
                      <a:cubicBezTo>
                        <a:pt x="190545" y="480492"/>
                        <a:pt x="183645" y="489806"/>
                        <a:pt x="169845" y="489806"/>
                      </a:cubicBezTo>
                      <a:lnTo>
                        <a:pt x="62124" y="489806"/>
                      </a:lnTo>
                      <a:cubicBezTo>
                        <a:pt x="49985" y="489806"/>
                        <a:pt x="40018" y="479854"/>
                        <a:pt x="40018" y="467732"/>
                      </a:cubicBezTo>
                      <a:lnTo>
                        <a:pt x="40018" y="214201"/>
                      </a:lnTo>
                      <a:lnTo>
                        <a:pt x="17911" y="214201"/>
                      </a:lnTo>
                      <a:cubicBezTo>
                        <a:pt x="-2406" y="214201"/>
                        <a:pt x="-5984" y="187150"/>
                        <a:pt x="9989" y="174646"/>
                      </a:cubicBezTo>
                      <a:lnTo>
                        <a:pt x="47685" y="145299"/>
                      </a:lnTo>
                      <a:cubicBezTo>
                        <a:pt x="48324" y="144789"/>
                        <a:pt x="48835" y="144406"/>
                        <a:pt x="49474" y="143896"/>
                      </a:cubicBezTo>
                      <a:lnTo>
                        <a:pt x="221980" y="9283"/>
                      </a:lnTo>
                      <a:cubicBezTo>
                        <a:pt x="229967" y="3095"/>
                        <a:pt x="240509" y="0"/>
                        <a:pt x="251051" y="0"/>
                      </a:cubicBezTo>
                      <a:close/>
                    </a:path>
                  </a:pathLst>
                </a:custGeom>
                <a:solidFill>
                  <a:schemeClr val="accent1"/>
                </a:solidFill>
                <a:ln w="3175" cap="rnd">
                  <a:noFill/>
                  <a:prstDash val="solid"/>
                  <a:round/>
                  <a:headEnd/>
                  <a:tailEnd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rmAutofit fontScale="92500" lnSpcReduction="10000"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9pPr>
                </a:lstStyle>
                <a:p>
                  <a:pPr algn="ctr" defTabSz="914354"/>
                  <a:endParaRPr lang="zh-CN" altLang="en-US" sz="2000" b="1" i="1">
                    <a:solidFill>
                      <a:schemeClr val="tx1"/>
                    </a:solidFill>
                  </a:endParaRPr>
                </a:p>
              </p:txBody>
            </p:sp>
          </p:grpSp>
        </p:grpSp>
        <p:grpSp>
          <p:nvGrpSpPr>
            <p:cNvPr id="9" name="îŝľiḓe">
              <a:extLst>
                <a:ext uri="{FF2B5EF4-FFF2-40B4-BE49-F238E27FC236}">
                  <a16:creationId xmlns:a16="http://schemas.microsoft.com/office/drawing/2014/main" id="{044B974E-AEBB-4318-8AF7-FDAFE2612E2B}"/>
                </a:ext>
              </a:extLst>
            </p:cNvPr>
            <p:cNvGrpSpPr/>
            <p:nvPr/>
          </p:nvGrpSpPr>
          <p:grpSpPr>
            <a:xfrm>
              <a:off x="6239024" y="3292476"/>
              <a:ext cx="2188634" cy="1827813"/>
              <a:chOff x="977327" y="2785197"/>
              <a:chExt cx="2188634" cy="1827813"/>
            </a:xfrm>
          </p:grpSpPr>
          <p:sp>
            <p:nvSpPr>
              <p:cNvPr id="22" name="iṣľídê">
                <a:extLst>
                  <a:ext uri="{FF2B5EF4-FFF2-40B4-BE49-F238E27FC236}">
                    <a16:creationId xmlns:a16="http://schemas.microsoft.com/office/drawing/2014/main" id="{5C04727C-3768-4E22-BADE-FE37ABA7CD42}"/>
                  </a:ext>
                </a:extLst>
              </p:cNvPr>
              <p:cNvSpPr txBox="1"/>
              <p:nvPr/>
            </p:nvSpPr>
            <p:spPr bwMode="auto">
              <a:xfrm>
                <a:off x="977327" y="3623496"/>
                <a:ext cx="2188634" cy="98951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 eaLnBrk="1" hangingPunct="1">
                  <a:lnSpc>
                    <a:spcPct val="100000"/>
                  </a:lnSpc>
                  <a:spcBef>
                    <a:spcPct val="0"/>
                  </a:spcBef>
                  <a:buFontTx/>
                  <a:buNone/>
                </a:pPr>
                <a:r>
                  <a:rPr lang="zh-CN" altLang="en-US" sz="3200" b="1" dirty="0"/>
                  <a:t>知识缺乏</a:t>
                </a:r>
                <a:endParaRPr lang="en-US" altLang="zh-CN" sz="3200" b="1" dirty="0"/>
              </a:p>
            </p:txBody>
          </p:sp>
          <p:grpSp>
            <p:nvGrpSpPr>
              <p:cNvPr id="18" name="îṩḻídè">
                <a:extLst>
                  <a:ext uri="{FF2B5EF4-FFF2-40B4-BE49-F238E27FC236}">
                    <a16:creationId xmlns:a16="http://schemas.microsoft.com/office/drawing/2014/main" id="{86697540-CDDE-4F3B-8A0A-42729F4C3642}"/>
                  </a:ext>
                </a:extLst>
              </p:cNvPr>
              <p:cNvGrpSpPr/>
              <p:nvPr/>
            </p:nvGrpSpPr>
            <p:grpSpPr>
              <a:xfrm>
                <a:off x="1618023" y="2785197"/>
                <a:ext cx="850898" cy="986404"/>
                <a:chOff x="1618023" y="2785197"/>
                <a:chExt cx="850898" cy="986404"/>
              </a:xfrm>
            </p:grpSpPr>
            <p:sp>
              <p:nvSpPr>
                <p:cNvPr id="19" name="ïśḷïḑê">
                  <a:extLst>
                    <a:ext uri="{FF2B5EF4-FFF2-40B4-BE49-F238E27FC236}">
                      <a16:creationId xmlns:a16="http://schemas.microsoft.com/office/drawing/2014/main" id="{7475CB34-61FA-47EE-9D3B-DADC7AB24053}"/>
                    </a:ext>
                  </a:extLst>
                </p:cNvPr>
                <p:cNvSpPr/>
                <p:nvPr/>
              </p:nvSpPr>
              <p:spPr bwMode="auto">
                <a:xfrm>
                  <a:off x="1618023" y="2785197"/>
                  <a:ext cx="850898" cy="986404"/>
                </a:xfrm>
                <a:custGeom>
                  <a:avLst/>
                  <a:gdLst>
                    <a:gd name="T0" fmla="*/ 427 w 854"/>
                    <a:gd name="T1" fmla="*/ 990 h 990"/>
                    <a:gd name="T2" fmla="*/ 0 w 854"/>
                    <a:gd name="T3" fmla="*/ 776 h 990"/>
                    <a:gd name="T4" fmla="*/ 0 w 854"/>
                    <a:gd name="T5" fmla="*/ 213 h 990"/>
                    <a:gd name="T6" fmla="*/ 427 w 854"/>
                    <a:gd name="T7" fmla="*/ 0 h 990"/>
                    <a:gd name="T8" fmla="*/ 854 w 854"/>
                    <a:gd name="T9" fmla="*/ 213 h 990"/>
                    <a:gd name="T10" fmla="*/ 854 w 854"/>
                    <a:gd name="T11" fmla="*/ 776 h 990"/>
                    <a:gd name="T12" fmla="*/ 427 w 854"/>
                    <a:gd name="T13" fmla="*/ 990 h 99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854" h="990">
                      <a:moveTo>
                        <a:pt x="427" y="990"/>
                      </a:moveTo>
                      <a:lnTo>
                        <a:pt x="0" y="776"/>
                      </a:lnTo>
                      <a:lnTo>
                        <a:pt x="0" y="213"/>
                      </a:lnTo>
                      <a:lnTo>
                        <a:pt x="427" y="0"/>
                      </a:lnTo>
                      <a:lnTo>
                        <a:pt x="854" y="213"/>
                      </a:lnTo>
                      <a:lnTo>
                        <a:pt x="854" y="776"/>
                      </a:lnTo>
                      <a:lnTo>
                        <a:pt x="427" y="990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 w="3175" cap="rnd">
                  <a:noFill/>
                  <a:prstDash val="solid"/>
                  <a:round/>
                  <a:headEnd/>
                  <a:tailEnd/>
                </a:ln>
                <a:effectLst>
                  <a:outerShdw blurRad="381000" sx="102000" sy="102000" algn="ctr" rotWithShape="0">
                    <a:prstClr val="black">
                      <a:alpha val="1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9pPr>
                </a:lstStyle>
                <a:p>
                  <a:pPr algn="ctr" defTabSz="914354"/>
                  <a:endParaRPr lang="zh-CN" altLang="en-US" sz="2000" b="1" i="1" dirty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0" name="ïSḻíḑé">
                  <a:extLst>
                    <a:ext uri="{FF2B5EF4-FFF2-40B4-BE49-F238E27FC236}">
                      <a16:creationId xmlns:a16="http://schemas.microsoft.com/office/drawing/2014/main" id="{71686F9A-E3A9-43F3-A192-66115FEAE464}"/>
                    </a:ext>
                  </a:extLst>
                </p:cNvPr>
                <p:cNvSpPr/>
                <p:nvPr/>
              </p:nvSpPr>
              <p:spPr>
                <a:xfrm>
                  <a:off x="1838617" y="3112328"/>
                  <a:ext cx="409708" cy="332140"/>
                </a:xfrm>
                <a:custGeom>
                  <a:avLst/>
                  <a:gdLst>
                    <a:gd name="connsiteX0" fmla="*/ 493872 w 604195"/>
                    <a:gd name="connsiteY0" fmla="*/ 437764 h 489806"/>
                    <a:gd name="connsiteX1" fmla="*/ 478290 w 604195"/>
                    <a:gd name="connsiteY1" fmla="*/ 453330 h 489806"/>
                    <a:gd name="connsiteX2" fmla="*/ 493872 w 604195"/>
                    <a:gd name="connsiteY2" fmla="*/ 469024 h 489806"/>
                    <a:gd name="connsiteX3" fmla="*/ 509582 w 604195"/>
                    <a:gd name="connsiteY3" fmla="*/ 453330 h 489806"/>
                    <a:gd name="connsiteX4" fmla="*/ 493872 w 604195"/>
                    <a:gd name="connsiteY4" fmla="*/ 437764 h 489806"/>
                    <a:gd name="connsiteX5" fmla="*/ 304116 w 604195"/>
                    <a:gd name="connsiteY5" fmla="*/ 437764 h 489806"/>
                    <a:gd name="connsiteX6" fmla="*/ 288403 w 604195"/>
                    <a:gd name="connsiteY6" fmla="*/ 453330 h 489806"/>
                    <a:gd name="connsiteX7" fmla="*/ 304116 w 604195"/>
                    <a:gd name="connsiteY7" fmla="*/ 469024 h 489806"/>
                    <a:gd name="connsiteX8" fmla="*/ 319700 w 604195"/>
                    <a:gd name="connsiteY8" fmla="*/ 453330 h 489806"/>
                    <a:gd name="connsiteX9" fmla="*/ 304116 w 604195"/>
                    <a:gd name="connsiteY9" fmla="*/ 437764 h 489806"/>
                    <a:gd name="connsiteX10" fmla="*/ 493872 w 604195"/>
                    <a:gd name="connsiteY10" fmla="*/ 417476 h 489806"/>
                    <a:gd name="connsiteX11" fmla="*/ 529889 w 604195"/>
                    <a:gd name="connsiteY11" fmla="*/ 453330 h 489806"/>
                    <a:gd name="connsiteX12" fmla="*/ 493872 w 604195"/>
                    <a:gd name="connsiteY12" fmla="*/ 489312 h 489806"/>
                    <a:gd name="connsiteX13" fmla="*/ 457983 w 604195"/>
                    <a:gd name="connsiteY13" fmla="*/ 453330 h 489806"/>
                    <a:gd name="connsiteX14" fmla="*/ 493872 w 604195"/>
                    <a:gd name="connsiteY14" fmla="*/ 417476 h 489806"/>
                    <a:gd name="connsiteX15" fmla="*/ 304116 w 604195"/>
                    <a:gd name="connsiteY15" fmla="*/ 417476 h 489806"/>
                    <a:gd name="connsiteX16" fmla="*/ 340139 w 604195"/>
                    <a:gd name="connsiteY16" fmla="*/ 453330 h 489806"/>
                    <a:gd name="connsiteX17" fmla="*/ 304116 w 604195"/>
                    <a:gd name="connsiteY17" fmla="*/ 489312 h 489806"/>
                    <a:gd name="connsiteX18" fmla="*/ 268092 w 604195"/>
                    <a:gd name="connsiteY18" fmla="*/ 453330 h 489806"/>
                    <a:gd name="connsiteX19" fmla="*/ 304116 w 604195"/>
                    <a:gd name="connsiteY19" fmla="*/ 417476 h 489806"/>
                    <a:gd name="connsiteX20" fmla="*/ 464381 w 604195"/>
                    <a:gd name="connsiteY20" fmla="*/ 306093 h 489806"/>
                    <a:gd name="connsiteX21" fmla="*/ 464381 w 604195"/>
                    <a:gd name="connsiteY21" fmla="*/ 358791 h 489806"/>
                    <a:gd name="connsiteX22" fmla="*/ 529815 w 604195"/>
                    <a:gd name="connsiteY22" fmla="*/ 358791 h 489806"/>
                    <a:gd name="connsiteX23" fmla="*/ 526109 w 604195"/>
                    <a:gd name="connsiteY23" fmla="*/ 353432 h 489806"/>
                    <a:gd name="connsiteX24" fmla="*/ 510645 w 604195"/>
                    <a:gd name="connsiteY24" fmla="*/ 322170 h 489806"/>
                    <a:gd name="connsiteX25" fmla="*/ 484062 w 604195"/>
                    <a:gd name="connsiteY25" fmla="*/ 306093 h 489806"/>
                    <a:gd name="connsiteX26" fmla="*/ 276769 w 604195"/>
                    <a:gd name="connsiteY26" fmla="*/ 273555 h 489806"/>
                    <a:gd name="connsiteX27" fmla="*/ 263733 w 604195"/>
                    <a:gd name="connsiteY27" fmla="*/ 286698 h 489806"/>
                    <a:gd name="connsiteX28" fmla="*/ 263733 w 604195"/>
                    <a:gd name="connsiteY28" fmla="*/ 369509 h 489806"/>
                    <a:gd name="connsiteX29" fmla="*/ 276769 w 604195"/>
                    <a:gd name="connsiteY29" fmla="*/ 382524 h 489806"/>
                    <a:gd name="connsiteX30" fmla="*/ 404442 w 604195"/>
                    <a:gd name="connsiteY30" fmla="*/ 382524 h 489806"/>
                    <a:gd name="connsiteX31" fmla="*/ 417605 w 604195"/>
                    <a:gd name="connsiteY31" fmla="*/ 369509 h 489806"/>
                    <a:gd name="connsiteX32" fmla="*/ 417605 w 604195"/>
                    <a:gd name="connsiteY32" fmla="*/ 286698 h 489806"/>
                    <a:gd name="connsiteX33" fmla="*/ 404442 w 604195"/>
                    <a:gd name="connsiteY33" fmla="*/ 273555 h 489806"/>
                    <a:gd name="connsiteX34" fmla="*/ 242774 w 604195"/>
                    <a:gd name="connsiteY34" fmla="*/ 238593 h 489806"/>
                    <a:gd name="connsiteX35" fmla="*/ 443677 w 604195"/>
                    <a:gd name="connsiteY35" fmla="*/ 238593 h 489806"/>
                    <a:gd name="connsiteX36" fmla="*/ 464381 w 604195"/>
                    <a:gd name="connsiteY36" fmla="*/ 259264 h 489806"/>
                    <a:gd name="connsiteX37" fmla="*/ 464381 w 604195"/>
                    <a:gd name="connsiteY37" fmla="*/ 291802 h 489806"/>
                    <a:gd name="connsiteX38" fmla="*/ 491347 w 604195"/>
                    <a:gd name="connsiteY38" fmla="*/ 291802 h 489806"/>
                    <a:gd name="connsiteX39" fmla="*/ 521252 w 604195"/>
                    <a:gd name="connsiteY39" fmla="*/ 309921 h 489806"/>
                    <a:gd name="connsiteX40" fmla="*/ 538505 w 604195"/>
                    <a:gd name="connsiteY40" fmla="*/ 345010 h 489806"/>
                    <a:gd name="connsiteX41" fmla="*/ 564449 w 604195"/>
                    <a:gd name="connsiteY41" fmla="*/ 360577 h 489806"/>
                    <a:gd name="connsiteX42" fmla="*/ 604195 w 604195"/>
                    <a:gd name="connsiteY42" fmla="*/ 396178 h 489806"/>
                    <a:gd name="connsiteX43" fmla="*/ 604195 w 604195"/>
                    <a:gd name="connsiteY43" fmla="*/ 435095 h 489806"/>
                    <a:gd name="connsiteX44" fmla="*/ 583619 w 604195"/>
                    <a:gd name="connsiteY44" fmla="*/ 455511 h 489806"/>
                    <a:gd name="connsiteX45" fmla="*/ 540806 w 604195"/>
                    <a:gd name="connsiteY45" fmla="*/ 455511 h 489806"/>
                    <a:gd name="connsiteX46" fmla="*/ 540806 w 604195"/>
                    <a:gd name="connsiteY46" fmla="*/ 453342 h 489806"/>
                    <a:gd name="connsiteX47" fmla="*/ 493903 w 604195"/>
                    <a:gd name="connsiteY47" fmla="*/ 406513 h 489806"/>
                    <a:gd name="connsiteX48" fmla="*/ 447000 w 604195"/>
                    <a:gd name="connsiteY48" fmla="*/ 453342 h 489806"/>
                    <a:gd name="connsiteX49" fmla="*/ 447127 w 604195"/>
                    <a:gd name="connsiteY49" fmla="*/ 455256 h 489806"/>
                    <a:gd name="connsiteX50" fmla="*/ 443677 w 604195"/>
                    <a:gd name="connsiteY50" fmla="*/ 455511 h 489806"/>
                    <a:gd name="connsiteX51" fmla="*/ 351021 w 604195"/>
                    <a:gd name="connsiteY51" fmla="*/ 455511 h 489806"/>
                    <a:gd name="connsiteX52" fmla="*/ 351021 w 604195"/>
                    <a:gd name="connsiteY52" fmla="*/ 453342 h 489806"/>
                    <a:gd name="connsiteX53" fmla="*/ 304118 w 604195"/>
                    <a:gd name="connsiteY53" fmla="*/ 406513 h 489806"/>
                    <a:gd name="connsiteX54" fmla="*/ 257215 w 604195"/>
                    <a:gd name="connsiteY54" fmla="*/ 453342 h 489806"/>
                    <a:gd name="connsiteX55" fmla="*/ 257215 w 604195"/>
                    <a:gd name="connsiteY55" fmla="*/ 455511 h 489806"/>
                    <a:gd name="connsiteX56" fmla="*/ 242774 w 604195"/>
                    <a:gd name="connsiteY56" fmla="*/ 455511 h 489806"/>
                    <a:gd name="connsiteX57" fmla="*/ 221942 w 604195"/>
                    <a:gd name="connsiteY57" fmla="*/ 434840 h 489806"/>
                    <a:gd name="connsiteX58" fmla="*/ 221942 w 604195"/>
                    <a:gd name="connsiteY58" fmla="*/ 259264 h 489806"/>
                    <a:gd name="connsiteX59" fmla="*/ 242774 w 604195"/>
                    <a:gd name="connsiteY59" fmla="*/ 238593 h 489806"/>
                    <a:gd name="connsiteX60" fmla="*/ 251051 w 604195"/>
                    <a:gd name="connsiteY60" fmla="*/ 0 h 489806"/>
                    <a:gd name="connsiteX61" fmla="*/ 280121 w 604195"/>
                    <a:gd name="connsiteY61" fmla="*/ 9283 h 489806"/>
                    <a:gd name="connsiteX62" fmla="*/ 452627 w 604195"/>
                    <a:gd name="connsiteY62" fmla="*/ 143896 h 489806"/>
                    <a:gd name="connsiteX63" fmla="*/ 454416 w 604195"/>
                    <a:gd name="connsiteY63" fmla="*/ 145299 h 489806"/>
                    <a:gd name="connsiteX64" fmla="*/ 492112 w 604195"/>
                    <a:gd name="connsiteY64" fmla="*/ 174646 h 489806"/>
                    <a:gd name="connsiteX65" fmla="*/ 484190 w 604195"/>
                    <a:gd name="connsiteY65" fmla="*/ 214201 h 489806"/>
                    <a:gd name="connsiteX66" fmla="*/ 462083 w 604195"/>
                    <a:gd name="connsiteY66" fmla="*/ 214201 h 489806"/>
                    <a:gd name="connsiteX67" fmla="*/ 212652 w 604195"/>
                    <a:gd name="connsiteY67" fmla="*/ 214201 h 489806"/>
                    <a:gd name="connsiteX68" fmla="*/ 190545 w 604195"/>
                    <a:gd name="connsiteY68" fmla="*/ 236274 h 489806"/>
                    <a:gd name="connsiteX69" fmla="*/ 190545 w 604195"/>
                    <a:gd name="connsiteY69" fmla="*/ 466711 h 489806"/>
                    <a:gd name="connsiteX70" fmla="*/ 169845 w 604195"/>
                    <a:gd name="connsiteY70" fmla="*/ 489806 h 489806"/>
                    <a:gd name="connsiteX71" fmla="*/ 62124 w 604195"/>
                    <a:gd name="connsiteY71" fmla="*/ 489806 h 489806"/>
                    <a:gd name="connsiteX72" fmla="*/ 40018 w 604195"/>
                    <a:gd name="connsiteY72" fmla="*/ 467732 h 489806"/>
                    <a:gd name="connsiteX73" fmla="*/ 40018 w 604195"/>
                    <a:gd name="connsiteY73" fmla="*/ 214201 h 489806"/>
                    <a:gd name="connsiteX74" fmla="*/ 17911 w 604195"/>
                    <a:gd name="connsiteY74" fmla="*/ 214201 h 489806"/>
                    <a:gd name="connsiteX75" fmla="*/ 9989 w 604195"/>
                    <a:gd name="connsiteY75" fmla="*/ 174646 h 489806"/>
                    <a:gd name="connsiteX76" fmla="*/ 47685 w 604195"/>
                    <a:gd name="connsiteY76" fmla="*/ 145299 h 489806"/>
                    <a:gd name="connsiteX77" fmla="*/ 49474 w 604195"/>
                    <a:gd name="connsiteY77" fmla="*/ 143896 h 489806"/>
                    <a:gd name="connsiteX78" fmla="*/ 221980 w 604195"/>
                    <a:gd name="connsiteY78" fmla="*/ 9283 h 489806"/>
                    <a:gd name="connsiteX79" fmla="*/ 251051 w 604195"/>
                    <a:gd name="connsiteY79" fmla="*/ 0 h 4898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</a:cxnLst>
                  <a:rect l="l" t="t" r="r" b="b"/>
                  <a:pathLst>
                    <a:path w="604195" h="489806">
                      <a:moveTo>
                        <a:pt x="493872" y="437764"/>
                      </a:moveTo>
                      <a:cubicBezTo>
                        <a:pt x="485315" y="437764"/>
                        <a:pt x="478290" y="444654"/>
                        <a:pt x="478290" y="453330"/>
                      </a:cubicBezTo>
                      <a:cubicBezTo>
                        <a:pt x="478290" y="462007"/>
                        <a:pt x="485315" y="469024"/>
                        <a:pt x="493872" y="469024"/>
                      </a:cubicBezTo>
                      <a:cubicBezTo>
                        <a:pt x="502557" y="469024"/>
                        <a:pt x="509582" y="462007"/>
                        <a:pt x="509582" y="453330"/>
                      </a:cubicBezTo>
                      <a:cubicBezTo>
                        <a:pt x="509582" y="444654"/>
                        <a:pt x="502557" y="437764"/>
                        <a:pt x="493872" y="437764"/>
                      </a:cubicBezTo>
                      <a:close/>
                      <a:moveTo>
                        <a:pt x="304116" y="437764"/>
                      </a:moveTo>
                      <a:cubicBezTo>
                        <a:pt x="295429" y="437764"/>
                        <a:pt x="288403" y="444654"/>
                        <a:pt x="288403" y="453330"/>
                      </a:cubicBezTo>
                      <a:cubicBezTo>
                        <a:pt x="288403" y="462007"/>
                        <a:pt x="295429" y="469024"/>
                        <a:pt x="304116" y="469024"/>
                      </a:cubicBezTo>
                      <a:cubicBezTo>
                        <a:pt x="312674" y="469024"/>
                        <a:pt x="319700" y="462007"/>
                        <a:pt x="319700" y="453330"/>
                      </a:cubicBezTo>
                      <a:cubicBezTo>
                        <a:pt x="319700" y="444654"/>
                        <a:pt x="312674" y="437764"/>
                        <a:pt x="304116" y="437764"/>
                      </a:cubicBezTo>
                      <a:close/>
                      <a:moveTo>
                        <a:pt x="493872" y="417476"/>
                      </a:moveTo>
                      <a:cubicBezTo>
                        <a:pt x="513796" y="417476"/>
                        <a:pt x="529889" y="433553"/>
                        <a:pt x="529889" y="453330"/>
                      </a:cubicBezTo>
                      <a:cubicBezTo>
                        <a:pt x="529889" y="473235"/>
                        <a:pt x="513796" y="489312"/>
                        <a:pt x="493872" y="489312"/>
                      </a:cubicBezTo>
                      <a:cubicBezTo>
                        <a:pt x="474076" y="489312"/>
                        <a:pt x="457983" y="473235"/>
                        <a:pt x="457983" y="453330"/>
                      </a:cubicBezTo>
                      <a:cubicBezTo>
                        <a:pt x="457983" y="433553"/>
                        <a:pt x="474076" y="417476"/>
                        <a:pt x="493872" y="417476"/>
                      </a:cubicBezTo>
                      <a:close/>
                      <a:moveTo>
                        <a:pt x="304116" y="417476"/>
                      </a:moveTo>
                      <a:cubicBezTo>
                        <a:pt x="323916" y="417476"/>
                        <a:pt x="340139" y="433553"/>
                        <a:pt x="340139" y="453330"/>
                      </a:cubicBezTo>
                      <a:cubicBezTo>
                        <a:pt x="340139" y="473235"/>
                        <a:pt x="324043" y="489312"/>
                        <a:pt x="304116" y="489312"/>
                      </a:cubicBezTo>
                      <a:cubicBezTo>
                        <a:pt x="284188" y="489312"/>
                        <a:pt x="268092" y="473235"/>
                        <a:pt x="268092" y="453330"/>
                      </a:cubicBezTo>
                      <a:cubicBezTo>
                        <a:pt x="268092" y="433553"/>
                        <a:pt x="284188" y="417476"/>
                        <a:pt x="304116" y="417476"/>
                      </a:cubicBezTo>
                      <a:close/>
                      <a:moveTo>
                        <a:pt x="464381" y="306093"/>
                      </a:moveTo>
                      <a:lnTo>
                        <a:pt x="464381" y="358791"/>
                      </a:lnTo>
                      <a:lnTo>
                        <a:pt x="529815" y="358791"/>
                      </a:lnTo>
                      <a:cubicBezTo>
                        <a:pt x="528409" y="357260"/>
                        <a:pt x="527131" y="355601"/>
                        <a:pt x="526109" y="353432"/>
                      </a:cubicBezTo>
                      <a:lnTo>
                        <a:pt x="510645" y="322170"/>
                      </a:lnTo>
                      <a:cubicBezTo>
                        <a:pt x="506044" y="313366"/>
                        <a:pt x="494030" y="306093"/>
                        <a:pt x="484062" y="306093"/>
                      </a:cubicBezTo>
                      <a:close/>
                      <a:moveTo>
                        <a:pt x="276769" y="273555"/>
                      </a:moveTo>
                      <a:cubicBezTo>
                        <a:pt x="269612" y="273555"/>
                        <a:pt x="263733" y="279552"/>
                        <a:pt x="263733" y="286698"/>
                      </a:cubicBezTo>
                      <a:lnTo>
                        <a:pt x="263733" y="369509"/>
                      </a:lnTo>
                      <a:cubicBezTo>
                        <a:pt x="263733" y="376655"/>
                        <a:pt x="269612" y="382524"/>
                        <a:pt x="276769" y="382524"/>
                      </a:cubicBezTo>
                      <a:lnTo>
                        <a:pt x="404442" y="382524"/>
                      </a:lnTo>
                      <a:cubicBezTo>
                        <a:pt x="411727" y="382524"/>
                        <a:pt x="417605" y="376655"/>
                        <a:pt x="417605" y="369509"/>
                      </a:cubicBezTo>
                      <a:lnTo>
                        <a:pt x="417605" y="286698"/>
                      </a:lnTo>
                      <a:cubicBezTo>
                        <a:pt x="417605" y="279552"/>
                        <a:pt x="411727" y="273555"/>
                        <a:pt x="404442" y="273555"/>
                      </a:cubicBezTo>
                      <a:close/>
                      <a:moveTo>
                        <a:pt x="242774" y="238593"/>
                      </a:moveTo>
                      <a:lnTo>
                        <a:pt x="443677" y="238593"/>
                      </a:lnTo>
                      <a:cubicBezTo>
                        <a:pt x="455051" y="238593"/>
                        <a:pt x="464381" y="247908"/>
                        <a:pt x="464381" y="259264"/>
                      </a:cubicBezTo>
                      <a:lnTo>
                        <a:pt x="464381" y="291802"/>
                      </a:lnTo>
                      <a:lnTo>
                        <a:pt x="491347" y="291802"/>
                      </a:lnTo>
                      <a:cubicBezTo>
                        <a:pt x="502593" y="291802"/>
                        <a:pt x="516012" y="299968"/>
                        <a:pt x="521252" y="309921"/>
                      </a:cubicBezTo>
                      <a:lnTo>
                        <a:pt x="538505" y="345010"/>
                      </a:lnTo>
                      <a:cubicBezTo>
                        <a:pt x="543745" y="354963"/>
                        <a:pt x="551285" y="357132"/>
                        <a:pt x="564449" y="360577"/>
                      </a:cubicBezTo>
                      <a:cubicBezTo>
                        <a:pt x="575440" y="363385"/>
                        <a:pt x="604195" y="363385"/>
                        <a:pt x="604195" y="396178"/>
                      </a:cubicBezTo>
                      <a:lnTo>
                        <a:pt x="604195" y="435095"/>
                      </a:lnTo>
                      <a:cubicBezTo>
                        <a:pt x="604195" y="446324"/>
                        <a:pt x="594866" y="455511"/>
                        <a:pt x="583619" y="455511"/>
                      </a:cubicBezTo>
                      <a:lnTo>
                        <a:pt x="540806" y="455511"/>
                      </a:lnTo>
                      <a:cubicBezTo>
                        <a:pt x="540806" y="454873"/>
                        <a:pt x="540806" y="454107"/>
                        <a:pt x="540806" y="453342"/>
                      </a:cubicBezTo>
                      <a:cubicBezTo>
                        <a:pt x="540806" y="427567"/>
                        <a:pt x="519846" y="406513"/>
                        <a:pt x="493903" y="406513"/>
                      </a:cubicBezTo>
                      <a:cubicBezTo>
                        <a:pt x="468087" y="406513"/>
                        <a:pt x="447000" y="427567"/>
                        <a:pt x="447000" y="453342"/>
                      </a:cubicBezTo>
                      <a:cubicBezTo>
                        <a:pt x="447000" y="453980"/>
                        <a:pt x="447000" y="454618"/>
                        <a:pt x="447127" y="455256"/>
                      </a:cubicBezTo>
                      <a:cubicBezTo>
                        <a:pt x="445977" y="455383"/>
                        <a:pt x="444827" y="455511"/>
                        <a:pt x="443677" y="455511"/>
                      </a:cubicBezTo>
                      <a:lnTo>
                        <a:pt x="351021" y="455511"/>
                      </a:lnTo>
                      <a:cubicBezTo>
                        <a:pt x="351021" y="454873"/>
                        <a:pt x="351021" y="454107"/>
                        <a:pt x="351021" y="453342"/>
                      </a:cubicBezTo>
                      <a:cubicBezTo>
                        <a:pt x="351021" y="427567"/>
                        <a:pt x="329934" y="406513"/>
                        <a:pt x="304118" y="406513"/>
                      </a:cubicBezTo>
                      <a:cubicBezTo>
                        <a:pt x="278174" y="406513"/>
                        <a:pt x="257215" y="427567"/>
                        <a:pt x="257215" y="453342"/>
                      </a:cubicBezTo>
                      <a:cubicBezTo>
                        <a:pt x="257215" y="454107"/>
                        <a:pt x="257215" y="454873"/>
                        <a:pt x="257215" y="455511"/>
                      </a:cubicBezTo>
                      <a:lnTo>
                        <a:pt x="242774" y="455511"/>
                      </a:lnTo>
                      <a:cubicBezTo>
                        <a:pt x="231399" y="455511"/>
                        <a:pt x="221942" y="446196"/>
                        <a:pt x="221942" y="434840"/>
                      </a:cubicBezTo>
                      <a:lnTo>
                        <a:pt x="221942" y="259264"/>
                      </a:lnTo>
                      <a:cubicBezTo>
                        <a:pt x="221942" y="247908"/>
                        <a:pt x="231399" y="238593"/>
                        <a:pt x="242774" y="238593"/>
                      </a:cubicBezTo>
                      <a:close/>
                      <a:moveTo>
                        <a:pt x="251051" y="0"/>
                      </a:moveTo>
                      <a:cubicBezTo>
                        <a:pt x="261593" y="0"/>
                        <a:pt x="272135" y="3095"/>
                        <a:pt x="280121" y="9283"/>
                      </a:cubicBezTo>
                      <a:lnTo>
                        <a:pt x="452627" y="143896"/>
                      </a:lnTo>
                      <a:cubicBezTo>
                        <a:pt x="453266" y="144406"/>
                        <a:pt x="453777" y="144789"/>
                        <a:pt x="454416" y="145299"/>
                      </a:cubicBezTo>
                      <a:lnTo>
                        <a:pt x="492112" y="174646"/>
                      </a:lnTo>
                      <a:cubicBezTo>
                        <a:pt x="508085" y="187150"/>
                        <a:pt x="504507" y="214201"/>
                        <a:pt x="484190" y="214201"/>
                      </a:cubicBezTo>
                      <a:lnTo>
                        <a:pt x="462083" y="214201"/>
                      </a:lnTo>
                      <a:lnTo>
                        <a:pt x="212652" y="214201"/>
                      </a:lnTo>
                      <a:cubicBezTo>
                        <a:pt x="200513" y="214201"/>
                        <a:pt x="190545" y="224153"/>
                        <a:pt x="190545" y="236274"/>
                      </a:cubicBezTo>
                      <a:cubicBezTo>
                        <a:pt x="190545" y="236274"/>
                        <a:pt x="190545" y="460587"/>
                        <a:pt x="190545" y="466711"/>
                      </a:cubicBezTo>
                      <a:cubicBezTo>
                        <a:pt x="190545" y="480492"/>
                        <a:pt x="183645" y="489806"/>
                        <a:pt x="169845" y="489806"/>
                      </a:cubicBezTo>
                      <a:lnTo>
                        <a:pt x="62124" y="489806"/>
                      </a:lnTo>
                      <a:cubicBezTo>
                        <a:pt x="49985" y="489806"/>
                        <a:pt x="40018" y="479854"/>
                        <a:pt x="40018" y="467732"/>
                      </a:cubicBezTo>
                      <a:lnTo>
                        <a:pt x="40018" y="214201"/>
                      </a:lnTo>
                      <a:lnTo>
                        <a:pt x="17911" y="214201"/>
                      </a:lnTo>
                      <a:cubicBezTo>
                        <a:pt x="-2406" y="214201"/>
                        <a:pt x="-5984" y="187150"/>
                        <a:pt x="9989" y="174646"/>
                      </a:cubicBezTo>
                      <a:lnTo>
                        <a:pt x="47685" y="145299"/>
                      </a:lnTo>
                      <a:cubicBezTo>
                        <a:pt x="48324" y="144789"/>
                        <a:pt x="48835" y="144406"/>
                        <a:pt x="49474" y="143896"/>
                      </a:cubicBezTo>
                      <a:lnTo>
                        <a:pt x="221980" y="9283"/>
                      </a:lnTo>
                      <a:cubicBezTo>
                        <a:pt x="229967" y="3095"/>
                        <a:pt x="240509" y="0"/>
                        <a:pt x="251051" y="0"/>
                      </a:cubicBezTo>
                      <a:close/>
                    </a:path>
                  </a:pathLst>
                </a:custGeom>
                <a:solidFill>
                  <a:schemeClr val="accent1"/>
                </a:solidFill>
                <a:ln w="3175" cap="rnd">
                  <a:noFill/>
                  <a:prstDash val="solid"/>
                  <a:round/>
                  <a:headEnd/>
                  <a:tailEnd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rmAutofit fontScale="92500" lnSpcReduction="10000"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9pPr>
                </a:lstStyle>
                <a:p>
                  <a:pPr algn="ctr" defTabSz="914354"/>
                  <a:endParaRPr lang="zh-CN" altLang="en-US" sz="2000" b="1" i="1">
                    <a:solidFill>
                      <a:schemeClr val="tx1"/>
                    </a:solidFill>
                  </a:endParaRPr>
                </a:p>
              </p:txBody>
            </p:sp>
          </p:grpSp>
        </p:grpSp>
        <p:grpSp>
          <p:nvGrpSpPr>
            <p:cNvPr id="10" name="iṧ1iḋé">
              <a:extLst>
                <a:ext uri="{FF2B5EF4-FFF2-40B4-BE49-F238E27FC236}">
                  <a16:creationId xmlns:a16="http://schemas.microsoft.com/office/drawing/2014/main" id="{AFDEB82C-DC0F-4EA1-93AF-66915799C070}"/>
                </a:ext>
              </a:extLst>
            </p:cNvPr>
            <p:cNvGrpSpPr/>
            <p:nvPr/>
          </p:nvGrpSpPr>
          <p:grpSpPr>
            <a:xfrm>
              <a:off x="8670060" y="3590978"/>
              <a:ext cx="2188634" cy="1827814"/>
              <a:chOff x="977327" y="2785197"/>
              <a:chExt cx="2188634" cy="1827814"/>
            </a:xfrm>
          </p:grpSpPr>
          <p:sp>
            <p:nvSpPr>
              <p:cNvPr id="16" name="ïŝḻïḋè">
                <a:extLst>
                  <a:ext uri="{FF2B5EF4-FFF2-40B4-BE49-F238E27FC236}">
                    <a16:creationId xmlns:a16="http://schemas.microsoft.com/office/drawing/2014/main" id="{BA3CF5B4-6EF3-4419-9C36-A994DA5FA0ED}"/>
                  </a:ext>
                </a:extLst>
              </p:cNvPr>
              <p:cNvSpPr txBox="1"/>
              <p:nvPr/>
            </p:nvSpPr>
            <p:spPr bwMode="auto">
              <a:xfrm>
                <a:off x="977327" y="3623498"/>
                <a:ext cx="2188634" cy="98951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 anchorCtr="0">
                <a:no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 eaLnBrk="1" hangingPunct="1">
                  <a:lnSpc>
                    <a:spcPct val="100000"/>
                  </a:lnSpc>
                  <a:spcBef>
                    <a:spcPct val="0"/>
                  </a:spcBef>
                  <a:buFontTx/>
                  <a:buNone/>
                </a:pPr>
                <a:r>
                  <a:rPr lang="zh-CN" altLang="en-US" sz="3200" b="1" dirty="0"/>
                  <a:t>潜在并发症</a:t>
                </a:r>
                <a:endParaRPr lang="en-US" altLang="zh-CN" sz="3200" b="1" dirty="0"/>
              </a:p>
            </p:txBody>
          </p:sp>
          <p:grpSp>
            <p:nvGrpSpPr>
              <p:cNvPr id="12" name="íşḷîḓé">
                <a:extLst>
                  <a:ext uri="{FF2B5EF4-FFF2-40B4-BE49-F238E27FC236}">
                    <a16:creationId xmlns:a16="http://schemas.microsoft.com/office/drawing/2014/main" id="{12D3FC65-18FE-4D5A-A8E6-4408E7BCE366}"/>
                  </a:ext>
                </a:extLst>
              </p:cNvPr>
              <p:cNvGrpSpPr/>
              <p:nvPr/>
            </p:nvGrpSpPr>
            <p:grpSpPr>
              <a:xfrm>
                <a:off x="1618023" y="2785197"/>
                <a:ext cx="850898" cy="986404"/>
                <a:chOff x="1618023" y="2785197"/>
                <a:chExt cx="850898" cy="986404"/>
              </a:xfrm>
            </p:grpSpPr>
            <p:sp>
              <p:nvSpPr>
                <p:cNvPr id="13" name="îşḻíḑé">
                  <a:extLst>
                    <a:ext uri="{FF2B5EF4-FFF2-40B4-BE49-F238E27FC236}">
                      <a16:creationId xmlns:a16="http://schemas.microsoft.com/office/drawing/2014/main" id="{10AC5BB4-F6B5-4F41-B8A2-884CFDFC7471}"/>
                    </a:ext>
                  </a:extLst>
                </p:cNvPr>
                <p:cNvSpPr/>
                <p:nvPr/>
              </p:nvSpPr>
              <p:spPr bwMode="auto">
                <a:xfrm>
                  <a:off x="1618023" y="2785197"/>
                  <a:ext cx="850898" cy="986404"/>
                </a:xfrm>
                <a:custGeom>
                  <a:avLst/>
                  <a:gdLst>
                    <a:gd name="T0" fmla="*/ 427 w 854"/>
                    <a:gd name="T1" fmla="*/ 990 h 990"/>
                    <a:gd name="T2" fmla="*/ 0 w 854"/>
                    <a:gd name="T3" fmla="*/ 776 h 990"/>
                    <a:gd name="T4" fmla="*/ 0 w 854"/>
                    <a:gd name="T5" fmla="*/ 213 h 990"/>
                    <a:gd name="T6" fmla="*/ 427 w 854"/>
                    <a:gd name="T7" fmla="*/ 0 h 990"/>
                    <a:gd name="T8" fmla="*/ 854 w 854"/>
                    <a:gd name="T9" fmla="*/ 213 h 990"/>
                    <a:gd name="T10" fmla="*/ 854 w 854"/>
                    <a:gd name="T11" fmla="*/ 776 h 990"/>
                    <a:gd name="T12" fmla="*/ 427 w 854"/>
                    <a:gd name="T13" fmla="*/ 990 h 99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854" h="990">
                      <a:moveTo>
                        <a:pt x="427" y="990"/>
                      </a:moveTo>
                      <a:lnTo>
                        <a:pt x="0" y="776"/>
                      </a:lnTo>
                      <a:lnTo>
                        <a:pt x="0" y="213"/>
                      </a:lnTo>
                      <a:lnTo>
                        <a:pt x="427" y="0"/>
                      </a:lnTo>
                      <a:lnTo>
                        <a:pt x="854" y="213"/>
                      </a:lnTo>
                      <a:lnTo>
                        <a:pt x="854" y="776"/>
                      </a:lnTo>
                      <a:lnTo>
                        <a:pt x="427" y="990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 w="3175" cap="rnd">
                  <a:noFill/>
                  <a:prstDash val="solid"/>
                  <a:round/>
                  <a:headEnd/>
                  <a:tailEnd/>
                </a:ln>
                <a:effectLst>
                  <a:outerShdw blurRad="381000" sx="102000" sy="102000" algn="ctr" rotWithShape="0">
                    <a:prstClr val="black">
                      <a:alpha val="1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9pPr>
                </a:lstStyle>
                <a:p>
                  <a:pPr algn="ctr" defTabSz="914354"/>
                  <a:endParaRPr lang="zh-CN" altLang="en-US" sz="2000" b="1" i="1" dirty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4" name="îśļïḋè">
                  <a:extLst>
                    <a:ext uri="{FF2B5EF4-FFF2-40B4-BE49-F238E27FC236}">
                      <a16:creationId xmlns:a16="http://schemas.microsoft.com/office/drawing/2014/main" id="{AD66D801-593A-40BD-A912-7620D502714D}"/>
                    </a:ext>
                  </a:extLst>
                </p:cNvPr>
                <p:cNvSpPr/>
                <p:nvPr/>
              </p:nvSpPr>
              <p:spPr>
                <a:xfrm>
                  <a:off x="1838617" y="3112328"/>
                  <a:ext cx="409708" cy="332140"/>
                </a:xfrm>
                <a:custGeom>
                  <a:avLst/>
                  <a:gdLst>
                    <a:gd name="connsiteX0" fmla="*/ 493872 w 604195"/>
                    <a:gd name="connsiteY0" fmla="*/ 437764 h 489806"/>
                    <a:gd name="connsiteX1" fmla="*/ 478290 w 604195"/>
                    <a:gd name="connsiteY1" fmla="*/ 453330 h 489806"/>
                    <a:gd name="connsiteX2" fmla="*/ 493872 w 604195"/>
                    <a:gd name="connsiteY2" fmla="*/ 469024 h 489806"/>
                    <a:gd name="connsiteX3" fmla="*/ 509582 w 604195"/>
                    <a:gd name="connsiteY3" fmla="*/ 453330 h 489806"/>
                    <a:gd name="connsiteX4" fmla="*/ 493872 w 604195"/>
                    <a:gd name="connsiteY4" fmla="*/ 437764 h 489806"/>
                    <a:gd name="connsiteX5" fmla="*/ 304116 w 604195"/>
                    <a:gd name="connsiteY5" fmla="*/ 437764 h 489806"/>
                    <a:gd name="connsiteX6" fmla="*/ 288403 w 604195"/>
                    <a:gd name="connsiteY6" fmla="*/ 453330 h 489806"/>
                    <a:gd name="connsiteX7" fmla="*/ 304116 w 604195"/>
                    <a:gd name="connsiteY7" fmla="*/ 469024 h 489806"/>
                    <a:gd name="connsiteX8" fmla="*/ 319700 w 604195"/>
                    <a:gd name="connsiteY8" fmla="*/ 453330 h 489806"/>
                    <a:gd name="connsiteX9" fmla="*/ 304116 w 604195"/>
                    <a:gd name="connsiteY9" fmla="*/ 437764 h 489806"/>
                    <a:gd name="connsiteX10" fmla="*/ 493872 w 604195"/>
                    <a:gd name="connsiteY10" fmla="*/ 417476 h 489806"/>
                    <a:gd name="connsiteX11" fmla="*/ 529889 w 604195"/>
                    <a:gd name="connsiteY11" fmla="*/ 453330 h 489806"/>
                    <a:gd name="connsiteX12" fmla="*/ 493872 w 604195"/>
                    <a:gd name="connsiteY12" fmla="*/ 489312 h 489806"/>
                    <a:gd name="connsiteX13" fmla="*/ 457983 w 604195"/>
                    <a:gd name="connsiteY13" fmla="*/ 453330 h 489806"/>
                    <a:gd name="connsiteX14" fmla="*/ 493872 w 604195"/>
                    <a:gd name="connsiteY14" fmla="*/ 417476 h 489806"/>
                    <a:gd name="connsiteX15" fmla="*/ 304116 w 604195"/>
                    <a:gd name="connsiteY15" fmla="*/ 417476 h 489806"/>
                    <a:gd name="connsiteX16" fmla="*/ 340139 w 604195"/>
                    <a:gd name="connsiteY16" fmla="*/ 453330 h 489806"/>
                    <a:gd name="connsiteX17" fmla="*/ 304116 w 604195"/>
                    <a:gd name="connsiteY17" fmla="*/ 489312 h 489806"/>
                    <a:gd name="connsiteX18" fmla="*/ 268092 w 604195"/>
                    <a:gd name="connsiteY18" fmla="*/ 453330 h 489806"/>
                    <a:gd name="connsiteX19" fmla="*/ 304116 w 604195"/>
                    <a:gd name="connsiteY19" fmla="*/ 417476 h 489806"/>
                    <a:gd name="connsiteX20" fmla="*/ 464381 w 604195"/>
                    <a:gd name="connsiteY20" fmla="*/ 306093 h 489806"/>
                    <a:gd name="connsiteX21" fmla="*/ 464381 w 604195"/>
                    <a:gd name="connsiteY21" fmla="*/ 358791 h 489806"/>
                    <a:gd name="connsiteX22" fmla="*/ 529815 w 604195"/>
                    <a:gd name="connsiteY22" fmla="*/ 358791 h 489806"/>
                    <a:gd name="connsiteX23" fmla="*/ 526109 w 604195"/>
                    <a:gd name="connsiteY23" fmla="*/ 353432 h 489806"/>
                    <a:gd name="connsiteX24" fmla="*/ 510645 w 604195"/>
                    <a:gd name="connsiteY24" fmla="*/ 322170 h 489806"/>
                    <a:gd name="connsiteX25" fmla="*/ 484062 w 604195"/>
                    <a:gd name="connsiteY25" fmla="*/ 306093 h 489806"/>
                    <a:gd name="connsiteX26" fmla="*/ 276769 w 604195"/>
                    <a:gd name="connsiteY26" fmla="*/ 273555 h 489806"/>
                    <a:gd name="connsiteX27" fmla="*/ 263733 w 604195"/>
                    <a:gd name="connsiteY27" fmla="*/ 286698 h 489806"/>
                    <a:gd name="connsiteX28" fmla="*/ 263733 w 604195"/>
                    <a:gd name="connsiteY28" fmla="*/ 369509 h 489806"/>
                    <a:gd name="connsiteX29" fmla="*/ 276769 w 604195"/>
                    <a:gd name="connsiteY29" fmla="*/ 382524 h 489806"/>
                    <a:gd name="connsiteX30" fmla="*/ 404442 w 604195"/>
                    <a:gd name="connsiteY30" fmla="*/ 382524 h 489806"/>
                    <a:gd name="connsiteX31" fmla="*/ 417605 w 604195"/>
                    <a:gd name="connsiteY31" fmla="*/ 369509 h 489806"/>
                    <a:gd name="connsiteX32" fmla="*/ 417605 w 604195"/>
                    <a:gd name="connsiteY32" fmla="*/ 286698 h 489806"/>
                    <a:gd name="connsiteX33" fmla="*/ 404442 w 604195"/>
                    <a:gd name="connsiteY33" fmla="*/ 273555 h 489806"/>
                    <a:gd name="connsiteX34" fmla="*/ 242774 w 604195"/>
                    <a:gd name="connsiteY34" fmla="*/ 238593 h 489806"/>
                    <a:gd name="connsiteX35" fmla="*/ 443677 w 604195"/>
                    <a:gd name="connsiteY35" fmla="*/ 238593 h 489806"/>
                    <a:gd name="connsiteX36" fmla="*/ 464381 w 604195"/>
                    <a:gd name="connsiteY36" fmla="*/ 259264 h 489806"/>
                    <a:gd name="connsiteX37" fmla="*/ 464381 w 604195"/>
                    <a:gd name="connsiteY37" fmla="*/ 291802 h 489806"/>
                    <a:gd name="connsiteX38" fmla="*/ 491347 w 604195"/>
                    <a:gd name="connsiteY38" fmla="*/ 291802 h 489806"/>
                    <a:gd name="connsiteX39" fmla="*/ 521252 w 604195"/>
                    <a:gd name="connsiteY39" fmla="*/ 309921 h 489806"/>
                    <a:gd name="connsiteX40" fmla="*/ 538505 w 604195"/>
                    <a:gd name="connsiteY40" fmla="*/ 345010 h 489806"/>
                    <a:gd name="connsiteX41" fmla="*/ 564449 w 604195"/>
                    <a:gd name="connsiteY41" fmla="*/ 360577 h 489806"/>
                    <a:gd name="connsiteX42" fmla="*/ 604195 w 604195"/>
                    <a:gd name="connsiteY42" fmla="*/ 396178 h 489806"/>
                    <a:gd name="connsiteX43" fmla="*/ 604195 w 604195"/>
                    <a:gd name="connsiteY43" fmla="*/ 435095 h 489806"/>
                    <a:gd name="connsiteX44" fmla="*/ 583619 w 604195"/>
                    <a:gd name="connsiteY44" fmla="*/ 455511 h 489806"/>
                    <a:gd name="connsiteX45" fmla="*/ 540806 w 604195"/>
                    <a:gd name="connsiteY45" fmla="*/ 455511 h 489806"/>
                    <a:gd name="connsiteX46" fmla="*/ 540806 w 604195"/>
                    <a:gd name="connsiteY46" fmla="*/ 453342 h 489806"/>
                    <a:gd name="connsiteX47" fmla="*/ 493903 w 604195"/>
                    <a:gd name="connsiteY47" fmla="*/ 406513 h 489806"/>
                    <a:gd name="connsiteX48" fmla="*/ 447000 w 604195"/>
                    <a:gd name="connsiteY48" fmla="*/ 453342 h 489806"/>
                    <a:gd name="connsiteX49" fmla="*/ 447127 w 604195"/>
                    <a:gd name="connsiteY49" fmla="*/ 455256 h 489806"/>
                    <a:gd name="connsiteX50" fmla="*/ 443677 w 604195"/>
                    <a:gd name="connsiteY50" fmla="*/ 455511 h 489806"/>
                    <a:gd name="connsiteX51" fmla="*/ 351021 w 604195"/>
                    <a:gd name="connsiteY51" fmla="*/ 455511 h 489806"/>
                    <a:gd name="connsiteX52" fmla="*/ 351021 w 604195"/>
                    <a:gd name="connsiteY52" fmla="*/ 453342 h 489806"/>
                    <a:gd name="connsiteX53" fmla="*/ 304118 w 604195"/>
                    <a:gd name="connsiteY53" fmla="*/ 406513 h 489806"/>
                    <a:gd name="connsiteX54" fmla="*/ 257215 w 604195"/>
                    <a:gd name="connsiteY54" fmla="*/ 453342 h 489806"/>
                    <a:gd name="connsiteX55" fmla="*/ 257215 w 604195"/>
                    <a:gd name="connsiteY55" fmla="*/ 455511 h 489806"/>
                    <a:gd name="connsiteX56" fmla="*/ 242774 w 604195"/>
                    <a:gd name="connsiteY56" fmla="*/ 455511 h 489806"/>
                    <a:gd name="connsiteX57" fmla="*/ 221942 w 604195"/>
                    <a:gd name="connsiteY57" fmla="*/ 434840 h 489806"/>
                    <a:gd name="connsiteX58" fmla="*/ 221942 w 604195"/>
                    <a:gd name="connsiteY58" fmla="*/ 259264 h 489806"/>
                    <a:gd name="connsiteX59" fmla="*/ 242774 w 604195"/>
                    <a:gd name="connsiteY59" fmla="*/ 238593 h 489806"/>
                    <a:gd name="connsiteX60" fmla="*/ 251051 w 604195"/>
                    <a:gd name="connsiteY60" fmla="*/ 0 h 489806"/>
                    <a:gd name="connsiteX61" fmla="*/ 280121 w 604195"/>
                    <a:gd name="connsiteY61" fmla="*/ 9283 h 489806"/>
                    <a:gd name="connsiteX62" fmla="*/ 452627 w 604195"/>
                    <a:gd name="connsiteY62" fmla="*/ 143896 h 489806"/>
                    <a:gd name="connsiteX63" fmla="*/ 454416 w 604195"/>
                    <a:gd name="connsiteY63" fmla="*/ 145299 h 489806"/>
                    <a:gd name="connsiteX64" fmla="*/ 492112 w 604195"/>
                    <a:gd name="connsiteY64" fmla="*/ 174646 h 489806"/>
                    <a:gd name="connsiteX65" fmla="*/ 484190 w 604195"/>
                    <a:gd name="connsiteY65" fmla="*/ 214201 h 489806"/>
                    <a:gd name="connsiteX66" fmla="*/ 462083 w 604195"/>
                    <a:gd name="connsiteY66" fmla="*/ 214201 h 489806"/>
                    <a:gd name="connsiteX67" fmla="*/ 212652 w 604195"/>
                    <a:gd name="connsiteY67" fmla="*/ 214201 h 489806"/>
                    <a:gd name="connsiteX68" fmla="*/ 190545 w 604195"/>
                    <a:gd name="connsiteY68" fmla="*/ 236274 h 489806"/>
                    <a:gd name="connsiteX69" fmla="*/ 190545 w 604195"/>
                    <a:gd name="connsiteY69" fmla="*/ 466711 h 489806"/>
                    <a:gd name="connsiteX70" fmla="*/ 169845 w 604195"/>
                    <a:gd name="connsiteY70" fmla="*/ 489806 h 489806"/>
                    <a:gd name="connsiteX71" fmla="*/ 62124 w 604195"/>
                    <a:gd name="connsiteY71" fmla="*/ 489806 h 489806"/>
                    <a:gd name="connsiteX72" fmla="*/ 40018 w 604195"/>
                    <a:gd name="connsiteY72" fmla="*/ 467732 h 489806"/>
                    <a:gd name="connsiteX73" fmla="*/ 40018 w 604195"/>
                    <a:gd name="connsiteY73" fmla="*/ 214201 h 489806"/>
                    <a:gd name="connsiteX74" fmla="*/ 17911 w 604195"/>
                    <a:gd name="connsiteY74" fmla="*/ 214201 h 489806"/>
                    <a:gd name="connsiteX75" fmla="*/ 9989 w 604195"/>
                    <a:gd name="connsiteY75" fmla="*/ 174646 h 489806"/>
                    <a:gd name="connsiteX76" fmla="*/ 47685 w 604195"/>
                    <a:gd name="connsiteY76" fmla="*/ 145299 h 489806"/>
                    <a:gd name="connsiteX77" fmla="*/ 49474 w 604195"/>
                    <a:gd name="connsiteY77" fmla="*/ 143896 h 489806"/>
                    <a:gd name="connsiteX78" fmla="*/ 221980 w 604195"/>
                    <a:gd name="connsiteY78" fmla="*/ 9283 h 489806"/>
                    <a:gd name="connsiteX79" fmla="*/ 251051 w 604195"/>
                    <a:gd name="connsiteY79" fmla="*/ 0 h 4898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</a:cxnLst>
                  <a:rect l="l" t="t" r="r" b="b"/>
                  <a:pathLst>
                    <a:path w="604195" h="489806">
                      <a:moveTo>
                        <a:pt x="493872" y="437764"/>
                      </a:moveTo>
                      <a:cubicBezTo>
                        <a:pt x="485315" y="437764"/>
                        <a:pt x="478290" y="444654"/>
                        <a:pt x="478290" y="453330"/>
                      </a:cubicBezTo>
                      <a:cubicBezTo>
                        <a:pt x="478290" y="462007"/>
                        <a:pt x="485315" y="469024"/>
                        <a:pt x="493872" y="469024"/>
                      </a:cubicBezTo>
                      <a:cubicBezTo>
                        <a:pt x="502557" y="469024"/>
                        <a:pt x="509582" y="462007"/>
                        <a:pt x="509582" y="453330"/>
                      </a:cubicBezTo>
                      <a:cubicBezTo>
                        <a:pt x="509582" y="444654"/>
                        <a:pt x="502557" y="437764"/>
                        <a:pt x="493872" y="437764"/>
                      </a:cubicBezTo>
                      <a:close/>
                      <a:moveTo>
                        <a:pt x="304116" y="437764"/>
                      </a:moveTo>
                      <a:cubicBezTo>
                        <a:pt x="295429" y="437764"/>
                        <a:pt x="288403" y="444654"/>
                        <a:pt x="288403" y="453330"/>
                      </a:cubicBezTo>
                      <a:cubicBezTo>
                        <a:pt x="288403" y="462007"/>
                        <a:pt x="295429" y="469024"/>
                        <a:pt x="304116" y="469024"/>
                      </a:cubicBezTo>
                      <a:cubicBezTo>
                        <a:pt x="312674" y="469024"/>
                        <a:pt x="319700" y="462007"/>
                        <a:pt x="319700" y="453330"/>
                      </a:cubicBezTo>
                      <a:cubicBezTo>
                        <a:pt x="319700" y="444654"/>
                        <a:pt x="312674" y="437764"/>
                        <a:pt x="304116" y="437764"/>
                      </a:cubicBezTo>
                      <a:close/>
                      <a:moveTo>
                        <a:pt x="493872" y="417476"/>
                      </a:moveTo>
                      <a:cubicBezTo>
                        <a:pt x="513796" y="417476"/>
                        <a:pt x="529889" y="433553"/>
                        <a:pt x="529889" y="453330"/>
                      </a:cubicBezTo>
                      <a:cubicBezTo>
                        <a:pt x="529889" y="473235"/>
                        <a:pt x="513796" y="489312"/>
                        <a:pt x="493872" y="489312"/>
                      </a:cubicBezTo>
                      <a:cubicBezTo>
                        <a:pt x="474076" y="489312"/>
                        <a:pt x="457983" y="473235"/>
                        <a:pt x="457983" y="453330"/>
                      </a:cubicBezTo>
                      <a:cubicBezTo>
                        <a:pt x="457983" y="433553"/>
                        <a:pt x="474076" y="417476"/>
                        <a:pt x="493872" y="417476"/>
                      </a:cubicBezTo>
                      <a:close/>
                      <a:moveTo>
                        <a:pt x="304116" y="417476"/>
                      </a:moveTo>
                      <a:cubicBezTo>
                        <a:pt x="323916" y="417476"/>
                        <a:pt x="340139" y="433553"/>
                        <a:pt x="340139" y="453330"/>
                      </a:cubicBezTo>
                      <a:cubicBezTo>
                        <a:pt x="340139" y="473235"/>
                        <a:pt x="324043" y="489312"/>
                        <a:pt x="304116" y="489312"/>
                      </a:cubicBezTo>
                      <a:cubicBezTo>
                        <a:pt x="284188" y="489312"/>
                        <a:pt x="268092" y="473235"/>
                        <a:pt x="268092" y="453330"/>
                      </a:cubicBezTo>
                      <a:cubicBezTo>
                        <a:pt x="268092" y="433553"/>
                        <a:pt x="284188" y="417476"/>
                        <a:pt x="304116" y="417476"/>
                      </a:cubicBezTo>
                      <a:close/>
                      <a:moveTo>
                        <a:pt x="464381" y="306093"/>
                      </a:moveTo>
                      <a:lnTo>
                        <a:pt x="464381" y="358791"/>
                      </a:lnTo>
                      <a:lnTo>
                        <a:pt x="529815" y="358791"/>
                      </a:lnTo>
                      <a:cubicBezTo>
                        <a:pt x="528409" y="357260"/>
                        <a:pt x="527131" y="355601"/>
                        <a:pt x="526109" y="353432"/>
                      </a:cubicBezTo>
                      <a:lnTo>
                        <a:pt x="510645" y="322170"/>
                      </a:lnTo>
                      <a:cubicBezTo>
                        <a:pt x="506044" y="313366"/>
                        <a:pt x="494030" y="306093"/>
                        <a:pt x="484062" y="306093"/>
                      </a:cubicBezTo>
                      <a:close/>
                      <a:moveTo>
                        <a:pt x="276769" y="273555"/>
                      </a:moveTo>
                      <a:cubicBezTo>
                        <a:pt x="269612" y="273555"/>
                        <a:pt x="263733" y="279552"/>
                        <a:pt x="263733" y="286698"/>
                      </a:cubicBezTo>
                      <a:lnTo>
                        <a:pt x="263733" y="369509"/>
                      </a:lnTo>
                      <a:cubicBezTo>
                        <a:pt x="263733" y="376655"/>
                        <a:pt x="269612" y="382524"/>
                        <a:pt x="276769" y="382524"/>
                      </a:cubicBezTo>
                      <a:lnTo>
                        <a:pt x="404442" y="382524"/>
                      </a:lnTo>
                      <a:cubicBezTo>
                        <a:pt x="411727" y="382524"/>
                        <a:pt x="417605" y="376655"/>
                        <a:pt x="417605" y="369509"/>
                      </a:cubicBezTo>
                      <a:lnTo>
                        <a:pt x="417605" y="286698"/>
                      </a:lnTo>
                      <a:cubicBezTo>
                        <a:pt x="417605" y="279552"/>
                        <a:pt x="411727" y="273555"/>
                        <a:pt x="404442" y="273555"/>
                      </a:cubicBezTo>
                      <a:close/>
                      <a:moveTo>
                        <a:pt x="242774" y="238593"/>
                      </a:moveTo>
                      <a:lnTo>
                        <a:pt x="443677" y="238593"/>
                      </a:lnTo>
                      <a:cubicBezTo>
                        <a:pt x="455051" y="238593"/>
                        <a:pt x="464381" y="247908"/>
                        <a:pt x="464381" y="259264"/>
                      </a:cubicBezTo>
                      <a:lnTo>
                        <a:pt x="464381" y="291802"/>
                      </a:lnTo>
                      <a:lnTo>
                        <a:pt x="491347" y="291802"/>
                      </a:lnTo>
                      <a:cubicBezTo>
                        <a:pt x="502593" y="291802"/>
                        <a:pt x="516012" y="299968"/>
                        <a:pt x="521252" y="309921"/>
                      </a:cubicBezTo>
                      <a:lnTo>
                        <a:pt x="538505" y="345010"/>
                      </a:lnTo>
                      <a:cubicBezTo>
                        <a:pt x="543745" y="354963"/>
                        <a:pt x="551285" y="357132"/>
                        <a:pt x="564449" y="360577"/>
                      </a:cubicBezTo>
                      <a:cubicBezTo>
                        <a:pt x="575440" y="363385"/>
                        <a:pt x="604195" y="363385"/>
                        <a:pt x="604195" y="396178"/>
                      </a:cubicBezTo>
                      <a:lnTo>
                        <a:pt x="604195" y="435095"/>
                      </a:lnTo>
                      <a:cubicBezTo>
                        <a:pt x="604195" y="446324"/>
                        <a:pt x="594866" y="455511"/>
                        <a:pt x="583619" y="455511"/>
                      </a:cubicBezTo>
                      <a:lnTo>
                        <a:pt x="540806" y="455511"/>
                      </a:lnTo>
                      <a:cubicBezTo>
                        <a:pt x="540806" y="454873"/>
                        <a:pt x="540806" y="454107"/>
                        <a:pt x="540806" y="453342"/>
                      </a:cubicBezTo>
                      <a:cubicBezTo>
                        <a:pt x="540806" y="427567"/>
                        <a:pt x="519846" y="406513"/>
                        <a:pt x="493903" y="406513"/>
                      </a:cubicBezTo>
                      <a:cubicBezTo>
                        <a:pt x="468087" y="406513"/>
                        <a:pt x="447000" y="427567"/>
                        <a:pt x="447000" y="453342"/>
                      </a:cubicBezTo>
                      <a:cubicBezTo>
                        <a:pt x="447000" y="453980"/>
                        <a:pt x="447000" y="454618"/>
                        <a:pt x="447127" y="455256"/>
                      </a:cubicBezTo>
                      <a:cubicBezTo>
                        <a:pt x="445977" y="455383"/>
                        <a:pt x="444827" y="455511"/>
                        <a:pt x="443677" y="455511"/>
                      </a:cubicBezTo>
                      <a:lnTo>
                        <a:pt x="351021" y="455511"/>
                      </a:lnTo>
                      <a:cubicBezTo>
                        <a:pt x="351021" y="454873"/>
                        <a:pt x="351021" y="454107"/>
                        <a:pt x="351021" y="453342"/>
                      </a:cubicBezTo>
                      <a:cubicBezTo>
                        <a:pt x="351021" y="427567"/>
                        <a:pt x="329934" y="406513"/>
                        <a:pt x="304118" y="406513"/>
                      </a:cubicBezTo>
                      <a:cubicBezTo>
                        <a:pt x="278174" y="406513"/>
                        <a:pt x="257215" y="427567"/>
                        <a:pt x="257215" y="453342"/>
                      </a:cubicBezTo>
                      <a:cubicBezTo>
                        <a:pt x="257215" y="454107"/>
                        <a:pt x="257215" y="454873"/>
                        <a:pt x="257215" y="455511"/>
                      </a:cubicBezTo>
                      <a:lnTo>
                        <a:pt x="242774" y="455511"/>
                      </a:lnTo>
                      <a:cubicBezTo>
                        <a:pt x="231399" y="455511"/>
                        <a:pt x="221942" y="446196"/>
                        <a:pt x="221942" y="434840"/>
                      </a:cubicBezTo>
                      <a:lnTo>
                        <a:pt x="221942" y="259264"/>
                      </a:lnTo>
                      <a:cubicBezTo>
                        <a:pt x="221942" y="247908"/>
                        <a:pt x="231399" y="238593"/>
                        <a:pt x="242774" y="238593"/>
                      </a:cubicBezTo>
                      <a:close/>
                      <a:moveTo>
                        <a:pt x="251051" y="0"/>
                      </a:moveTo>
                      <a:cubicBezTo>
                        <a:pt x="261593" y="0"/>
                        <a:pt x="272135" y="3095"/>
                        <a:pt x="280121" y="9283"/>
                      </a:cubicBezTo>
                      <a:lnTo>
                        <a:pt x="452627" y="143896"/>
                      </a:lnTo>
                      <a:cubicBezTo>
                        <a:pt x="453266" y="144406"/>
                        <a:pt x="453777" y="144789"/>
                        <a:pt x="454416" y="145299"/>
                      </a:cubicBezTo>
                      <a:lnTo>
                        <a:pt x="492112" y="174646"/>
                      </a:lnTo>
                      <a:cubicBezTo>
                        <a:pt x="508085" y="187150"/>
                        <a:pt x="504507" y="214201"/>
                        <a:pt x="484190" y="214201"/>
                      </a:cubicBezTo>
                      <a:lnTo>
                        <a:pt x="462083" y="214201"/>
                      </a:lnTo>
                      <a:lnTo>
                        <a:pt x="212652" y="214201"/>
                      </a:lnTo>
                      <a:cubicBezTo>
                        <a:pt x="200513" y="214201"/>
                        <a:pt x="190545" y="224153"/>
                        <a:pt x="190545" y="236274"/>
                      </a:cubicBezTo>
                      <a:cubicBezTo>
                        <a:pt x="190545" y="236274"/>
                        <a:pt x="190545" y="460587"/>
                        <a:pt x="190545" y="466711"/>
                      </a:cubicBezTo>
                      <a:cubicBezTo>
                        <a:pt x="190545" y="480492"/>
                        <a:pt x="183645" y="489806"/>
                        <a:pt x="169845" y="489806"/>
                      </a:cubicBezTo>
                      <a:lnTo>
                        <a:pt x="62124" y="489806"/>
                      </a:lnTo>
                      <a:cubicBezTo>
                        <a:pt x="49985" y="489806"/>
                        <a:pt x="40018" y="479854"/>
                        <a:pt x="40018" y="467732"/>
                      </a:cubicBezTo>
                      <a:lnTo>
                        <a:pt x="40018" y="214201"/>
                      </a:lnTo>
                      <a:lnTo>
                        <a:pt x="17911" y="214201"/>
                      </a:lnTo>
                      <a:cubicBezTo>
                        <a:pt x="-2406" y="214201"/>
                        <a:pt x="-5984" y="187150"/>
                        <a:pt x="9989" y="174646"/>
                      </a:cubicBezTo>
                      <a:lnTo>
                        <a:pt x="47685" y="145299"/>
                      </a:lnTo>
                      <a:cubicBezTo>
                        <a:pt x="48324" y="144789"/>
                        <a:pt x="48835" y="144406"/>
                        <a:pt x="49474" y="143896"/>
                      </a:cubicBezTo>
                      <a:lnTo>
                        <a:pt x="221980" y="9283"/>
                      </a:lnTo>
                      <a:cubicBezTo>
                        <a:pt x="229967" y="3095"/>
                        <a:pt x="240509" y="0"/>
                        <a:pt x="251051" y="0"/>
                      </a:cubicBezTo>
                      <a:close/>
                    </a:path>
                  </a:pathLst>
                </a:custGeom>
                <a:solidFill>
                  <a:schemeClr val="accent1"/>
                </a:solidFill>
                <a:ln w="3175" cap="rnd">
                  <a:noFill/>
                  <a:prstDash val="solid"/>
                  <a:round/>
                  <a:headEnd/>
                  <a:tailEnd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rmAutofit fontScale="92500" lnSpcReduction="10000"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9pPr>
                </a:lstStyle>
                <a:p>
                  <a:pPr algn="ctr" defTabSz="914354"/>
                  <a:endParaRPr lang="zh-CN" altLang="en-US" sz="2000" b="1" i="1">
                    <a:solidFill>
                      <a:schemeClr val="tx1"/>
                    </a:solidFill>
                  </a:endParaRPr>
                </a:p>
              </p:txBody>
            </p:sp>
          </p:grpSp>
        </p:grpSp>
      </p:grpSp>
      <p:sp>
        <p:nvSpPr>
          <p:cNvPr id="2" name="文本框 1">
            <a:extLst>
              <a:ext uri="{FF2B5EF4-FFF2-40B4-BE49-F238E27FC236}">
                <a16:creationId xmlns:a16="http://schemas.microsoft.com/office/drawing/2014/main" id="{EB6FE949-9AB4-417E-B08E-52610CF5A181}"/>
              </a:ext>
            </a:extLst>
          </p:cNvPr>
          <p:cNvSpPr txBox="1"/>
          <p:nvPr/>
        </p:nvSpPr>
        <p:spPr>
          <a:xfrm>
            <a:off x="8537942" y="5106050"/>
            <a:ext cx="3296093" cy="11344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zh-CN" altLang="en-US" sz="2400" b="1" dirty="0"/>
              <a:t>贫血、尿潴留、</a:t>
            </a:r>
            <a:endParaRPr lang="en-US" altLang="zh-CN" sz="2400" b="1" dirty="0"/>
          </a:p>
          <a:p>
            <a:pPr algn="ctr">
              <a:lnSpc>
                <a:spcPct val="150000"/>
              </a:lnSpc>
            </a:pPr>
            <a:r>
              <a:rPr lang="zh-CN" altLang="en-US" sz="2400" b="1" dirty="0"/>
              <a:t>肛门失禁、伤口感染等</a:t>
            </a:r>
          </a:p>
        </p:txBody>
      </p:sp>
    </p:spTree>
    <p:extLst>
      <p:ext uri="{BB962C8B-B14F-4D97-AF65-F5344CB8AC3E}">
        <p14:creationId xmlns:p14="http://schemas.microsoft.com/office/powerpoint/2010/main" val="17462962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 TOOLS.GUIDESSETTING" val="{&quot;Id&quot;:&quot;2d4375ee-8516-45e0-8956-45702a61a9b6&quot;,&quot;Name&quot;:&quot;iSlide&quot;,&quot;HeaderHeight&quot;:15.0,&quot;FooterHeight&quot;:9.0000000000000036,&quot;SideMargin&quot;:5.4999999999999982,&quot;TopMargin&quot;:0.0,&quot;BottomMargin&quot;:0.0,&quot;IntervalMargin&quot;:1.3999999999999997}"/>
  <p:tag name="ISLIDE.GUIDESSETTING" val="{&quot;Id&quot;:&quot;GuidesStyle_Normal&quot;,&quot;Name&quot;:&quot;正常&quot;,&quot;HeaderHeight&quot;:15.0,&quot;FooterHeight&quot;:9.0,&quot;SideMargin&quot;:5.5,&quot;TopMargin&quot;:0.0,&quot;BottomMargin&quot;:0.0,&quot;IntervalMargin&quot;:1.5}"/>
  <p:tag name="THINKCELLUNDODONOTDELETE" val="0"/>
  <p:tag name="ISLIDE.THEME" val="0f196b65-9627-4f4e-baca-d30529dd7873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25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650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4050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4193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195055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1185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18603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121285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mkff3fSzGMOuItfjj3F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VECTOR" val="c2f6dca7-3c34-4945-95fd-243e31929c3d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64745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07492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24358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915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21081"/>
</p:tagLst>
</file>

<file path=ppt/theme/theme1.xml><?xml version="1.0" encoding="utf-8"?>
<a:theme xmlns:a="http://schemas.openxmlformats.org/drawingml/2006/main" name="主题5">
  <a:themeElements>
    <a:clrScheme name="房利美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02499E"/>
      </a:accent1>
      <a:accent2>
        <a:srgbClr val="00ABE5"/>
      </a:accent2>
      <a:accent3>
        <a:srgbClr val="28BCB8"/>
      </a:accent3>
      <a:accent4>
        <a:srgbClr val="A70000"/>
      </a:accent4>
      <a:accent5>
        <a:srgbClr val="002B68"/>
      </a:accent5>
      <a:accent6>
        <a:srgbClr val="30C4FF"/>
      </a:accent6>
      <a:hlink>
        <a:srgbClr val="4276AA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主题5" id="{B8EDB911-D765-4A7B-BBC7-40DBB672FBA6}" vid="{AECAB1C0-5DF6-436C-85E8-20094DBE11C0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02499E"/>
    </a:accent1>
    <a:accent2>
      <a:srgbClr val="00ABE5"/>
    </a:accent2>
    <a:accent3>
      <a:srgbClr val="28BCB8"/>
    </a:accent3>
    <a:accent4>
      <a:srgbClr val="A70000"/>
    </a:accent4>
    <a:accent5>
      <a:srgbClr val="002B68"/>
    </a:accent5>
    <a:accent6>
      <a:srgbClr val="30C4FF"/>
    </a:accent6>
    <a:hlink>
      <a:srgbClr val="4276AA"/>
    </a:hlink>
    <a:folHlink>
      <a:srgbClr val="BFBFBF"/>
    </a:folHlink>
  </a:clrScheme>
</a:themeOverride>
</file>

<file path=ppt/theme/themeOverride2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02499E"/>
    </a:accent1>
    <a:accent2>
      <a:srgbClr val="00ABE5"/>
    </a:accent2>
    <a:accent3>
      <a:srgbClr val="28BCB8"/>
    </a:accent3>
    <a:accent4>
      <a:srgbClr val="A70000"/>
    </a:accent4>
    <a:accent5>
      <a:srgbClr val="002B68"/>
    </a:accent5>
    <a:accent6>
      <a:srgbClr val="30C4FF"/>
    </a:accent6>
    <a:hlink>
      <a:srgbClr val="4276AA"/>
    </a:hlink>
    <a:folHlink>
      <a:srgbClr val="BFBFBF"/>
    </a:folHlink>
  </a:clrScheme>
</a:themeOverride>
</file>

<file path=ppt/theme/themeOverride3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02499E"/>
    </a:accent1>
    <a:accent2>
      <a:srgbClr val="00ABE5"/>
    </a:accent2>
    <a:accent3>
      <a:srgbClr val="28BCB8"/>
    </a:accent3>
    <a:accent4>
      <a:srgbClr val="A70000"/>
    </a:accent4>
    <a:accent5>
      <a:srgbClr val="002B68"/>
    </a:accent5>
    <a:accent6>
      <a:srgbClr val="30C4FF"/>
    </a:accent6>
    <a:hlink>
      <a:srgbClr val="4276AA"/>
    </a:hlink>
    <a:folHlink>
      <a:srgbClr val="BFBFBF"/>
    </a:folHlink>
  </a:clrScheme>
</a:themeOverride>
</file>

<file path=ppt/theme/themeOverride4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02499E"/>
    </a:accent1>
    <a:accent2>
      <a:srgbClr val="00ABE5"/>
    </a:accent2>
    <a:accent3>
      <a:srgbClr val="28BCB8"/>
    </a:accent3>
    <a:accent4>
      <a:srgbClr val="A70000"/>
    </a:accent4>
    <a:accent5>
      <a:srgbClr val="002B68"/>
    </a:accent5>
    <a:accent6>
      <a:srgbClr val="30C4FF"/>
    </a:accent6>
    <a:hlink>
      <a:srgbClr val="4276AA"/>
    </a:hlink>
    <a:folHlink>
      <a:srgbClr val="BFBFBF"/>
    </a:folHlink>
  </a:clrScheme>
</a:themeOverride>
</file>

<file path=ppt/theme/themeOverride5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02499E"/>
    </a:accent1>
    <a:accent2>
      <a:srgbClr val="00ABE5"/>
    </a:accent2>
    <a:accent3>
      <a:srgbClr val="28BCB8"/>
    </a:accent3>
    <a:accent4>
      <a:srgbClr val="A70000"/>
    </a:accent4>
    <a:accent5>
      <a:srgbClr val="002B68"/>
    </a:accent5>
    <a:accent6>
      <a:srgbClr val="30C4FF"/>
    </a:accent6>
    <a:hlink>
      <a:srgbClr val="4276AA"/>
    </a:hlink>
    <a:folHlink>
      <a:srgbClr val="BFBFBF"/>
    </a:folHlink>
  </a:clrScheme>
</a:themeOverride>
</file>

<file path=ppt/theme/themeOverride6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02499E"/>
    </a:accent1>
    <a:accent2>
      <a:srgbClr val="00ABE5"/>
    </a:accent2>
    <a:accent3>
      <a:srgbClr val="28BCB8"/>
    </a:accent3>
    <a:accent4>
      <a:srgbClr val="A70000"/>
    </a:accent4>
    <a:accent5>
      <a:srgbClr val="002B68"/>
    </a:accent5>
    <a:accent6>
      <a:srgbClr val="30C4FF"/>
    </a:accent6>
    <a:hlink>
      <a:srgbClr val="4276AA"/>
    </a:hlink>
    <a:folHlink>
      <a:srgbClr val="BFBFBF"/>
    </a:folHlink>
  </a:clrScheme>
</a:themeOverride>
</file>

<file path=ppt/theme/themeOverride7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02499E"/>
    </a:accent1>
    <a:accent2>
      <a:srgbClr val="00ABE5"/>
    </a:accent2>
    <a:accent3>
      <a:srgbClr val="28BCB8"/>
    </a:accent3>
    <a:accent4>
      <a:srgbClr val="A70000"/>
    </a:accent4>
    <a:accent5>
      <a:srgbClr val="002B68"/>
    </a:accent5>
    <a:accent6>
      <a:srgbClr val="30C4FF"/>
    </a:accent6>
    <a:hlink>
      <a:srgbClr val="4276AA"/>
    </a:hlink>
    <a:folHlink>
      <a:srgbClr val="BFBFBF"/>
    </a:folHlink>
  </a:clrScheme>
</a:themeOverride>
</file>

<file path=ppt/theme/themeOverride8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02499E"/>
    </a:accent1>
    <a:accent2>
      <a:srgbClr val="00ABE5"/>
    </a:accent2>
    <a:accent3>
      <a:srgbClr val="28BCB8"/>
    </a:accent3>
    <a:accent4>
      <a:srgbClr val="A70000"/>
    </a:accent4>
    <a:accent5>
      <a:srgbClr val="002B68"/>
    </a:accent5>
    <a:accent6>
      <a:srgbClr val="30C4FF"/>
    </a:accent6>
    <a:hlink>
      <a:srgbClr val="4276AA"/>
    </a:hlink>
    <a:folHlink>
      <a:srgbClr val="BFBFB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iSlide</Template>
  <TotalTime>335</TotalTime>
  <Words>741</Words>
  <Application>Microsoft Office PowerPoint</Application>
  <PresentationFormat>宽屏</PresentationFormat>
  <Paragraphs>171</Paragraphs>
  <Slides>50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3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50</vt:i4>
      </vt:variant>
    </vt:vector>
  </HeadingPairs>
  <TitlesOfParts>
    <vt:vector size="55" baseType="lpstr">
      <vt:lpstr>Arial</vt:lpstr>
      <vt:lpstr>Calibri</vt:lpstr>
      <vt:lpstr>Impact</vt:lpstr>
      <vt:lpstr>主题5</vt:lpstr>
      <vt:lpstr>think-cell Slide</vt:lpstr>
      <vt:lpstr>结、直肠和肛管疾病 病人的护理</vt:lpstr>
      <vt:lpstr>直肠和肛管 良性疾病病人的护理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结、直肠癌 病人的护理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Thanks 谢谢聆听</vt:lpstr>
    </vt:vector>
  </TitlesOfParts>
  <Manager>iSlide</Manager>
  <Company>iSlide</Company>
  <LinksUpToDate>false</LinksUpToDate>
  <SharedDoc>false</SharedDoc>
  <HyperlinkBase>https://www.islide.cc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iSlide</dc:creator>
  <cp:lastModifiedBy>蕊 杨</cp:lastModifiedBy>
  <cp:revision>31</cp:revision>
  <cp:lastPrinted>2018-12-16T16:00:00Z</cp:lastPrinted>
  <dcterms:created xsi:type="dcterms:W3CDTF">2018-12-16T16:00:00Z</dcterms:created>
  <dcterms:modified xsi:type="dcterms:W3CDTF">2019-09-01T13:06:5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</Properties>
</file>